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95" r:id="rId3"/>
    <p:sldMasterId id="2147483702" r:id="rId4"/>
  </p:sldMasterIdLst>
  <p:notesMasterIdLst>
    <p:notesMasterId r:id="rId28"/>
  </p:notesMasterIdLst>
  <p:sldIdLst>
    <p:sldId id="256" r:id="rId5"/>
    <p:sldId id="2252" r:id="rId6"/>
    <p:sldId id="723" r:id="rId7"/>
    <p:sldId id="2258" r:id="rId8"/>
    <p:sldId id="2257" r:id="rId9"/>
    <p:sldId id="4698" r:id="rId10"/>
    <p:sldId id="4700" r:id="rId11"/>
    <p:sldId id="2259" r:id="rId12"/>
    <p:sldId id="4703" r:id="rId13"/>
    <p:sldId id="2250" r:id="rId14"/>
    <p:sldId id="2251" r:id="rId15"/>
    <p:sldId id="4702" r:id="rId16"/>
    <p:sldId id="2216" r:id="rId17"/>
    <p:sldId id="2217" r:id="rId18"/>
    <p:sldId id="2282" r:id="rId19"/>
    <p:sldId id="4648" r:id="rId20"/>
    <p:sldId id="2243" r:id="rId21"/>
    <p:sldId id="2224" r:id="rId22"/>
    <p:sldId id="2225" r:id="rId23"/>
    <p:sldId id="4657" r:id="rId24"/>
    <p:sldId id="750" r:id="rId25"/>
    <p:sldId id="2221" r:id="rId26"/>
    <p:sldId id="705" r:id="rId27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2F"/>
    <a:srgbClr val="920E04"/>
    <a:srgbClr val="B31105"/>
    <a:srgbClr val="E9EBF5"/>
    <a:srgbClr val="2B2B82"/>
    <a:srgbClr val="3E2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6" autoAdjust="0"/>
    <p:restoredTop sz="93883" autoAdjust="0"/>
  </p:normalViewPr>
  <p:slideViewPr>
    <p:cSldViewPr snapToGrid="0">
      <p:cViewPr varScale="1">
        <p:scale>
          <a:sx n="79" d="100"/>
          <a:sy n="79" d="100"/>
        </p:scale>
        <p:origin x="165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G$2:$G$186</c:f>
              <c:numCache>
                <c:formatCode>General</c:formatCode>
                <c:ptCount val="185"/>
                <c:pt idx="0">
                  <c:v>63</c:v>
                </c:pt>
                <c:pt idx="1">
                  <c:v>66</c:v>
                </c:pt>
                <c:pt idx="2">
                  <c:v>64</c:v>
                </c:pt>
                <c:pt idx="3">
                  <c:v>61</c:v>
                </c:pt>
                <c:pt idx="4">
                  <c:v>69</c:v>
                </c:pt>
                <c:pt idx="5">
                  <c:v>92</c:v>
                </c:pt>
                <c:pt idx="6">
                  <c:v>97</c:v>
                </c:pt>
                <c:pt idx="7">
                  <c:v>102</c:v>
                </c:pt>
                <c:pt idx="8">
                  <c:v>113</c:v>
                </c:pt>
                <c:pt idx="9">
                  <c:v>117</c:v>
                </c:pt>
                <c:pt idx="10">
                  <c:v>115</c:v>
                </c:pt>
                <c:pt idx="11">
                  <c:v>127</c:v>
                </c:pt>
                <c:pt idx="12">
                  <c:v>157</c:v>
                </c:pt>
                <c:pt idx="13">
                  <c:v>164</c:v>
                </c:pt>
                <c:pt idx="14">
                  <c:v>168</c:v>
                </c:pt>
                <c:pt idx="15">
                  <c:v>166</c:v>
                </c:pt>
                <c:pt idx="16">
                  <c:v>182</c:v>
                </c:pt>
                <c:pt idx="17">
                  <c:v>161</c:v>
                </c:pt>
                <c:pt idx="18">
                  <c:v>164</c:v>
                </c:pt>
                <c:pt idx="19">
                  <c:v>185</c:v>
                </c:pt>
                <c:pt idx="20">
                  <c:v>180</c:v>
                </c:pt>
                <c:pt idx="21">
                  <c:v>182</c:v>
                </c:pt>
                <c:pt idx="22">
                  <c:v>183</c:v>
                </c:pt>
                <c:pt idx="23">
                  <c:v>188</c:v>
                </c:pt>
                <c:pt idx="24">
                  <c:v>188</c:v>
                </c:pt>
                <c:pt idx="25">
                  <c:v>197</c:v>
                </c:pt>
                <c:pt idx="26">
                  <c:v>229</c:v>
                </c:pt>
                <c:pt idx="27">
                  <c:v>226</c:v>
                </c:pt>
                <c:pt idx="28">
                  <c:v>253</c:v>
                </c:pt>
                <c:pt idx="29">
                  <c:v>251</c:v>
                </c:pt>
                <c:pt idx="30">
                  <c:v>244</c:v>
                </c:pt>
                <c:pt idx="31">
                  <c:v>234</c:v>
                </c:pt>
                <c:pt idx="32">
                  <c:v>247</c:v>
                </c:pt>
                <c:pt idx="33">
                  <c:v>302</c:v>
                </c:pt>
                <c:pt idx="34">
                  <c:v>302</c:v>
                </c:pt>
                <c:pt idx="35">
                  <c:v>327</c:v>
                </c:pt>
                <c:pt idx="36">
                  <c:v>316</c:v>
                </c:pt>
                <c:pt idx="37">
                  <c:v>344</c:v>
                </c:pt>
                <c:pt idx="38">
                  <c:v>333</c:v>
                </c:pt>
                <c:pt idx="39">
                  <c:v>350</c:v>
                </c:pt>
                <c:pt idx="40">
                  <c:v>425</c:v>
                </c:pt>
                <c:pt idx="41">
                  <c:v>444</c:v>
                </c:pt>
                <c:pt idx="42">
                  <c:v>470</c:v>
                </c:pt>
                <c:pt idx="43">
                  <c:v>496</c:v>
                </c:pt>
                <c:pt idx="44">
                  <c:v>527</c:v>
                </c:pt>
                <c:pt idx="45">
                  <c:v>515</c:v>
                </c:pt>
                <c:pt idx="46">
                  <c:v>543</c:v>
                </c:pt>
                <c:pt idx="47">
                  <c:v>664</c:v>
                </c:pt>
                <c:pt idx="48">
                  <c:v>733</c:v>
                </c:pt>
                <c:pt idx="49">
                  <c:v>795</c:v>
                </c:pt>
                <c:pt idx="50">
                  <c:v>851</c:v>
                </c:pt>
                <c:pt idx="51">
                  <c:v>923</c:v>
                </c:pt>
                <c:pt idx="52">
                  <c:v>930</c:v>
                </c:pt>
                <c:pt idx="53">
                  <c:v>993</c:v>
                </c:pt>
                <c:pt idx="54">
                  <c:v>1175</c:v>
                </c:pt>
                <c:pt idx="55">
                  <c:v>1294</c:v>
                </c:pt>
                <c:pt idx="56">
                  <c:v>1397</c:v>
                </c:pt>
                <c:pt idx="57">
                  <c:v>1392</c:v>
                </c:pt>
                <c:pt idx="58">
                  <c:v>1579</c:v>
                </c:pt>
                <c:pt idx="59">
                  <c:v>1597</c:v>
                </c:pt>
                <c:pt idx="60">
                  <c:v>1731</c:v>
                </c:pt>
                <c:pt idx="61">
                  <c:v>2106</c:v>
                </c:pt>
                <c:pt idx="62">
                  <c:v>2296</c:v>
                </c:pt>
                <c:pt idx="63">
                  <c:v>2496</c:v>
                </c:pt>
                <c:pt idx="64">
                  <c:v>2661</c:v>
                </c:pt>
                <c:pt idx="65">
                  <c:v>2803</c:v>
                </c:pt>
                <c:pt idx="66">
                  <c:v>2802</c:v>
                </c:pt>
                <c:pt idx="67">
                  <c:v>2952</c:v>
                </c:pt>
                <c:pt idx="68">
                  <c:v>3412</c:v>
                </c:pt>
                <c:pt idx="69">
                  <c:v>3619</c:v>
                </c:pt>
                <c:pt idx="70">
                  <c:v>3763</c:v>
                </c:pt>
                <c:pt idx="71">
                  <c:v>3893</c:v>
                </c:pt>
                <c:pt idx="72">
                  <c:v>4057</c:v>
                </c:pt>
                <c:pt idx="73">
                  <c:v>3996</c:v>
                </c:pt>
                <c:pt idx="74">
                  <c:v>4140</c:v>
                </c:pt>
                <c:pt idx="75">
                  <c:v>4799</c:v>
                </c:pt>
                <c:pt idx="76">
                  <c:v>4872</c:v>
                </c:pt>
                <c:pt idx="77">
                  <c:v>4821</c:v>
                </c:pt>
                <c:pt idx="78">
                  <c:v>5187</c:v>
                </c:pt>
                <c:pt idx="79">
                  <c:v>5316</c:v>
                </c:pt>
                <c:pt idx="80">
                  <c:v>5204</c:v>
                </c:pt>
                <c:pt idx="81">
                  <c:v>5419</c:v>
                </c:pt>
                <c:pt idx="82">
                  <c:v>6016</c:v>
                </c:pt>
                <c:pt idx="83">
                  <c:v>6127</c:v>
                </c:pt>
                <c:pt idx="84">
                  <c:v>6227</c:v>
                </c:pt>
                <c:pt idx="85">
                  <c:v>6333</c:v>
                </c:pt>
                <c:pt idx="86">
                  <c:v>6434</c:v>
                </c:pt>
                <c:pt idx="87">
                  <c:v>6215</c:v>
                </c:pt>
                <c:pt idx="88">
                  <c:v>6417</c:v>
                </c:pt>
                <c:pt idx="89">
                  <c:v>7088</c:v>
                </c:pt>
                <c:pt idx="90">
                  <c:v>7025</c:v>
                </c:pt>
                <c:pt idx="91">
                  <c:v>6976</c:v>
                </c:pt>
                <c:pt idx="92">
                  <c:v>7066</c:v>
                </c:pt>
                <c:pt idx="93">
                  <c:v>7030</c:v>
                </c:pt>
                <c:pt idx="94">
                  <c:v>6556</c:v>
                </c:pt>
                <c:pt idx="95">
                  <c:v>6663</c:v>
                </c:pt>
                <c:pt idx="96">
                  <c:v>7128</c:v>
                </c:pt>
                <c:pt idx="97">
                  <c:v>6913</c:v>
                </c:pt>
                <c:pt idx="98">
                  <c:v>6762</c:v>
                </c:pt>
                <c:pt idx="99">
                  <c:v>6592</c:v>
                </c:pt>
                <c:pt idx="100">
                  <c:v>6404</c:v>
                </c:pt>
                <c:pt idx="101">
                  <c:v>5880</c:v>
                </c:pt>
                <c:pt idx="102">
                  <c:v>5907</c:v>
                </c:pt>
                <c:pt idx="103">
                  <c:v>6398</c:v>
                </c:pt>
                <c:pt idx="104">
                  <c:v>6109</c:v>
                </c:pt>
                <c:pt idx="105">
                  <c:v>5855</c:v>
                </c:pt>
                <c:pt idx="106">
                  <c:v>5657</c:v>
                </c:pt>
                <c:pt idx="107">
                  <c:v>5343</c:v>
                </c:pt>
                <c:pt idx="108">
                  <c:v>4824</c:v>
                </c:pt>
                <c:pt idx="109">
                  <c:v>4809</c:v>
                </c:pt>
                <c:pt idx="110">
                  <c:v>5171</c:v>
                </c:pt>
                <c:pt idx="111">
                  <c:v>4924</c:v>
                </c:pt>
                <c:pt idx="112">
                  <c:v>4572</c:v>
                </c:pt>
                <c:pt idx="113">
                  <c:v>4121</c:v>
                </c:pt>
                <c:pt idx="114">
                  <c:v>3495</c:v>
                </c:pt>
                <c:pt idx="115">
                  <c:v>3327</c:v>
                </c:pt>
                <c:pt idx="116">
                  <c:v>3383</c:v>
                </c:pt>
                <c:pt idx="117">
                  <c:v>3728</c:v>
                </c:pt>
                <c:pt idx="118">
                  <c:v>3639</c:v>
                </c:pt>
                <c:pt idx="119">
                  <c:v>3431</c:v>
                </c:pt>
                <c:pt idx="120">
                  <c:v>3170</c:v>
                </c:pt>
                <c:pt idx="121">
                  <c:v>2919</c:v>
                </c:pt>
                <c:pt idx="122">
                  <c:v>2671</c:v>
                </c:pt>
                <c:pt idx="123">
                  <c:v>2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186</c:f>
              <c:numCache>
                <c:formatCode>General</c:formatCode>
                <c:ptCount val="185"/>
                <c:pt idx="0">
                  <c:v>10.906399302941281</c:v>
                </c:pt>
                <c:pt idx="1">
                  <c:v>11.006864666764159</c:v>
                </c:pt>
                <c:pt idx="2">
                  <c:v>11.101992696116213</c:v>
                </c:pt>
                <c:pt idx="3">
                  <c:v>11.191995222849073</c:v>
                </c:pt>
                <c:pt idx="4">
                  <c:v>11.277564086019993</c:v>
                </c:pt>
                <c:pt idx="5">
                  <c:v>11.359158608422149</c:v>
                </c:pt>
                <c:pt idx="6">
                  <c:v>11.436617888015462</c:v>
                </c:pt>
                <c:pt idx="7">
                  <c:v>11.509818893886404</c:v>
                </c:pt>
                <c:pt idx="8">
                  <c:v>11.646570369688561</c:v>
                </c:pt>
                <c:pt idx="9">
                  <c:v>11.832105954177678</c:v>
                </c:pt>
                <c:pt idx="10">
                  <c:v>0.89495774569486386</c:v>
                </c:pt>
                <c:pt idx="11">
                  <c:v>2.371296230458519</c:v>
                </c:pt>
                <c:pt idx="12">
                  <c:v>4.0340433171065584</c:v>
                </c:pt>
                <c:pt idx="13">
                  <c:v>5.9234840889381601</c:v>
                </c:pt>
                <c:pt idx="14">
                  <c:v>8.0814381841141216</c:v>
                </c:pt>
                <c:pt idx="15">
                  <c:v>10.548950677150492</c:v>
                </c:pt>
                <c:pt idx="16">
                  <c:v>13.365088119747037</c:v>
                </c:pt>
                <c:pt idx="17">
                  <c:v>16.565388625336457</c:v>
                </c:pt>
                <c:pt idx="18">
                  <c:v>20.183567631856562</c:v>
                </c:pt>
                <c:pt idx="19">
                  <c:v>24.251389765433135</c:v>
                </c:pt>
                <c:pt idx="20">
                  <c:v>28.798417478055516</c:v>
                </c:pt>
                <c:pt idx="21">
                  <c:v>33.852564097667035</c:v>
                </c:pt>
                <c:pt idx="22">
                  <c:v>39.439110028235163</c:v>
                </c:pt>
                <c:pt idx="23">
                  <c:v>45.580157393388198</c:v>
                </c:pt>
                <c:pt idx="24">
                  <c:v>52.296510866236787</c:v>
                </c:pt>
                <c:pt idx="25">
                  <c:v>59.609406524433787</c:v>
                </c:pt>
                <c:pt idx="26">
                  <c:v>67.540553348570114</c:v>
                </c:pt>
                <c:pt idx="27">
                  <c:v>76.111191613546339</c:v>
                </c:pt>
                <c:pt idx="28">
                  <c:v>85.342478031037885</c:v>
                </c:pt>
                <c:pt idx="29">
                  <c:v>95.255971042071366</c:v>
                </c:pt>
                <c:pt idx="30">
                  <c:v>105.87341417016626</c:v>
                </c:pt>
                <c:pt idx="31">
                  <c:v>117.21725535991835</c:v>
                </c:pt>
                <c:pt idx="32">
                  <c:v>129.3121543738431</c:v>
                </c:pt>
                <c:pt idx="33">
                  <c:v>142.18509122340515</c:v>
                </c:pt>
                <c:pt idx="34">
                  <c:v>155.86444570218077</c:v>
                </c:pt>
                <c:pt idx="35">
                  <c:v>170.38112923376454</c:v>
                </c:pt>
                <c:pt idx="36">
                  <c:v>185.76728359191031</c:v>
                </c:pt>
                <c:pt idx="37">
                  <c:v>202.05634279466071</c:v>
                </c:pt>
                <c:pt idx="38">
                  <c:v>219.82063099405758</c:v>
                </c:pt>
                <c:pt idx="39">
                  <c:v>239.51690508056987</c:v>
                </c:pt>
                <c:pt idx="40">
                  <c:v>261.48146417730129</c:v>
                </c:pt>
                <c:pt idx="41">
                  <c:v>285.99413063722886</c:v>
                </c:pt>
                <c:pt idx="42">
                  <c:v>313.31890354625472</c:v>
                </c:pt>
                <c:pt idx="43">
                  <c:v>343.72272863954993</c:v>
                </c:pt>
                <c:pt idx="44">
                  <c:v>377.48509874539343</c:v>
                </c:pt>
                <c:pt idx="45">
                  <c:v>414.89630397024024</c:v>
                </c:pt>
                <c:pt idx="46">
                  <c:v>456.26143717120181</c:v>
                </c:pt>
                <c:pt idx="47">
                  <c:v>501.89853448689439</c:v>
                </c:pt>
                <c:pt idx="48">
                  <c:v>552.14499091861501</c:v>
                </c:pt>
                <c:pt idx="49">
                  <c:v>607.35660073122767</c:v>
                </c:pt>
                <c:pt idx="50">
                  <c:v>667.913578948907</c:v>
                </c:pt>
                <c:pt idx="51">
                  <c:v>734.22420575685544</c:v>
                </c:pt>
                <c:pt idx="52">
                  <c:v>806.71462088669159</c:v>
                </c:pt>
                <c:pt idx="53">
                  <c:v>885.82010313947694</c:v>
                </c:pt>
                <c:pt idx="54">
                  <c:v>972.00405775025865</c:v>
                </c:pt>
                <c:pt idx="55">
                  <c:v>1065.7685749287702</c:v>
                </c:pt>
                <c:pt idx="56">
                  <c:v>1167.6588385879973</c:v>
                </c:pt>
                <c:pt idx="57">
                  <c:v>1278.2589346195448</c:v>
                </c:pt>
                <c:pt idx="58">
                  <c:v>1398.1893891890713</c:v>
                </c:pt>
                <c:pt idx="59">
                  <c:v>1528.1069550345881</c:v>
                </c:pt>
                <c:pt idx="60">
                  <c:v>1668.7088489861981</c:v>
                </c:pt>
                <c:pt idx="61">
                  <c:v>1820.7343574920269</c:v>
                </c:pt>
                <c:pt idx="62">
                  <c:v>1980.8799781611301</c:v>
                </c:pt>
                <c:pt idx="63">
                  <c:v>2146.6819954051862</c:v>
                </c:pt>
                <c:pt idx="64">
                  <c:v>2316.6657562391078</c:v>
                </c:pt>
                <c:pt idx="65">
                  <c:v>2489.905772435759</c:v>
                </c:pt>
                <c:pt idx="66">
                  <c:v>2665.7151051596229</c:v>
                </c:pt>
                <c:pt idx="67">
                  <c:v>2843.5205044569461</c:v>
                </c:pt>
                <c:pt idx="68">
                  <c:v>3022.7919580576981</c:v>
                </c:pt>
                <c:pt idx="69">
                  <c:v>3204.8700520519819</c:v>
                </c:pt>
                <c:pt idx="70">
                  <c:v>3390.7061410875231</c:v>
                </c:pt>
                <c:pt idx="71">
                  <c:v>3580.8811372896685</c:v>
                </c:pt>
                <c:pt idx="72">
                  <c:v>3775.7719046470284</c:v>
                </c:pt>
                <c:pt idx="73">
                  <c:v>3975.6978471291504</c:v>
                </c:pt>
                <c:pt idx="74">
                  <c:v>4180.9563949033</c:v>
                </c:pt>
                <c:pt idx="75">
                  <c:v>4391.8191470810898</c:v>
                </c:pt>
                <c:pt idx="76">
                  <c:v>4608.570829041194</c:v>
                </c:pt>
                <c:pt idx="77">
                  <c:v>4831.6097619514039</c:v>
                </c:pt>
                <c:pt idx="78">
                  <c:v>5056.2358672888859</c:v>
                </c:pt>
                <c:pt idx="79">
                  <c:v>5287.2730047236191</c:v>
                </c:pt>
                <c:pt idx="80">
                  <c:v>5524.786305708737</c:v>
                </c:pt>
                <c:pt idx="81">
                  <c:v>5768.7515797665747</c:v>
                </c:pt>
                <c:pt idx="82">
                  <c:v>6019.0662300064896</c:v>
                </c:pt>
                <c:pt idx="83">
                  <c:v>6264.2022578834112</c:v>
                </c:pt>
                <c:pt idx="84">
                  <c:v>6495.352917039465</c:v>
                </c:pt>
                <c:pt idx="85">
                  <c:v>6700.5127670149805</c:v>
                </c:pt>
                <c:pt idx="86">
                  <c:v>6883.0998856606057</c:v>
                </c:pt>
                <c:pt idx="87">
                  <c:v>7041.5761095229655</c:v>
                </c:pt>
                <c:pt idx="88">
                  <c:v>7175.1995765693473</c:v>
                </c:pt>
                <c:pt idx="89">
                  <c:v>7283.7125414143902</c:v>
                </c:pt>
                <c:pt idx="90">
                  <c:v>7367.2535371972426</c:v>
                </c:pt>
                <c:pt idx="91">
                  <c:v>7426.2901643123269</c:v>
                </c:pt>
                <c:pt idx="92">
                  <c:v>7453.9924360284358</c:v>
                </c:pt>
                <c:pt idx="93">
                  <c:v>7458.9025044548198</c:v>
                </c:pt>
                <c:pt idx="94">
                  <c:v>7442.2312980145271</c:v>
                </c:pt>
                <c:pt idx="95">
                  <c:v>7405.2860506964771</c:v>
                </c:pt>
                <c:pt idx="96">
                  <c:v>7349.3827286993801</c:v>
                </c:pt>
                <c:pt idx="97">
                  <c:v>7276.0465363655676</c:v>
                </c:pt>
                <c:pt idx="98">
                  <c:v>7187.3248428237976</c:v>
                </c:pt>
                <c:pt idx="99">
                  <c:v>7077.9656119549145</c:v>
                </c:pt>
                <c:pt idx="100">
                  <c:v>6957.5113230172838</c:v>
                </c:pt>
                <c:pt idx="101">
                  <c:v>6827.6603619480384</c:v>
                </c:pt>
                <c:pt idx="102">
                  <c:v>6689.9052830602805</c:v>
                </c:pt>
                <c:pt idx="103">
                  <c:v>6545.5669169954017</c:v>
                </c:pt>
                <c:pt idx="104">
                  <c:v>6395.821208433149</c:v>
                </c:pt>
                <c:pt idx="105">
                  <c:v>6241.789032590138</c:v>
                </c:pt>
                <c:pt idx="106">
                  <c:v>6091.0707947998526</c:v>
                </c:pt>
                <c:pt idx="107">
                  <c:v>5937.6922666281389</c:v>
                </c:pt>
                <c:pt idx="108">
                  <c:v>5782.4167828388663</c:v>
                </c:pt>
                <c:pt idx="109">
                  <c:v>5625.8985378205389</c:v>
                </c:pt>
                <c:pt idx="110">
                  <c:v>5468.7059021604291</c:v>
                </c:pt>
                <c:pt idx="111">
                  <c:v>5311.3224465516341</c:v>
                </c:pt>
                <c:pt idx="112">
                  <c:v>5154.1765125446273</c:v>
                </c:pt>
                <c:pt idx="113">
                  <c:v>5003.1666181935934</c:v>
                </c:pt>
                <c:pt idx="114">
                  <c:v>4852.807512133053</c:v>
                </c:pt>
                <c:pt idx="115">
                  <c:v>4703.4077967723624</c:v>
                </c:pt>
                <c:pt idx="116">
                  <c:v>4555.2551253640022</c:v>
                </c:pt>
                <c:pt idx="117">
                  <c:v>4408.604537529669</c:v>
                </c:pt>
                <c:pt idx="118">
                  <c:v>4263.672018311634</c:v>
                </c:pt>
                <c:pt idx="119">
                  <c:v>4120.6491506341135</c:v>
                </c:pt>
                <c:pt idx="120">
                  <c:v>3984.176168487119</c:v>
                </c:pt>
                <c:pt idx="121">
                  <c:v>3847.9981950758811</c:v>
                </c:pt>
                <c:pt idx="122">
                  <c:v>3779.6664392780617</c:v>
                </c:pt>
                <c:pt idx="123">
                  <c:v>3712.478890715603</c:v>
                </c:pt>
                <c:pt idx="124">
                  <c:v>3646.4968663905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90-442D-BD58-5B49B037E7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C$2:$C$186</c:f>
              <c:numCache>
                <c:formatCode>General</c:formatCode>
                <c:ptCount val="185"/>
                <c:pt idx="122">
                  <c:v>3717.3203728109293</c:v>
                </c:pt>
                <c:pt idx="123">
                  <c:v>3587.2524645937979</c:v>
                </c:pt>
                <c:pt idx="124">
                  <c:v>3459.5956048514786</c:v>
                </c:pt>
                <c:pt idx="125">
                  <c:v>3334.4575969322723</c:v>
                </c:pt>
                <c:pt idx="126">
                  <c:v>3211.9302602029848</c:v>
                </c:pt>
                <c:pt idx="127">
                  <c:v>3095.5777981525002</c:v>
                </c:pt>
                <c:pt idx="128">
                  <c:v>2981.7236110340596</c:v>
                </c:pt>
                <c:pt idx="129">
                  <c:v>2870.4308047313343</c:v>
                </c:pt>
                <c:pt idx="130">
                  <c:v>2761.7517847744502</c:v>
                </c:pt>
                <c:pt idx="131">
                  <c:v>2655.7319370443538</c:v>
                </c:pt>
                <c:pt idx="132">
                  <c:v>2554.4562197140135</c:v>
                </c:pt>
                <c:pt idx="133">
                  <c:v>2459.3353668178761</c:v>
                </c:pt>
                <c:pt idx="134">
                  <c:v>2371.0372711414566</c:v>
                </c:pt>
                <c:pt idx="135">
                  <c:v>2289.7764949863458</c:v>
                </c:pt>
                <c:pt idx="136">
                  <c:v>2215.5165377155563</c:v>
                </c:pt>
                <c:pt idx="137">
                  <c:v>2148.0834435121055</c:v>
                </c:pt>
                <c:pt idx="138">
                  <c:v>2087.2255968651843</c:v>
                </c:pt>
                <c:pt idx="139">
                  <c:v>2032.6247191234636</c:v>
                </c:pt>
                <c:pt idx="140">
                  <c:v>1983.9103024905471</c:v>
                </c:pt>
                <c:pt idx="141">
                  <c:v>1940.6618669077202</c:v>
                </c:pt>
                <c:pt idx="142">
                  <c:v>1902.4486812179316</c:v>
                </c:pt>
                <c:pt idx="143">
                  <c:v>1868.8246095161317</c:v>
                </c:pt>
                <c:pt idx="144">
                  <c:v>1839.350422416348</c:v>
                </c:pt>
                <c:pt idx="145">
                  <c:v>1813.607844860044</c:v>
                </c:pt>
                <c:pt idx="146">
                  <c:v>1791.1552391249143</c:v>
                </c:pt>
                <c:pt idx="147">
                  <c:v>1771.4717173397225</c:v>
                </c:pt>
                <c:pt idx="148">
                  <c:v>1754.0398397381921</c:v>
                </c:pt>
                <c:pt idx="149">
                  <c:v>1738.4116843504078</c:v>
                </c:pt>
                <c:pt idx="150">
                  <c:v>1724.2103779239624</c:v>
                </c:pt>
                <c:pt idx="151">
                  <c:v>1711.1166117689929</c:v>
                </c:pt>
                <c:pt idx="152">
                  <c:v>1698.8592428521195</c:v>
                </c:pt>
                <c:pt idx="153">
                  <c:v>1687.2045233318549</c:v>
                </c:pt>
                <c:pt idx="154">
                  <c:v>1675.9371042929934</c:v>
                </c:pt>
                <c:pt idx="155">
                  <c:v>1664.8691617892382</c:v>
                </c:pt>
                <c:pt idx="156">
                  <c:v>1653.8477541666705</c:v>
                </c:pt>
                <c:pt idx="157">
                  <c:v>1642.7470920830849</c:v>
                </c:pt>
                <c:pt idx="158">
                  <c:v>1631.4708726549154</c:v>
                </c:pt>
                <c:pt idx="159">
                  <c:v>1619.9457783617115</c:v>
                </c:pt>
                <c:pt idx="160">
                  <c:v>1608.1164182539669</c:v>
                </c:pt>
                <c:pt idx="161">
                  <c:v>1595.9449655972951</c:v>
                </c:pt>
                <c:pt idx="162">
                  <c:v>1583.4076573575637</c:v>
                </c:pt>
                <c:pt idx="163">
                  <c:v>1570.4921465617326</c:v>
                </c:pt>
                <c:pt idx="164">
                  <c:v>1557.1936812698145</c:v>
                </c:pt>
                <c:pt idx="165">
                  <c:v>1543.5146610912534</c:v>
                </c:pt>
                <c:pt idx="166">
                  <c:v>1529.4655735561521</c:v>
                </c:pt>
                <c:pt idx="167">
                  <c:v>1515.0626691981038</c:v>
                </c:pt>
                <c:pt idx="168">
                  <c:v>1500.325181473997</c:v>
                </c:pt>
                <c:pt idx="169">
                  <c:v>1485.2719143283566</c:v>
                </c:pt>
                <c:pt idx="170">
                  <c:v>1469.9219746993945</c:v>
                </c:pt>
                <c:pt idx="171">
                  <c:v>1454.2938407099214</c:v>
                </c:pt>
                <c:pt idx="172">
                  <c:v>1438.4086354984336</c:v>
                </c:pt>
                <c:pt idx="173">
                  <c:v>1422.289170980149</c:v>
                </c:pt>
                <c:pt idx="174">
                  <c:v>1405.958131271449</c:v>
                </c:pt>
                <c:pt idx="175">
                  <c:v>1389.4382886818582</c:v>
                </c:pt>
                <c:pt idx="176">
                  <c:v>1372.7517863014632</c:v>
                </c:pt>
                <c:pt idx="177">
                  <c:v>1355.9198274592079</c:v>
                </c:pt>
                <c:pt idx="178">
                  <c:v>1338.9626530210999</c:v>
                </c:pt>
                <c:pt idx="179">
                  <c:v>1321.8995366256718</c:v>
                </c:pt>
                <c:pt idx="180">
                  <c:v>1304.7480061581841</c:v>
                </c:pt>
                <c:pt idx="181">
                  <c:v>1287.5247882388519</c:v>
                </c:pt>
                <c:pt idx="182">
                  <c:v>1270.2458857563975</c:v>
                </c:pt>
                <c:pt idx="183">
                  <c:v>1252.9264493519463</c:v>
                </c:pt>
                <c:pt idx="184">
                  <c:v>1235.5807168696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16-4360-A02D-44DD6057B4B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D$2:$D$186</c:f>
              <c:numCache>
                <c:formatCode>General</c:formatCode>
                <c:ptCount val="185"/>
                <c:pt idx="122">
                  <c:v>3717.3203728109293</c:v>
                </c:pt>
                <c:pt idx="123">
                  <c:v>3587.2524645937979</c:v>
                </c:pt>
                <c:pt idx="124">
                  <c:v>3459.5956048514786</c:v>
                </c:pt>
                <c:pt idx="125">
                  <c:v>3341.4494120366089</c:v>
                </c:pt>
                <c:pt idx="126">
                  <c:v>3237.6080944700898</c:v>
                </c:pt>
                <c:pt idx="127">
                  <c:v>3154.0826688712214</c:v>
                </c:pt>
                <c:pt idx="128">
                  <c:v>3088.318636930941</c:v>
                </c:pt>
                <c:pt idx="129">
                  <c:v>3040.8462170980793</c:v>
                </c:pt>
                <c:pt idx="130">
                  <c:v>3011.8460315895509</c:v>
                </c:pt>
                <c:pt idx="131">
                  <c:v>3001.3027183391177</c:v>
                </c:pt>
                <c:pt idx="132">
                  <c:v>3009.0043787155414</c:v>
                </c:pt>
                <c:pt idx="133">
                  <c:v>3034.5677322001943</c:v>
                </c:pt>
                <c:pt idx="134">
                  <c:v>3077.428870784544</c:v>
                </c:pt>
                <c:pt idx="135">
                  <c:v>3136.9609149041139</c:v>
                </c:pt>
                <c:pt idx="136">
                  <c:v>3212.4399057505052</c:v>
                </c:pt>
                <c:pt idx="137">
                  <c:v>3303.1101913349512</c:v>
                </c:pt>
                <c:pt idx="138">
                  <c:v>3408.2231995894163</c:v>
                </c:pt>
                <c:pt idx="139">
                  <c:v>3526.8792871828559</c:v>
                </c:pt>
                <c:pt idx="140">
                  <c:v>3657.8296085760094</c:v>
                </c:pt>
                <c:pt idx="141">
                  <c:v>3799.7527494511419</c:v>
                </c:pt>
                <c:pt idx="142">
                  <c:v>3951.4689737158737</c:v>
                </c:pt>
                <c:pt idx="143">
                  <c:v>4111.9367026309465</c:v>
                </c:pt>
                <c:pt idx="144">
                  <c:v>4280.2061316067593</c:v>
                </c:pt>
                <c:pt idx="145">
                  <c:v>4455.3914432630063</c:v>
                </c:pt>
                <c:pt idx="146">
                  <c:v>4636.6394272408079</c:v>
                </c:pt>
                <c:pt idx="147">
                  <c:v>4823.0699885614558</c:v>
                </c:pt>
                <c:pt idx="148">
                  <c:v>5013.8116758517326</c:v>
                </c:pt>
                <c:pt idx="149">
                  <c:v>5208.0304808589881</c:v>
                </c:pt>
                <c:pt idx="150">
                  <c:v>5404.906556110137</c:v>
                </c:pt>
                <c:pt idx="151">
                  <c:v>5603.6478324460131</c:v>
                </c:pt>
                <c:pt idx="152">
                  <c:v>5803.4734582411438</c:v>
                </c:pt>
                <c:pt idx="153">
                  <c:v>6003.6026156830139</c:v>
                </c:pt>
                <c:pt idx="154">
                  <c:v>6203.2394064496939</c:v>
                </c:pt>
                <c:pt idx="155">
                  <c:v>6401.5730008229275</c:v>
                </c:pt>
                <c:pt idx="156">
                  <c:v>6597.7826875276942</c:v>
                </c:pt>
                <c:pt idx="157">
                  <c:v>6791.0348794257998</c:v>
                </c:pt>
                <c:pt idx="158">
                  <c:v>6980.4904842956785</c:v>
                </c:pt>
                <c:pt idx="159">
                  <c:v>7165.31658364547</c:v>
                </c:pt>
                <c:pt idx="160">
                  <c:v>7344.6867079749563</c:v>
                </c:pt>
                <c:pt idx="161">
                  <c:v>7517.8201774854497</c:v>
                </c:pt>
                <c:pt idx="162">
                  <c:v>7683.9679936694802</c:v>
                </c:pt>
                <c:pt idx="163">
                  <c:v>7842.4120483937531</c:v>
                </c:pt>
                <c:pt idx="164">
                  <c:v>7992.4627039589695</c:v>
                </c:pt>
                <c:pt idx="165">
                  <c:v>8133.4739515591327</c:v>
                </c:pt>
                <c:pt idx="166">
                  <c:v>8264.8448342995143</c:v>
                </c:pt>
                <c:pt idx="167">
                  <c:v>8386.018546664267</c:v>
                </c:pt>
                <c:pt idx="168">
                  <c:v>8496.4880602502981</c:v>
                </c:pt>
                <c:pt idx="169">
                  <c:v>8595.7986251349994</c:v>
                </c:pt>
                <c:pt idx="170">
                  <c:v>8683.5501936583878</c:v>
                </c:pt>
                <c:pt idx="171">
                  <c:v>8759.4002919232862</c:v>
                </c:pt>
                <c:pt idx="172">
                  <c:v>8823.0661412435256</c:v>
                </c:pt>
                <c:pt idx="173">
                  <c:v>8874.3240935909489</c:v>
                </c:pt>
                <c:pt idx="174">
                  <c:v>8913.0142797149238</c:v>
                </c:pt>
                <c:pt idx="175">
                  <c:v>8939.0409128273932</c:v>
                </c:pt>
                <c:pt idx="176">
                  <c:v>8952.3703888885793</c:v>
                </c:pt>
                <c:pt idx="177">
                  <c:v>8953.0303147325521</c:v>
                </c:pt>
                <c:pt idx="178">
                  <c:v>8941.1093507829573</c:v>
                </c:pt>
                <c:pt idx="179">
                  <c:v>8916.7564045940835</c:v>
                </c:pt>
                <c:pt idx="180">
                  <c:v>8880.1791920565811</c:v>
                </c:pt>
                <c:pt idx="181">
                  <c:v>8831.6421248784118</c:v>
                </c:pt>
                <c:pt idx="182">
                  <c:v>8771.4635849990609</c:v>
                </c:pt>
                <c:pt idx="183">
                  <c:v>8700.0122798349021</c:v>
                </c:pt>
                <c:pt idx="184">
                  <c:v>8617.7034954934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216-4360-A02D-44DD6057B4BC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F$2:$F$186</c:f>
              <c:numCache>
                <c:formatCode>General</c:formatCode>
                <c:ptCount val="185"/>
                <c:pt idx="128">
                  <c:v>3088.318636930941</c:v>
                </c:pt>
                <c:pt idx="129">
                  <c:v>3040.8462170980793</c:v>
                </c:pt>
                <c:pt idx="130">
                  <c:v>2993.3737972652175</c:v>
                </c:pt>
                <c:pt idx="131">
                  <c:v>2988.1021406400009</c:v>
                </c:pt>
                <c:pt idx="132">
                  <c:v>2991.952970828213</c:v>
                </c:pt>
                <c:pt idx="133">
                  <c:v>3004.7346475705394</c:v>
                </c:pt>
                <c:pt idx="134">
                  <c:v>3026.1652168627138</c:v>
                </c:pt>
                <c:pt idx="135">
                  <c:v>3055.9312389224992</c:v>
                </c:pt>
                <c:pt idx="136">
                  <c:v>3093.6707343456947</c:v>
                </c:pt>
                <c:pt idx="137">
                  <c:v>3139.0058771379177</c:v>
                </c:pt>
                <c:pt idx="138">
                  <c:v>3191.5623812651497</c:v>
                </c:pt>
                <c:pt idx="139">
                  <c:v>3250.8904250618698</c:v>
                </c:pt>
                <c:pt idx="140">
                  <c:v>3316.3655857584467</c:v>
                </c:pt>
                <c:pt idx="141">
                  <c:v>3387.3271561960128</c:v>
                </c:pt>
                <c:pt idx="142">
                  <c:v>3463.1852683283782</c:v>
                </c:pt>
                <c:pt idx="143">
                  <c:v>3543.4191327859157</c:v>
                </c:pt>
                <c:pt idx="144">
                  <c:v>3627.5538472738222</c:v>
                </c:pt>
                <c:pt idx="145">
                  <c:v>3715.1465031019447</c:v>
                </c:pt>
                <c:pt idx="146">
                  <c:v>3805.770495090846</c:v>
                </c:pt>
                <c:pt idx="147">
                  <c:v>3898.9857757511704</c:v>
                </c:pt>
                <c:pt idx="148">
                  <c:v>3994.3566193963084</c:v>
                </c:pt>
                <c:pt idx="149">
                  <c:v>4091.4660218999365</c:v>
                </c:pt>
                <c:pt idx="150">
                  <c:v>4189.9040595255101</c:v>
                </c:pt>
                <c:pt idx="151">
                  <c:v>4289.2746976934486</c:v>
                </c:pt>
                <c:pt idx="152">
                  <c:v>4389.1875105910149</c:v>
                </c:pt>
                <c:pt idx="153">
                  <c:v>4489.252089311949</c:v>
                </c:pt>
                <c:pt idx="154">
                  <c:v>4589.0704846952885</c:v>
                </c:pt>
                <c:pt idx="155">
                  <c:v>4688.2372818819058</c:v>
                </c:pt>
                <c:pt idx="156">
                  <c:v>4786.3421252342905</c:v>
                </c:pt>
                <c:pt idx="157">
                  <c:v>4882.9682211833424</c:v>
                </c:pt>
                <c:pt idx="158">
                  <c:v>4977.6960236182822</c:v>
                </c:pt>
                <c:pt idx="159">
                  <c:v>5070.1090732931771</c:v>
                </c:pt>
                <c:pt idx="160">
                  <c:v>5159.7941354579216</c:v>
                </c:pt>
                <c:pt idx="161">
                  <c:v>5246.3608702131678</c:v>
                </c:pt>
                <c:pt idx="162">
                  <c:v>5329.4347783051817</c:v>
                </c:pt>
                <c:pt idx="163">
                  <c:v>5408.6568056673186</c:v>
                </c:pt>
                <c:pt idx="164">
                  <c:v>5483.6821334499273</c:v>
                </c:pt>
                <c:pt idx="165">
                  <c:v>5554.1877572500089</c:v>
                </c:pt>
                <c:pt idx="166">
                  <c:v>5619.8731986201983</c:v>
                </c:pt>
                <c:pt idx="167">
                  <c:v>5680.4600548025755</c:v>
                </c:pt>
                <c:pt idx="168">
                  <c:v>5735.6948115955929</c:v>
                </c:pt>
                <c:pt idx="169">
                  <c:v>5785.3500940379417</c:v>
                </c:pt>
                <c:pt idx="170">
                  <c:v>5829.2258782996378</c:v>
                </c:pt>
                <c:pt idx="171">
                  <c:v>5867.1509274320852</c:v>
                </c:pt>
                <c:pt idx="172">
                  <c:v>5898.9838520922058</c:v>
                </c:pt>
                <c:pt idx="173">
                  <c:v>5924.6128282659174</c:v>
                </c:pt>
                <c:pt idx="174">
                  <c:v>5943.9579213279048</c:v>
                </c:pt>
                <c:pt idx="175">
                  <c:v>5956.9712378841396</c:v>
                </c:pt>
                <c:pt idx="176">
                  <c:v>5963.6359759147308</c:v>
                </c:pt>
                <c:pt idx="177">
                  <c:v>5963.9659388367181</c:v>
                </c:pt>
                <c:pt idx="178">
                  <c:v>5958.0054568619216</c:v>
                </c:pt>
                <c:pt idx="179">
                  <c:v>5945.8289837674856</c:v>
                </c:pt>
                <c:pt idx="180">
                  <c:v>5927.5403774987335</c:v>
                </c:pt>
                <c:pt idx="181">
                  <c:v>5903.2718439096479</c:v>
                </c:pt>
                <c:pt idx="182">
                  <c:v>5873.1825739699743</c:v>
                </c:pt>
                <c:pt idx="183">
                  <c:v>5837.4569213878949</c:v>
                </c:pt>
                <c:pt idx="184">
                  <c:v>5796.3025292171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DB9-4256-AE28-72A2561918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2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7655115397936974"/>
          <c:y val="0.33749997923843633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19672675423385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AC-4CC0-8C06-7C983779B817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70-4302-9DB9-2A40D2C7CF5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5DF-41AA-A790-347E5AF75114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B13-47B8-8D55-3C11AB97633A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aj Vysočina</c:v>
                </c:pt>
                <c:pt idx="1">
                  <c:v>Středočeský kraj</c:v>
                </c:pt>
                <c:pt idx="2">
                  <c:v>Hlavní město Praha</c:v>
                </c:pt>
                <c:pt idx="3">
                  <c:v>Jihočeský kraj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moravský kraj</c:v>
                </c:pt>
                <c:pt idx="9">
                  <c:v>Pardubický kraj</c:v>
                </c:pt>
                <c:pt idx="10">
                  <c:v>Liberecký kraj</c:v>
                </c:pt>
                <c:pt idx="11">
                  <c:v>Karlovarský kraj</c:v>
                </c:pt>
                <c:pt idx="12">
                  <c:v>Zlínský kraj</c:v>
                </c:pt>
                <c:pt idx="13">
                  <c:v>Moravskoslezský kraj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66.40025</c:v>
                </c:pt>
                <c:pt idx="1">
                  <c:v>66.007294700000003</c:v>
                </c:pt>
                <c:pt idx="2">
                  <c:v>65.522469000000001</c:v>
                </c:pt>
                <c:pt idx="3">
                  <c:v>64.214491199999998</c:v>
                </c:pt>
                <c:pt idx="4">
                  <c:v>64.036617500000006</c:v>
                </c:pt>
                <c:pt idx="5">
                  <c:v>63.600960800000003</c:v>
                </c:pt>
                <c:pt idx="6">
                  <c:v>63.065337300000003</c:v>
                </c:pt>
                <c:pt idx="7">
                  <c:v>62.016709800000001</c:v>
                </c:pt>
                <c:pt idx="8">
                  <c:v>61.744945100000002</c:v>
                </c:pt>
                <c:pt idx="9">
                  <c:v>61.693468199999998</c:v>
                </c:pt>
                <c:pt idx="10">
                  <c:v>61.208743499999997</c:v>
                </c:pt>
                <c:pt idx="11">
                  <c:v>61.155906199999997</c:v>
                </c:pt>
                <c:pt idx="12">
                  <c:v>60.2426399</c:v>
                </c:pt>
                <c:pt idx="13">
                  <c:v>59.0950627</c:v>
                </c:pt>
                <c:pt idx="14">
                  <c:v>58.6269788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  <c:min val="0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63703070509006"/>
          <c:y val="0.15289779551144775"/>
          <c:w val="0.73100799573970543"/>
          <c:h val="0.783204055176439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26.61157</c:v>
                </c:pt>
                <c:pt idx="1">
                  <c:v>28.45562</c:v>
                </c:pt>
                <c:pt idx="2">
                  <c:v>29.373270000000002</c:v>
                </c:pt>
                <c:pt idx="3">
                  <c:v>28.351030000000002</c:v>
                </c:pt>
                <c:pt idx="4">
                  <c:v>26.56963</c:v>
                </c:pt>
                <c:pt idx="5">
                  <c:v>28.311389999999999</c:v>
                </c:pt>
                <c:pt idx="6">
                  <c:v>26.195360000000001</c:v>
                </c:pt>
                <c:pt idx="7">
                  <c:v>26.238790000000002</c:v>
                </c:pt>
                <c:pt idx="8">
                  <c:v>25.127780000000001</c:v>
                </c:pt>
                <c:pt idx="9">
                  <c:v>25.60772</c:v>
                </c:pt>
                <c:pt idx="10">
                  <c:v>25.550989999999999</c:v>
                </c:pt>
                <c:pt idx="11">
                  <c:v>24.593589999999999</c:v>
                </c:pt>
                <c:pt idx="12">
                  <c:v>25.97221</c:v>
                </c:pt>
                <c:pt idx="13">
                  <c:v>24.176120000000001</c:v>
                </c:pt>
                <c:pt idx="14">
                  <c:v>24.9560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07-4FD9-8636-981FB513E15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 ukončovací dávkou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7.877049999999997</c:v>
                </c:pt>
                <c:pt idx="1">
                  <c:v>36.590400000000002</c:v>
                </c:pt>
                <c:pt idx="2">
                  <c:v>33.360990000000001</c:v>
                </c:pt>
                <c:pt idx="3">
                  <c:v>35.564430000000002</c:v>
                </c:pt>
                <c:pt idx="4">
                  <c:v>36.012210000000003</c:v>
                </c:pt>
                <c:pt idx="5">
                  <c:v>34.109290000000001</c:v>
                </c:pt>
                <c:pt idx="6">
                  <c:v>34.177100000000003</c:v>
                </c:pt>
                <c:pt idx="7">
                  <c:v>35.61936</c:v>
                </c:pt>
                <c:pt idx="8">
                  <c:v>33.793759999999999</c:v>
                </c:pt>
                <c:pt idx="9">
                  <c:v>34.623829999999998</c:v>
                </c:pt>
                <c:pt idx="10">
                  <c:v>34.442320000000002</c:v>
                </c:pt>
                <c:pt idx="11">
                  <c:v>32.825180000000003</c:v>
                </c:pt>
                <c:pt idx="12">
                  <c:v>34.634099999999997</c:v>
                </c:pt>
                <c:pt idx="13">
                  <c:v>33.729759999999999</c:v>
                </c:pt>
                <c:pt idx="14">
                  <c:v>34.95812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07-4FD9-8636-981FB513E15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uze s 1. dávkou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.5186729999999999</c:v>
                </c:pt>
                <c:pt idx="1">
                  <c:v>1.354225</c:v>
                </c:pt>
                <c:pt idx="2">
                  <c:v>1.4802249999999999</c:v>
                </c:pt>
                <c:pt idx="3">
                  <c:v>1.6070150000000001</c:v>
                </c:pt>
                <c:pt idx="4">
                  <c:v>1.454777</c:v>
                </c:pt>
                <c:pt idx="5">
                  <c:v>1.180277</c:v>
                </c:pt>
                <c:pt idx="6">
                  <c:v>1.3210139999999999</c:v>
                </c:pt>
                <c:pt idx="7">
                  <c:v>1.207192</c:v>
                </c:pt>
                <c:pt idx="8">
                  <c:v>1.3211079999999999</c:v>
                </c:pt>
                <c:pt idx="9">
                  <c:v>1.513393</c:v>
                </c:pt>
                <c:pt idx="10">
                  <c:v>1.215433</c:v>
                </c:pt>
                <c:pt idx="11">
                  <c:v>1.208205</c:v>
                </c:pt>
                <c:pt idx="12">
                  <c:v>1.4103969999999999</c:v>
                </c:pt>
                <c:pt idx="13">
                  <c:v>1.1891849999999999</c:v>
                </c:pt>
                <c:pt idx="14">
                  <c:v>1.241684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07-4FD9-8636-981FB513E152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Prodělali onemocnění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9.1977309999999992</c:v>
                </c:pt>
                <c:pt idx="1">
                  <c:v>8.7027269999999994</c:v>
                </c:pt>
                <c:pt idx="2">
                  <c:v>9.8186470000000003</c:v>
                </c:pt>
                <c:pt idx="3">
                  <c:v>8.267944</c:v>
                </c:pt>
                <c:pt idx="4">
                  <c:v>9.6892969999999998</c:v>
                </c:pt>
                <c:pt idx="5">
                  <c:v>9.5609500000000001</c:v>
                </c:pt>
                <c:pt idx="6">
                  <c:v>11.00418</c:v>
                </c:pt>
                <c:pt idx="7">
                  <c:v>9.4111910000000005</c:v>
                </c:pt>
                <c:pt idx="8">
                  <c:v>11.479889999999999</c:v>
                </c:pt>
                <c:pt idx="9">
                  <c:v>9.6592819999999993</c:v>
                </c:pt>
                <c:pt idx="10">
                  <c:v>10.0932</c:v>
                </c:pt>
                <c:pt idx="11">
                  <c:v>11.71617</c:v>
                </c:pt>
                <c:pt idx="12">
                  <c:v>8.2999589999999994</c:v>
                </c:pt>
                <c:pt idx="13">
                  <c:v>10.87444</c:v>
                </c:pt>
                <c:pt idx="14">
                  <c:v>6.75460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07-4FD9-8636-981FB513E152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Mají rezervaci termínu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F$2:$F$16</c:f>
              <c:numCache>
                <c:formatCode>General</c:formatCode>
                <c:ptCount val="15"/>
                <c:pt idx="0">
                  <c:v>0.266739</c:v>
                </c:pt>
                <c:pt idx="1">
                  <c:v>0.21224199999999999</c:v>
                </c:pt>
                <c:pt idx="2">
                  <c:v>0.188641</c:v>
                </c:pt>
                <c:pt idx="3">
                  <c:v>0.32222699999999999</c:v>
                </c:pt>
                <c:pt idx="4">
                  <c:v>0.226439</c:v>
                </c:pt>
                <c:pt idx="5">
                  <c:v>0.14052200000000001</c:v>
                </c:pt>
                <c:pt idx="6">
                  <c:v>0.19049199999999999</c:v>
                </c:pt>
                <c:pt idx="7">
                  <c:v>0.14347599999999999</c:v>
                </c:pt>
                <c:pt idx="8">
                  <c:v>0.12032</c:v>
                </c:pt>
                <c:pt idx="9">
                  <c:v>0.17585100000000001</c:v>
                </c:pt>
                <c:pt idx="10">
                  <c:v>0.236397</c:v>
                </c:pt>
                <c:pt idx="11">
                  <c:v>0.173983</c:v>
                </c:pt>
                <c:pt idx="12">
                  <c:v>0.210648</c:v>
                </c:pt>
                <c:pt idx="13">
                  <c:v>0.1981</c:v>
                </c:pt>
                <c:pt idx="14">
                  <c:v>0.338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07-4FD9-8636-981FB513E152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Registrovaní, čekají na termí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G$2:$G$16</c:f>
              <c:numCache>
                <c:formatCode>General</c:formatCode>
                <c:ptCount val="15"/>
                <c:pt idx="0">
                  <c:v>0.43118800000000002</c:v>
                </c:pt>
                <c:pt idx="1">
                  <c:v>0.35236200000000001</c:v>
                </c:pt>
                <c:pt idx="2">
                  <c:v>0.39157700000000001</c:v>
                </c:pt>
                <c:pt idx="3">
                  <c:v>0.33990399999999998</c:v>
                </c:pt>
                <c:pt idx="4">
                  <c:v>0.52290400000000004</c:v>
                </c:pt>
                <c:pt idx="5">
                  <c:v>0.33260499999999998</c:v>
                </c:pt>
                <c:pt idx="6">
                  <c:v>0.34942699999999999</c:v>
                </c:pt>
                <c:pt idx="7">
                  <c:v>0.40995500000000001</c:v>
                </c:pt>
                <c:pt idx="8">
                  <c:v>0.26304899999999998</c:v>
                </c:pt>
                <c:pt idx="9">
                  <c:v>0.29924899999999999</c:v>
                </c:pt>
                <c:pt idx="10">
                  <c:v>0.48861399999999999</c:v>
                </c:pt>
                <c:pt idx="11">
                  <c:v>0.39538699999999999</c:v>
                </c:pt>
                <c:pt idx="12">
                  <c:v>0.40954499999999999</c:v>
                </c:pt>
                <c:pt idx="13">
                  <c:v>0.34154000000000001</c:v>
                </c:pt>
                <c:pt idx="14">
                  <c:v>0.393438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07-4FD9-8636-981FB513E152}"/>
            </c:ext>
          </c:extLst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Kraj Vysočina</c:v>
                </c:pt>
                <c:pt idx="2">
                  <c:v>Jihočeský kraj</c:v>
                </c:pt>
                <c:pt idx="3">
                  <c:v>Hlavní město Praha</c:v>
                </c:pt>
                <c:pt idx="4">
                  <c:v>ČR</c:v>
                </c:pt>
                <c:pt idx="5">
                  <c:v>Královéhradecký kraj</c:v>
                </c:pt>
                <c:pt idx="6">
                  <c:v>Pardubický kraj</c:v>
                </c:pt>
                <c:pt idx="7">
                  <c:v>Plzeňský kraj</c:v>
                </c:pt>
                <c:pt idx="8">
                  <c:v>Zlínský kraj</c:v>
                </c:pt>
                <c:pt idx="9">
                  <c:v>Jihomoravský kraj</c:v>
                </c:pt>
                <c:pt idx="10">
                  <c:v>Liberecký kraj</c:v>
                </c:pt>
                <c:pt idx="11">
                  <c:v>Olomoucký kraj</c:v>
                </c:pt>
                <c:pt idx="12">
                  <c:v>Ústecký kraj</c:v>
                </c:pt>
                <c:pt idx="13">
                  <c:v>Moravskoslez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H$2:$H$16</c:f>
              <c:numCache>
                <c:formatCode>General</c:formatCode>
                <c:ptCount val="15"/>
                <c:pt idx="0">
                  <c:v>24.097047400000001</c:v>
                </c:pt>
                <c:pt idx="1">
                  <c:v>24.3324189</c:v>
                </c:pt>
                <c:pt idx="2">
                  <c:v>25.386643800000002</c:v>
                </c:pt>
                <c:pt idx="3">
                  <c:v>25.547456199999999</c:v>
                </c:pt>
                <c:pt idx="4">
                  <c:v>25.5247423</c:v>
                </c:pt>
                <c:pt idx="5">
                  <c:v>26.364961699999999</c:v>
                </c:pt>
                <c:pt idx="6">
                  <c:v>26.762435499999999</c:v>
                </c:pt>
                <c:pt idx="7">
                  <c:v>26.970040999999998</c:v>
                </c:pt>
                <c:pt idx="8">
                  <c:v>27.894104500000001</c:v>
                </c:pt>
                <c:pt idx="9">
                  <c:v>28.1206733</c:v>
                </c:pt>
                <c:pt idx="10">
                  <c:v>27.973042599999999</c:v>
                </c:pt>
                <c:pt idx="11">
                  <c:v>29.087486200000001</c:v>
                </c:pt>
                <c:pt idx="12">
                  <c:v>29.063137999999999</c:v>
                </c:pt>
                <c:pt idx="13">
                  <c:v>29.4908596</c:v>
                </c:pt>
                <c:pt idx="14">
                  <c:v>31.3571601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07-4FD9-8636-981FB513E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5432621546842074E-3"/>
          <c:y val="5.4335373949960485E-2"/>
          <c:w val="0.99538389239985303"/>
          <c:h val="4.58513999478988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578335651274336E-2"/>
          <c:y val="0.15029412843408396"/>
          <c:w val="0.93208512400586685"/>
          <c:h val="0.8274616863015915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cí míst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83.960250000000002</c:v>
                </c:pt>
                <c:pt idx="1">
                  <c:v>16.959330000000001</c:v>
                </c:pt>
                <c:pt idx="2">
                  <c:v>78.074250000000006</c:v>
                </c:pt>
                <c:pt idx="3">
                  <c:v>43.096649999999997</c:v>
                </c:pt>
                <c:pt idx="4">
                  <c:v>84.246579999999994</c:v>
                </c:pt>
                <c:pt idx="5">
                  <c:v>39.478960000000001</c:v>
                </c:pt>
                <c:pt idx="6">
                  <c:v>32.520330000000001</c:v>
                </c:pt>
                <c:pt idx="7">
                  <c:v>40.463920000000002</c:v>
                </c:pt>
                <c:pt idx="8">
                  <c:v>55.334000000000003</c:v>
                </c:pt>
                <c:pt idx="9">
                  <c:v>80.75067</c:v>
                </c:pt>
                <c:pt idx="10">
                  <c:v>81.583309999999997</c:v>
                </c:pt>
                <c:pt idx="11">
                  <c:v>59.077809999999999</c:v>
                </c:pt>
                <c:pt idx="12">
                  <c:v>77.130039999999994</c:v>
                </c:pt>
                <c:pt idx="13">
                  <c:v>85.188720000000004</c:v>
                </c:pt>
                <c:pt idx="14">
                  <c:v>70.86395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1A-418E-9206-184B6803502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raktičtí lékaři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3.687192</c:v>
                </c:pt>
                <c:pt idx="1">
                  <c:v>6.0998150000000004</c:v>
                </c:pt>
                <c:pt idx="2">
                  <c:v>0.85073500000000002</c:v>
                </c:pt>
                <c:pt idx="3">
                  <c:v>1.47929</c:v>
                </c:pt>
                <c:pt idx="4">
                  <c:v>0.456621</c:v>
                </c:pt>
                <c:pt idx="5">
                  <c:v>6.6799999999999998E-2</c:v>
                </c:pt>
                <c:pt idx="6">
                  <c:v>5.9620600000000001</c:v>
                </c:pt>
                <c:pt idx="8">
                  <c:v>0.498504</c:v>
                </c:pt>
                <c:pt idx="9">
                  <c:v>0.321716</c:v>
                </c:pt>
                <c:pt idx="10">
                  <c:v>3.3124000000000001E-2</c:v>
                </c:pt>
                <c:pt idx="13">
                  <c:v>0.38222600000000001</c:v>
                </c:pt>
                <c:pt idx="14">
                  <c:v>2.07823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1A-418E-9206-184B6803502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raktičtí lékaři pro děti a dorost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12.33398</c:v>
                </c:pt>
                <c:pt idx="1">
                  <c:v>76.940849999999998</c:v>
                </c:pt>
                <c:pt idx="2">
                  <c:v>21.075019999999999</c:v>
                </c:pt>
                <c:pt idx="3">
                  <c:v>55.424059999999997</c:v>
                </c:pt>
                <c:pt idx="4">
                  <c:v>15.296799999999999</c:v>
                </c:pt>
                <c:pt idx="5">
                  <c:v>55.444220000000001</c:v>
                </c:pt>
                <c:pt idx="6">
                  <c:v>61.517620000000001</c:v>
                </c:pt>
                <c:pt idx="7">
                  <c:v>59.536079999999998</c:v>
                </c:pt>
                <c:pt idx="8">
                  <c:v>44.167499999999997</c:v>
                </c:pt>
                <c:pt idx="9">
                  <c:v>17.2118</c:v>
                </c:pt>
                <c:pt idx="10">
                  <c:v>18.383569999999999</c:v>
                </c:pt>
                <c:pt idx="11">
                  <c:v>40.922190000000001</c:v>
                </c:pt>
                <c:pt idx="12">
                  <c:v>21.79372</c:v>
                </c:pt>
                <c:pt idx="13">
                  <c:v>14.42905</c:v>
                </c:pt>
                <c:pt idx="14">
                  <c:v>26.64626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1A-418E-9206-184B68035028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Ostatní zařízen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CZ010 Hlavní město Praha</c:v>
                </c:pt>
                <c:pt idx="1">
                  <c:v>CZ020 Středočeský kraj</c:v>
                </c:pt>
                <c:pt idx="2">
                  <c:v>CZ031 Jihočeský kraj</c:v>
                </c:pt>
                <c:pt idx="3">
                  <c:v>CZ032 Plzeňský kraj</c:v>
                </c:pt>
                <c:pt idx="4">
                  <c:v>CZ041 Karlovarský kraj</c:v>
                </c:pt>
                <c:pt idx="5">
                  <c:v>CZ042 Ústecký kraj</c:v>
                </c:pt>
                <c:pt idx="6">
                  <c:v>CZ051 Liberecký kraj</c:v>
                </c:pt>
                <c:pt idx="7">
                  <c:v>CZ052 Královéhradecký kraj</c:v>
                </c:pt>
                <c:pt idx="8">
                  <c:v>CZ053 Pardubický kraj</c:v>
                </c:pt>
                <c:pt idx="9">
                  <c:v>CZ063 Kraj Vysočina</c:v>
                </c:pt>
                <c:pt idx="10">
                  <c:v>CZ064 Jihomoravský kraj</c:v>
                </c:pt>
                <c:pt idx="11">
                  <c:v>CZ071 Olomoucký kraj</c:v>
                </c:pt>
                <c:pt idx="12">
                  <c:v>CZ072 Zlínský kraj</c:v>
                </c:pt>
                <c:pt idx="13">
                  <c:v>CZ080 Moravskoslezský kraj</c:v>
                </c:pt>
                <c:pt idx="14">
                  <c:v>CELKEM</c:v>
                </c:pt>
              </c:strCache>
            </c:strRef>
          </c:cat>
          <c:val>
            <c:numRef>
              <c:f>List1!$E$2:$E$16</c:f>
              <c:numCache>
                <c:formatCode>General</c:formatCode>
                <c:ptCount val="15"/>
                <c:pt idx="0">
                  <c:v>1.857528E-2</c:v>
                </c:pt>
                <c:pt idx="5">
                  <c:v>5.0100200399999997</c:v>
                </c:pt>
                <c:pt idx="9">
                  <c:v>1.71581769</c:v>
                </c:pt>
                <c:pt idx="12">
                  <c:v>1.07623318</c:v>
                </c:pt>
                <c:pt idx="14">
                  <c:v>0.41156462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1A-418E-9206-184B68035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59492928"/>
        <c:axId val="160289136"/>
      </c:barChart>
      <c:catAx>
        <c:axId val="15949292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60289136"/>
        <c:crosses val="autoZero"/>
        <c:auto val="1"/>
        <c:lblAlgn val="ctr"/>
        <c:lblOffset val="100"/>
        <c:noMultiLvlLbl val="0"/>
      </c:catAx>
      <c:valAx>
        <c:axId val="160289136"/>
        <c:scaling>
          <c:orientation val="minMax"/>
          <c:max val="1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9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4"/>
          <c:tx>
            <c:strRef>
              <c:f>Sheet1!$G$1</c:f>
              <c:strCache>
                <c:ptCount val="1"/>
                <c:pt idx="0">
                  <c:v>Reálná data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G$2:$G$186</c:f>
              <c:numCache>
                <c:formatCode>General</c:formatCode>
                <c:ptCount val="185"/>
                <c:pt idx="0">
                  <c:v>12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6</c:v>
                </c:pt>
                <c:pt idx="5">
                  <c:v>23</c:v>
                </c:pt>
                <c:pt idx="6">
                  <c:v>26</c:v>
                </c:pt>
                <c:pt idx="7">
                  <c:v>24</c:v>
                </c:pt>
                <c:pt idx="8">
                  <c:v>22</c:v>
                </c:pt>
                <c:pt idx="9">
                  <c:v>24</c:v>
                </c:pt>
                <c:pt idx="10">
                  <c:v>27</c:v>
                </c:pt>
                <c:pt idx="11">
                  <c:v>31</c:v>
                </c:pt>
                <c:pt idx="12">
                  <c:v>35</c:v>
                </c:pt>
                <c:pt idx="13">
                  <c:v>41</c:v>
                </c:pt>
                <c:pt idx="14">
                  <c:v>38</c:v>
                </c:pt>
                <c:pt idx="15">
                  <c:v>43</c:v>
                </c:pt>
                <c:pt idx="16">
                  <c:v>46</c:v>
                </c:pt>
                <c:pt idx="17">
                  <c:v>43</c:v>
                </c:pt>
                <c:pt idx="18">
                  <c:v>40</c:v>
                </c:pt>
                <c:pt idx="19">
                  <c:v>42</c:v>
                </c:pt>
                <c:pt idx="20">
                  <c:v>40</c:v>
                </c:pt>
                <c:pt idx="21">
                  <c:v>38</c:v>
                </c:pt>
                <c:pt idx="22">
                  <c:v>38</c:v>
                </c:pt>
                <c:pt idx="23">
                  <c:v>42</c:v>
                </c:pt>
                <c:pt idx="24">
                  <c:v>46</c:v>
                </c:pt>
                <c:pt idx="25">
                  <c:v>45</c:v>
                </c:pt>
                <c:pt idx="26">
                  <c:v>49</c:v>
                </c:pt>
                <c:pt idx="27">
                  <c:v>53</c:v>
                </c:pt>
                <c:pt idx="28">
                  <c:v>51</c:v>
                </c:pt>
                <c:pt idx="29">
                  <c:v>50</c:v>
                </c:pt>
                <c:pt idx="30">
                  <c:v>45</c:v>
                </c:pt>
                <c:pt idx="31">
                  <c:v>44</c:v>
                </c:pt>
                <c:pt idx="32">
                  <c:v>52</c:v>
                </c:pt>
                <c:pt idx="33">
                  <c:v>58</c:v>
                </c:pt>
                <c:pt idx="34">
                  <c:v>72</c:v>
                </c:pt>
                <c:pt idx="35">
                  <c:v>86</c:v>
                </c:pt>
                <c:pt idx="36">
                  <c:v>75</c:v>
                </c:pt>
                <c:pt idx="37">
                  <c:v>78</c:v>
                </c:pt>
                <c:pt idx="38">
                  <c:v>77</c:v>
                </c:pt>
                <c:pt idx="39">
                  <c:v>77</c:v>
                </c:pt>
                <c:pt idx="40">
                  <c:v>99</c:v>
                </c:pt>
                <c:pt idx="41">
                  <c:v>113</c:v>
                </c:pt>
                <c:pt idx="42">
                  <c:v>114</c:v>
                </c:pt>
                <c:pt idx="43">
                  <c:v>116</c:v>
                </c:pt>
                <c:pt idx="44">
                  <c:v>115</c:v>
                </c:pt>
                <c:pt idx="45">
                  <c:v>112</c:v>
                </c:pt>
                <c:pt idx="46">
                  <c:v>116</c:v>
                </c:pt>
                <c:pt idx="47">
                  <c:v>133</c:v>
                </c:pt>
                <c:pt idx="48">
                  <c:v>146</c:v>
                </c:pt>
                <c:pt idx="49">
                  <c:v>138</c:v>
                </c:pt>
                <c:pt idx="50">
                  <c:v>142</c:v>
                </c:pt>
                <c:pt idx="51">
                  <c:v>153</c:v>
                </c:pt>
                <c:pt idx="52">
                  <c:v>151</c:v>
                </c:pt>
                <c:pt idx="53">
                  <c:v>163</c:v>
                </c:pt>
                <c:pt idx="54">
                  <c:v>171</c:v>
                </c:pt>
                <c:pt idx="55">
                  <c:v>193</c:v>
                </c:pt>
                <c:pt idx="56">
                  <c:v>215</c:v>
                </c:pt>
                <c:pt idx="57">
                  <c:v>209</c:v>
                </c:pt>
                <c:pt idx="58">
                  <c:v>233</c:v>
                </c:pt>
                <c:pt idx="59">
                  <c:v>238</c:v>
                </c:pt>
                <c:pt idx="60">
                  <c:v>267</c:v>
                </c:pt>
                <c:pt idx="61">
                  <c:v>311</c:v>
                </c:pt>
                <c:pt idx="62">
                  <c:v>318</c:v>
                </c:pt>
                <c:pt idx="63">
                  <c:v>345</c:v>
                </c:pt>
                <c:pt idx="64">
                  <c:v>345</c:v>
                </c:pt>
                <c:pt idx="65">
                  <c:v>384</c:v>
                </c:pt>
                <c:pt idx="66">
                  <c:v>389</c:v>
                </c:pt>
                <c:pt idx="67">
                  <c:v>424</c:v>
                </c:pt>
                <c:pt idx="68">
                  <c:v>471</c:v>
                </c:pt>
                <c:pt idx="69">
                  <c:v>487</c:v>
                </c:pt>
                <c:pt idx="70">
                  <c:v>511</c:v>
                </c:pt>
                <c:pt idx="71">
                  <c:v>519</c:v>
                </c:pt>
                <c:pt idx="72">
                  <c:v>527</c:v>
                </c:pt>
                <c:pt idx="73">
                  <c:v>561</c:v>
                </c:pt>
                <c:pt idx="74">
                  <c:v>601</c:v>
                </c:pt>
                <c:pt idx="75">
                  <c:v>644</c:v>
                </c:pt>
                <c:pt idx="76">
                  <c:v>651</c:v>
                </c:pt>
                <c:pt idx="77">
                  <c:v>691</c:v>
                </c:pt>
                <c:pt idx="78">
                  <c:v>716</c:v>
                </c:pt>
                <c:pt idx="79">
                  <c:v>744</c:v>
                </c:pt>
                <c:pt idx="80">
                  <c:v>752</c:v>
                </c:pt>
                <c:pt idx="81">
                  <c:v>781</c:v>
                </c:pt>
                <c:pt idx="82">
                  <c:v>816</c:v>
                </c:pt>
                <c:pt idx="83">
                  <c:v>858</c:v>
                </c:pt>
                <c:pt idx="84">
                  <c:v>868</c:v>
                </c:pt>
                <c:pt idx="85">
                  <c:v>894</c:v>
                </c:pt>
                <c:pt idx="86">
                  <c:v>914</c:v>
                </c:pt>
                <c:pt idx="87">
                  <c:v>929</c:v>
                </c:pt>
                <c:pt idx="88">
                  <c:v>941</c:v>
                </c:pt>
                <c:pt idx="89">
                  <c:v>985</c:v>
                </c:pt>
                <c:pt idx="90">
                  <c:v>990</c:v>
                </c:pt>
                <c:pt idx="91">
                  <c:v>982</c:v>
                </c:pt>
                <c:pt idx="92">
                  <c:v>974</c:v>
                </c:pt>
                <c:pt idx="93">
                  <c:v>969</c:v>
                </c:pt>
                <c:pt idx="94">
                  <c:v>942</c:v>
                </c:pt>
                <c:pt idx="95">
                  <c:v>969</c:v>
                </c:pt>
                <c:pt idx="96">
                  <c:v>992</c:v>
                </c:pt>
                <c:pt idx="97">
                  <c:v>1000</c:v>
                </c:pt>
                <c:pt idx="98">
                  <c:v>1000</c:v>
                </c:pt>
                <c:pt idx="99">
                  <c:v>1012</c:v>
                </c:pt>
                <c:pt idx="100">
                  <c:v>982</c:v>
                </c:pt>
                <c:pt idx="101">
                  <c:v>964</c:v>
                </c:pt>
                <c:pt idx="102">
                  <c:v>980</c:v>
                </c:pt>
                <c:pt idx="103">
                  <c:v>999</c:v>
                </c:pt>
                <c:pt idx="104">
                  <c:v>971</c:v>
                </c:pt>
                <c:pt idx="105">
                  <c:v>936</c:v>
                </c:pt>
                <c:pt idx="106">
                  <c:v>884</c:v>
                </c:pt>
                <c:pt idx="107">
                  <c:v>864</c:v>
                </c:pt>
                <c:pt idx="108">
                  <c:v>808</c:v>
                </c:pt>
                <c:pt idx="109">
                  <c:v>817</c:v>
                </c:pt>
                <c:pt idx="110">
                  <c:v>877</c:v>
                </c:pt>
                <c:pt idx="111">
                  <c:v>862</c:v>
                </c:pt>
                <c:pt idx="112">
                  <c:v>816</c:v>
                </c:pt>
                <c:pt idx="113">
                  <c:v>770</c:v>
                </c:pt>
                <c:pt idx="114">
                  <c:v>696</c:v>
                </c:pt>
                <c:pt idx="115">
                  <c:v>684</c:v>
                </c:pt>
                <c:pt idx="116">
                  <c:v>698</c:v>
                </c:pt>
                <c:pt idx="117">
                  <c:v>722</c:v>
                </c:pt>
                <c:pt idx="118">
                  <c:v>704</c:v>
                </c:pt>
                <c:pt idx="119">
                  <c:v>681</c:v>
                </c:pt>
                <c:pt idx="120">
                  <c:v>640</c:v>
                </c:pt>
                <c:pt idx="121">
                  <c:v>580</c:v>
                </c:pt>
                <c:pt idx="122">
                  <c:v>557</c:v>
                </c:pt>
                <c:pt idx="123">
                  <c:v>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7093791"/>
        <c:axId val="209778303"/>
      </c:barChar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B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Sheet1!$E$2:$E$186</c:f>
              <c:numCache>
                <c:formatCode>General</c:formatCode>
                <c:ptCount val="185"/>
                <c:pt idx="0">
                  <c:v>2.1499938108275587</c:v>
                </c:pt>
                <c:pt idx="1">
                  <c:v>2.1489942988240536</c:v>
                </c:pt>
                <c:pt idx="2">
                  <c:v>2.1563756917328081</c:v>
                </c:pt>
                <c:pt idx="3">
                  <c:v>2.2220662509694518</c:v>
                </c:pt>
                <c:pt idx="4">
                  <c:v>2.3490076857795001</c:v>
                </c:pt>
                <c:pt idx="5">
                  <c:v>2.5056648229639888</c:v>
                </c:pt>
                <c:pt idx="6">
                  <c:v>2.6689272128599746</c:v>
                </c:pt>
                <c:pt idx="7">
                  <c:v>2.7597022170835119</c:v>
                </c:pt>
                <c:pt idx="8">
                  <c:v>2.7634894993383736</c:v>
                </c:pt>
                <c:pt idx="9">
                  <c:v>2.7844883124857778</c:v>
                </c:pt>
                <c:pt idx="10">
                  <c:v>0.20709584228404368</c:v>
                </c:pt>
                <c:pt idx="11">
                  <c:v>0.55286125342098946</c:v>
                </c:pt>
                <c:pt idx="12">
                  <c:v>0.92492594653068261</c:v>
                </c:pt>
                <c:pt idx="13">
                  <c:v>1.3428704468709667</c:v>
                </c:pt>
                <c:pt idx="14">
                  <c:v>1.8215746154633203</c:v>
                </c:pt>
                <c:pt idx="15">
                  <c:v>2.474726350772896</c:v>
                </c:pt>
                <c:pt idx="16">
                  <c:v>3.2262958173138752</c:v>
                </c:pt>
                <c:pt idx="17">
                  <c:v>4.0752726566685098</c:v>
                </c:pt>
                <c:pt idx="18">
                  <c:v>4.964831800229037</c:v>
                </c:pt>
                <c:pt idx="19">
                  <c:v>5.9796446817234861</c:v>
                </c:pt>
                <c:pt idx="20">
                  <c:v>6.9865220280905787</c:v>
                </c:pt>
                <c:pt idx="21">
                  <c:v>8.1285182926197859</c:v>
                </c:pt>
                <c:pt idx="22">
                  <c:v>9.1804172488551359</c:v>
                </c:pt>
                <c:pt idx="23">
                  <c:v>10.418830696230001</c:v>
                </c:pt>
                <c:pt idx="24">
                  <c:v>11.78672416277089</c:v>
                </c:pt>
                <c:pt idx="25">
                  <c:v>13.30313543074859</c:v>
                </c:pt>
                <c:pt idx="26">
                  <c:v>14.947197294775943</c:v>
                </c:pt>
                <c:pt idx="27">
                  <c:v>16.977580490328688</c:v>
                </c:pt>
                <c:pt idx="28">
                  <c:v>18.948832729355825</c:v>
                </c:pt>
                <c:pt idx="29">
                  <c:v>21.035005821232751</c:v>
                </c:pt>
                <c:pt idx="30">
                  <c:v>22.79008070672829</c:v>
                </c:pt>
                <c:pt idx="31">
                  <c:v>24.283364648339056</c:v>
                </c:pt>
                <c:pt idx="32">
                  <c:v>26.458338629574964</c:v>
                </c:pt>
                <c:pt idx="33">
                  <c:v>28.646989117777778</c:v>
                </c:pt>
                <c:pt idx="34">
                  <c:v>31.489840034288211</c:v>
                </c:pt>
                <c:pt idx="35">
                  <c:v>35.917569727058805</c:v>
                </c:pt>
                <c:pt idx="36">
                  <c:v>40.173210690576973</c:v>
                </c:pt>
                <c:pt idx="37">
                  <c:v>44.917326484515712</c:v>
                </c:pt>
                <c:pt idx="38">
                  <c:v>50.222859935349035</c:v>
                </c:pt>
                <c:pt idx="39">
                  <c:v>55.047065351332463</c:v>
                </c:pt>
                <c:pt idx="40">
                  <c:v>61.622436562134602</c:v>
                </c:pt>
                <c:pt idx="41">
                  <c:v>68.056789909912723</c:v>
                </c:pt>
                <c:pt idx="42">
                  <c:v>73.64408921424284</c:v>
                </c:pt>
                <c:pt idx="43">
                  <c:v>80.619933129478653</c:v>
                </c:pt>
                <c:pt idx="44">
                  <c:v>88.07899661871042</c:v>
                </c:pt>
                <c:pt idx="45">
                  <c:v>95.99289157549795</c:v>
                </c:pt>
                <c:pt idx="46">
                  <c:v>105.14804756840543</c:v>
                </c:pt>
                <c:pt idx="47">
                  <c:v>113.32509751051417</c:v>
                </c:pt>
                <c:pt idx="48">
                  <c:v>120.30662358525673</c:v>
                </c:pt>
                <c:pt idx="49">
                  <c:v>126.35260730869122</c:v>
                </c:pt>
                <c:pt idx="50">
                  <c:v>132.55700194229081</c:v>
                </c:pt>
                <c:pt idx="51">
                  <c:v>140.21559433107447</c:v>
                </c:pt>
                <c:pt idx="52">
                  <c:v>147.70800294563014</c:v>
                </c:pt>
                <c:pt idx="53">
                  <c:v>155.93072542142394</c:v>
                </c:pt>
                <c:pt idx="54">
                  <c:v>163.49652986130411</c:v>
                </c:pt>
                <c:pt idx="55">
                  <c:v>171.65081493185716</c:v>
                </c:pt>
                <c:pt idx="56">
                  <c:v>184.77767711514741</c:v>
                </c:pt>
                <c:pt idx="57">
                  <c:v>199.22673147933284</c:v>
                </c:pt>
                <c:pt idx="58">
                  <c:v>214.28313321665527</c:v>
                </c:pt>
                <c:pt idx="59">
                  <c:v>231.28268874017573</c:v>
                </c:pt>
                <c:pt idx="60">
                  <c:v>250.2023933218222</c:v>
                </c:pt>
                <c:pt idx="61">
                  <c:v>273.55373933241361</c:v>
                </c:pt>
                <c:pt idx="62">
                  <c:v>294.60134620266598</c:v>
                </c:pt>
                <c:pt idx="63">
                  <c:v>314.45124331739214</c:v>
                </c:pt>
                <c:pt idx="64">
                  <c:v>332.5686204660027</c:v>
                </c:pt>
                <c:pt idx="65">
                  <c:v>353.67984779847114</c:v>
                </c:pt>
                <c:pt idx="66">
                  <c:v>374.76843161274172</c:v>
                </c:pt>
                <c:pt idx="67">
                  <c:v>395.45393621540632</c:v>
                </c:pt>
                <c:pt idx="68">
                  <c:v>416.22658895811321</c:v>
                </c:pt>
                <c:pt idx="69">
                  <c:v>439.49680756860073</c:v>
                </c:pt>
                <c:pt idx="70">
                  <c:v>463.80650615405699</c:v>
                </c:pt>
                <c:pt idx="71">
                  <c:v>491.69529048648286</c:v>
                </c:pt>
                <c:pt idx="72">
                  <c:v>514.62782032996608</c:v>
                </c:pt>
                <c:pt idx="73">
                  <c:v>542.76377346828315</c:v>
                </c:pt>
                <c:pt idx="74">
                  <c:v>571.70415232551045</c:v>
                </c:pt>
                <c:pt idx="75">
                  <c:v>598.1235515957876</c:v>
                </c:pt>
                <c:pt idx="76">
                  <c:v>627.01965865816146</c:v>
                </c:pt>
                <c:pt idx="77">
                  <c:v>662.56637295883513</c:v>
                </c:pt>
                <c:pt idx="78">
                  <c:v>696.77991904977682</c:v>
                </c:pt>
                <c:pt idx="79">
                  <c:v>736.21371531368322</c:v>
                </c:pt>
                <c:pt idx="80">
                  <c:v>772.53255554566829</c:v>
                </c:pt>
                <c:pt idx="81">
                  <c:v>805.78382447843671</c:v>
                </c:pt>
                <c:pt idx="82">
                  <c:v>841.9893416438631</c:v>
                </c:pt>
                <c:pt idx="83">
                  <c:v>882.02158240072845</c:v>
                </c:pt>
                <c:pt idx="84">
                  <c:v>910.91403168216937</c:v>
                </c:pt>
                <c:pt idx="85">
                  <c:v>942.67992886788625</c:v>
                </c:pt>
                <c:pt idx="86">
                  <c:v>970.43554108544595</c:v>
                </c:pt>
                <c:pt idx="87">
                  <c:v>997.78119122566216</c:v>
                </c:pt>
                <c:pt idx="88">
                  <c:v>1019.29769693552</c:v>
                </c:pt>
                <c:pt idx="89">
                  <c:v>1038.1767751657321</c:v>
                </c:pt>
                <c:pt idx="90">
                  <c:v>1051.0202288728483</c:v>
                </c:pt>
                <c:pt idx="91">
                  <c:v>1060.944426202873</c:v>
                </c:pt>
                <c:pt idx="92">
                  <c:v>1064.9020645552769</c:v>
                </c:pt>
                <c:pt idx="93">
                  <c:v>1065.6035332043584</c:v>
                </c:pt>
                <c:pt idx="94">
                  <c:v>1063.2218293980754</c:v>
                </c:pt>
                <c:pt idx="95">
                  <c:v>1057.9437089167161</c:v>
                </c:pt>
                <c:pt idx="96">
                  <c:v>1049.9571750530026</c:v>
                </c:pt>
                <c:pt idx="97">
                  <c:v>1039.4801235543416</c:v>
                </c:pt>
                <c:pt idx="98">
                  <c:v>1026.8050483601664</c:v>
                </c:pt>
                <c:pt idx="99">
                  <c:v>1011.1816261834061</c:v>
                </c:pt>
                <c:pt idx="100">
                  <c:v>993.97312723803236</c:v>
                </c:pt>
                <c:pt idx="101">
                  <c:v>975.42218856806994</c:v>
                </c:pt>
                <c:pt idx="102">
                  <c:v>955.74204142953727</c:v>
                </c:pt>
                <c:pt idx="103">
                  <c:v>935.12138406555948</c:v>
                </c:pt>
                <c:pt idx="104">
                  <c:v>913.72821583057805</c:v>
                </c:pt>
                <c:pt idx="105">
                  <c:v>891.72266867301209</c:v>
                </c:pt>
                <c:pt idx="106">
                  <c:v>870.19056168921099</c:v>
                </c:pt>
                <c:pt idx="107">
                  <c:v>848.2783968043841</c:v>
                </c:pt>
                <c:pt idx="108">
                  <c:v>826.09522655285684</c:v>
                </c:pt>
                <c:pt idx="109">
                  <c:v>803.7345113132003</c:v>
                </c:pt>
                <c:pt idx="110">
                  <c:v>781.27745039129161</c:v>
                </c:pt>
                <c:pt idx="111">
                  <c:v>758.79312829906974</c:v>
                </c:pt>
                <c:pt idx="112">
                  <c:v>736.34273933010911</c:v>
                </c:pt>
                <c:pt idx="113">
                  <c:v>714.76896532338731</c:v>
                </c:pt>
                <c:pt idx="114">
                  <c:v>693.28816508878606</c:v>
                </c:pt>
                <c:pt idx="115">
                  <c:v>671.94442658932269</c:v>
                </c:pt>
                <c:pt idx="116">
                  <c:v>650.77884492202975</c:v>
                </c:pt>
                <c:pt idx="117">
                  <c:v>629.82785589255423</c:v>
                </c:pt>
                <c:pt idx="118">
                  <c:v>609.12231583988466</c:v>
                </c:pt>
                <c:pt idx="119">
                  <c:v>588.68959493554769</c:v>
                </c:pt>
                <c:pt idx="120">
                  <c:v>569.19261238671868</c:v>
                </c:pt>
                <c:pt idx="121">
                  <c:v>549.73777576364239</c:v>
                </c:pt>
                <c:pt idx="122">
                  <c:v>539.97567465497059</c:v>
                </c:pt>
                <c:pt idx="123">
                  <c:v>530.37703878424622</c:v>
                </c:pt>
                <c:pt idx="124">
                  <c:v>520.95062810160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358-4843-A083-9E75CCD15D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2</c:v>
                </c:pt>
              </c:strCache>
            </c:strRef>
          </c:tx>
          <c:spPr>
            <a:ln w="28575" cap="rnd">
              <a:solidFill>
                <a:srgbClr val="FF99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C$2:$C$186</c:f>
              <c:numCache>
                <c:formatCode>General</c:formatCode>
                <c:ptCount val="185"/>
                <c:pt idx="122">
                  <c:v>531.06870896275336</c:v>
                </c:pt>
                <c:pt idx="123">
                  <c:v>512.48677650420518</c:v>
                </c:pt>
                <c:pt idx="124">
                  <c:v>494.24929442182855</c:v>
                </c:pt>
                <c:pt idx="125">
                  <c:v>476.37166385925991</c:v>
                </c:pt>
                <c:pt idx="126">
                  <c:v>458.86700243556277</c:v>
                </c:pt>
                <c:pt idx="127">
                  <c:v>442.24450407417885</c:v>
                </c:pt>
                <c:pt idx="128">
                  <c:v>425.9789175497458</c:v>
                </c:pt>
                <c:pt idx="129">
                  <c:v>410.07925837795983</c:v>
                </c:pt>
                <c:pt idx="130">
                  <c:v>394.55301338654505</c:v>
                </c:pt>
                <c:pt idx="131">
                  <c:v>379.40666655287828</c:v>
                </c:pt>
                <c:pt idx="132">
                  <c:v>364.938081911832</c:v>
                </c:pt>
                <c:pt idx="133">
                  <c:v>351.34880160323451</c:v>
                </c:pt>
                <c:pt idx="134">
                  <c:v>338.73424300405543</c:v>
                </c:pt>
                <c:pt idx="135">
                  <c:v>327.12505919583464</c:v>
                </c:pt>
                <c:pt idx="136">
                  <c:v>316.51603557659615</c:v>
                </c:pt>
                <c:pt idx="137">
                  <c:v>306.8823202417754</c:v>
                </c:pt>
                <c:pt idx="138">
                  <c:v>298.18796656555611</c:v>
                </c:pt>
                <c:pt idx="139">
                  <c:v>290.38750420492232</c:v>
                </c:pt>
                <c:pt idx="140">
                  <c:v>283.42800118808822</c:v>
                </c:pt>
                <c:pt idx="141">
                  <c:v>277.24938634024738</c:v>
                </c:pt>
                <c:pt idx="142">
                  <c:v>271.7901239807095</c:v>
                </c:pt>
                <c:pt idx="143">
                  <c:v>266.9864776554283</c:v>
                </c:pt>
                <c:pt idx="144">
                  <c:v>262.77569759856374</c:v>
                </c:pt>
                <c:pt idx="145">
                  <c:v>259.09802764894295</c:v>
                </c:pt>
                <c:pt idx="146">
                  <c:v>255.89037397781516</c:v>
                </c:pt>
                <c:pt idx="147">
                  <c:v>253.07832081749058</c:v>
                </c:pt>
                <c:pt idx="148">
                  <c:v>250.58794500798206</c:v>
                </c:pt>
                <c:pt idx="149">
                  <c:v>248.3552549320971</c:v>
                </c:pt>
                <c:pt idx="150">
                  <c:v>246.32640922790671</c:v>
                </c:pt>
                <c:pt idx="151">
                  <c:v>244.45579039767617</c:v>
                </c:pt>
                <c:pt idx="152">
                  <c:v>242.70466204899367</c:v>
                </c:pt>
                <c:pt idx="153">
                  <c:v>241.03963019050209</c:v>
                </c:pt>
                <c:pt idx="154">
                  <c:v>239.4299293624334</c:v>
                </c:pt>
                <c:pt idx="155">
                  <c:v>237.84872641330512</c:v>
                </c:pt>
                <c:pt idx="156">
                  <c:v>236.2741715915362</c:v>
                </c:pt>
                <c:pt idx="157">
                  <c:v>234.68829421478921</c:v>
                </c:pt>
                <c:pt idx="158">
                  <c:v>233.07733613393634</c:v>
                </c:pt>
                <c:pt idx="159">
                  <c:v>231.43082296500617</c:v>
                </c:pt>
                <c:pt idx="160">
                  <c:v>229.74084137336703</c:v>
                </c:pt>
                <c:pt idx="161">
                  <c:v>228.00198730637354</c:v>
                </c:pt>
                <c:pt idx="162">
                  <c:v>226.21086589821056</c:v>
                </c:pt>
                <c:pt idx="163">
                  <c:v>224.36571321938723</c:v>
                </c:pt>
                <c:pt idx="164">
                  <c:v>222.4658503920075</c:v>
                </c:pt>
                <c:pt idx="165">
                  <c:v>220.5116202322296</c:v>
                </c:pt>
                <c:pt idx="166">
                  <c:v>218.50452102336342</c:v>
                </c:pt>
                <c:pt idx="167">
                  <c:v>216.44687437049802</c:v>
                </c:pt>
                <c:pt idx="168">
                  <c:v>214.34142802903094</c:v>
                </c:pt>
                <c:pt idx="169">
                  <c:v>212.19086839279984</c:v>
                </c:pt>
                <c:pt idx="170">
                  <c:v>209.99792514232479</c:v>
                </c:pt>
                <c:pt idx="171">
                  <c:v>207.76523812347352</c:v>
                </c:pt>
                <c:pt idx="172">
                  <c:v>205.49582505782104</c:v>
                </c:pt>
                <c:pt idx="173">
                  <c:v>203.19294493118213</c:v>
                </c:pt>
                <c:pt idx="174">
                  <c:v>200.85983847160608</c:v>
                </c:pt>
                <c:pt idx="175">
                  <c:v>198.49975900670705</c:v>
                </c:pt>
                <c:pt idx="176">
                  <c:v>196.11586997172475</c:v>
                </c:pt>
                <c:pt idx="177">
                  <c:v>193.71120054450739</c:v>
                </c:pt>
                <c:pt idx="178">
                  <c:v>191.28864240225809</c:v>
                </c:pt>
                <c:pt idx="179">
                  <c:v>188.8509490408573</c:v>
                </c:pt>
                <c:pt idx="180">
                  <c:v>186.40062455208681</c:v>
                </c:pt>
                <c:pt idx="181">
                  <c:v>183.94005855634848</c:v>
                </c:pt>
                <c:pt idx="182">
                  <c:v>181.47153727936436</c:v>
                </c:pt>
                <c:pt idx="183">
                  <c:v>178.99722519194012</c:v>
                </c:pt>
                <c:pt idx="184">
                  <c:v>176.519156359678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358-4843-A083-9E75CCD15D5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3</c:v>
                </c:pt>
              </c:strCache>
            </c:strRef>
          </c:tx>
          <c:spPr>
            <a:ln w="28575" cap="rnd">
              <a:solidFill>
                <a:srgbClr val="4472C4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D$2:$D$186</c:f>
              <c:numCache>
                <c:formatCode>General</c:formatCode>
                <c:ptCount val="185"/>
                <c:pt idx="122">
                  <c:v>531.06870896275336</c:v>
                </c:pt>
                <c:pt idx="123">
                  <c:v>512.48677650420518</c:v>
                </c:pt>
                <c:pt idx="124">
                  <c:v>494.24929442182855</c:v>
                </c:pt>
                <c:pt idx="125">
                  <c:v>477.37053773839199</c:v>
                </c:pt>
                <c:pt idx="126">
                  <c:v>462.53542294430656</c:v>
                </c:pt>
                <c:pt idx="127">
                  <c:v>450.60270381070836</c:v>
                </c:pt>
                <c:pt idx="128">
                  <c:v>441.20743624266157</c:v>
                </c:pt>
                <c:pt idx="129">
                  <c:v>434.42536900509612</c:v>
                </c:pt>
                <c:pt idx="130">
                  <c:v>430.28230638656566</c:v>
                </c:pt>
                <c:pt idx="131">
                  <c:v>428.7760537113723</c:v>
                </c:pt>
                <c:pt idx="132">
                  <c:v>429.87633843875085</c:v>
                </c:pt>
                <c:pt idx="133">
                  <c:v>433.52840384348417</c:v>
                </c:pt>
                <c:pt idx="134">
                  <c:v>439.65168815848443</c:v>
                </c:pt>
                <c:pt idx="135">
                  <c:v>448.15663329147196</c:v>
                </c:pt>
                <c:pt idx="136">
                  <c:v>458.93981208762546</c:v>
                </c:pt>
                <c:pt idx="137">
                  <c:v>471.89326959933436</c:v>
                </c:pt>
                <c:pt idx="138">
                  <c:v>486.91006233992852</c:v>
                </c:pt>
                <c:pt idx="139">
                  <c:v>503.8616642814016</c:v>
                </c:pt>
                <c:pt idx="140">
                  <c:v>522.56966121090295</c:v>
                </c:pt>
                <c:pt idx="141">
                  <c:v>542.8452714993706</c:v>
                </c:pt>
                <c:pt idx="142">
                  <c:v>564.5199541385881</c:v>
                </c:pt>
                <c:pt idx="143">
                  <c:v>587.44490573770793</c:v>
                </c:pt>
                <c:pt idx="144">
                  <c:v>611.48443406507454</c:v>
                </c:pt>
                <c:pt idx="145">
                  <c:v>636.51198831382749</c:v>
                </c:pt>
                <c:pt idx="146">
                  <c:v>662.40567602425949</c:v>
                </c:pt>
                <c:pt idx="147">
                  <c:v>689.0397639107689</c:v>
                </c:pt>
                <c:pt idx="148">
                  <c:v>716.28975354188231</c:v>
                </c:pt>
                <c:pt idx="149">
                  <c:v>744.03649573443045</c:v>
                </c:pt>
                <c:pt idx="150">
                  <c:v>772.16286436114649</c:v>
                </c:pt>
                <c:pt idx="151">
                  <c:v>800.55570179675692</c:v>
                </c:pt>
                <c:pt idx="152">
                  <c:v>829.10345299003075</c:v>
                </c:pt>
                <c:pt idx="153">
                  <c:v>857.69456772036813</c:v>
                </c:pt>
                <c:pt idx="154">
                  <c:v>886.21534131561202</c:v>
                </c:pt>
                <c:pt idx="155">
                  <c:v>914.54993595483825</c:v>
                </c:pt>
                <c:pt idx="156">
                  <c:v>942.58110210517293</c:v>
                </c:pt>
                <c:pt idx="157">
                  <c:v>970.18975074525304</c:v>
                </c:pt>
                <c:pt idx="158">
                  <c:v>997.25600637926061</c:v>
                </c:pt>
                <c:pt idx="159">
                  <c:v>1023.6608755108638</c:v>
                </c:pt>
                <c:pt idx="160">
                  <c:v>1049.2862859680522</c:v>
                </c:pt>
                <c:pt idx="161">
                  <c:v>1074.0207072473386</c:v>
                </c:pt>
                <c:pt idx="162">
                  <c:v>1097.7571349395025</c:v>
                </c:pt>
                <c:pt idx="163">
                  <c:v>1120.392977736559</c:v>
                </c:pt>
                <c:pt idx="164">
                  <c:v>1141.8297117110851</c:v>
                </c:pt>
                <c:pt idx="165">
                  <c:v>1161.9750459039567</c:v>
                </c:pt>
                <c:pt idx="166">
                  <c:v>1180.7431256214106</c:v>
                </c:pt>
                <c:pt idx="167">
                  <c:v>1198.0544037820048</c:v>
                </c:pt>
                <c:pt idx="168">
                  <c:v>1213.8364446276032</c:v>
                </c:pt>
                <c:pt idx="169">
                  <c:v>1228.0242810770612</c:v>
                </c:pt>
                <c:pt idx="170">
                  <c:v>1240.5607609957756</c:v>
                </c:pt>
                <c:pt idx="171">
                  <c:v>1251.3969574277176</c:v>
                </c:pt>
                <c:pt idx="172">
                  <c:v>1260.4924716725523</c:v>
                </c:pt>
                <c:pt idx="173">
                  <c:v>1267.8153526317299</c:v>
                </c:pt>
                <c:pt idx="174">
                  <c:v>1273.3427608542424</c:v>
                </c:pt>
                <c:pt idx="175">
                  <c:v>1277.0610119220764</c:v>
                </c:pt>
                <c:pt idx="176">
                  <c:v>1278.9653050507345</c:v>
                </c:pt>
                <c:pt idx="177">
                  <c:v>1279.05958424403</c:v>
                </c:pt>
                <c:pt idx="178">
                  <c:v>1277.3565158239369</c:v>
                </c:pt>
                <c:pt idx="179">
                  <c:v>1273.8773732171928</c:v>
                </c:pt>
                <c:pt idx="180">
                  <c:v>1268.651831404379</c:v>
                </c:pt>
                <c:pt idx="181">
                  <c:v>1261.7176651184484</c:v>
                </c:pt>
                <c:pt idx="182">
                  <c:v>1253.1203594585052</c:v>
                </c:pt>
                <c:pt idx="183">
                  <c:v>1242.9125891880776</c:v>
                </c:pt>
                <c:pt idx="184">
                  <c:v>1231.15368345688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358-4843-A083-9E75CCD15D58}"/>
            </c:ext>
          </c:extLst>
        </c:ser>
        <c:ser>
          <c:idx val="4"/>
          <c:order val="3"/>
          <c:tx>
            <c:strRef>
              <c:f>Sheet1!$F$1</c:f>
              <c:strCache>
                <c:ptCount val="1"/>
                <c:pt idx="0">
                  <c:v>C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86</c:f>
              <c:numCache>
                <c:formatCode>m/d/yyyy</c:formatCode>
                <c:ptCount val="185"/>
                <c:pt idx="0">
                  <c:v>44440</c:v>
                </c:pt>
                <c:pt idx="1">
                  <c:v>44441</c:v>
                </c:pt>
                <c:pt idx="2">
                  <c:v>44442</c:v>
                </c:pt>
                <c:pt idx="3">
                  <c:v>44443</c:v>
                </c:pt>
                <c:pt idx="4">
                  <c:v>44444</c:v>
                </c:pt>
                <c:pt idx="5">
                  <c:v>44445</c:v>
                </c:pt>
                <c:pt idx="6">
                  <c:v>44446</c:v>
                </c:pt>
                <c:pt idx="7">
                  <c:v>44447</c:v>
                </c:pt>
                <c:pt idx="8">
                  <c:v>44448</c:v>
                </c:pt>
                <c:pt idx="9">
                  <c:v>44449</c:v>
                </c:pt>
                <c:pt idx="10">
                  <c:v>44450</c:v>
                </c:pt>
                <c:pt idx="11">
                  <c:v>44451</c:v>
                </c:pt>
                <c:pt idx="12">
                  <c:v>44452</c:v>
                </c:pt>
                <c:pt idx="13">
                  <c:v>44453</c:v>
                </c:pt>
                <c:pt idx="14">
                  <c:v>44454</c:v>
                </c:pt>
                <c:pt idx="15">
                  <c:v>44455</c:v>
                </c:pt>
                <c:pt idx="16">
                  <c:v>44456</c:v>
                </c:pt>
                <c:pt idx="17">
                  <c:v>44457</c:v>
                </c:pt>
                <c:pt idx="18">
                  <c:v>44458</c:v>
                </c:pt>
                <c:pt idx="19">
                  <c:v>44459</c:v>
                </c:pt>
                <c:pt idx="20">
                  <c:v>44460</c:v>
                </c:pt>
                <c:pt idx="21">
                  <c:v>44461</c:v>
                </c:pt>
                <c:pt idx="22">
                  <c:v>44462</c:v>
                </c:pt>
                <c:pt idx="23">
                  <c:v>44463</c:v>
                </c:pt>
                <c:pt idx="24">
                  <c:v>44464</c:v>
                </c:pt>
                <c:pt idx="25">
                  <c:v>44465</c:v>
                </c:pt>
                <c:pt idx="26">
                  <c:v>44466</c:v>
                </c:pt>
                <c:pt idx="27">
                  <c:v>44467</c:v>
                </c:pt>
                <c:pt idx="28">
                  <c:v>44468</c:v>
                </c:pt>
                <c:pt idx="29">
                  <c:v>44469</c:v>
                </c:pt>
                <c:pt idx="30">
                  <c:v>44470</c:v>
                </c:pt>
                <c:pt idx="31">
                  <c:v>44471</c:v>
                </c:pt>
                <c:pt idx="32">
                  <c:v>44472</c:v>
                </c:pt>
                <c:pt idx="33">
                  <c:v>44473</c:v>
                </c:pt>
                <c:pt idx="34">
                  <c:v>44474</c:v>
                </c:pt>
                <c:pt idx="35">
                  <c:v>44475</c:v>
                </c:pt>
                <c:pt idx="36">
                  <c:v>44476</c:v>
                </c:pt>
                <c:pt idx="37">
                  <c:v>44477</c:v>
                </c:pt>
                <c:pt idx="38">
                  <c:v>44478</c:v>
                </c:pt>
                <c:pt idx="39">
                  <c:v>44479</c:v>
                </c:pt>
                <c:pt idx="40">
                  <c:v>44480</c:v>
                </c:pt>
                <c:pt idx="41">
                  <c:v>44481</c:v>
                </c:pt>
                <c:pt idx="42">
                  <c:v>44482</c:v>
                </c:pt>
                <c:pt idx="43">
                  <c:v>44483</c:v>
                </c:pt>
                <c:pt idx="44">
                  <c:v>44484</c:v>
                </c:pt>
                <c:pt idx="45">
                  <c:v>44485</c:v>
                </c:pt>
                <c:pt idx="46">
                  <c:v>44486</c:v>
                </c:pt>
                <c:pt idx="47">
                  <c:v>44487</c:v>
                </c:pt>
                <c:pt idx="48">
                  <c:v>44488</c:v>
                </c:pt>
                <c:pt idx="49">
                  <c:v>44489</c:v>
                </c:pt>
                <c:pt idx="50">
                  <c:v>44490</c:v>
                </c:pt>
                <c:pt idx="51">
                  <c:v>44491</c:v>
                </c:pt>
                <c:pt idx="52">
                  <c:v>44492</c:v>
                </c:pt>
                <c:pt idx="53">
                  <c:v>44493</c:v>
                </c:pt>
                <c:pt idx="54">
                  <c:v>44494</c:v>
                </c:pt>
                <c:pt idx="55">
                  <c:v>44495</c:v>
                </c:pt>
                <c:pt idx="56">
                  <c:v>44496</c:v>
                </c:pt>
                <c:pt idx="57">
                  <c:v>44497</c:v>
                </c:pt>
                <c:pt idx="58">
                  <c:v>44498</c:v>
                </c:pt>
                <c:pt idx="59">
                  <c:v>44499</c:v>
                </c:pt>
                <c:pt idx="60">
                  <c:v>44500</c:v>
                </c:pt>
                <c:pt idx="61">
                  <c:v>44501</c:v>
                </c:pt>
                <c:pt idx="62">
                  <c:v>44502</c:v>
                </c:pt>
                <c:pt idx="63">
                  <c:v>44503</c:v>
                </c:pt>
                <c:pt idx="64">
                  <c:v>44504</c:v>
                </c:pt>
                <c:pt idx="65">
                  <c:v>44505</c:v>
                </c:pt>
                <c:pt idx="66">
                  <c:v>44506</c:v>
                </c:pt>
                <c:pt idx="67">
                  <c:v>44507</c:v>
                </c:pt>
                <c:pt idx="68">
                  <c:v>44508</c:v>
                </c:pt>
                <c:pt idx="69">
                  <c:v>44509</c:v>
                </c:pt>
                <c:pt idx="70">
                  <c:v>44510</c:v>
                </c:pt>
                <c:pt idx="71">
                  <c:v>44511</c:v>
                </c:pt>
                <c:pt idx="72">
                  <c:v>44512</c:v>
                </c:pt>
                <c:pt idx="73">
                  <c:v>44513</c:v>
                </c:pt>
                <c:pt idx="74">
                  <c:v>44514</c:v>
                </c:pt>
                <c:pt idx="75">
                  <c:v>44515</c:v>
                </c:pt>
                <c:pt idx="76">
                  <c:v>44516</c:v>
                </c:pt>
                <c:pt idx="77">
                  <c:v>44517</c:v>
                </c:pt>
                <c:pt idx="78">
                  <c:v>44518</c:v>
                </c:pt>
                <c:pt idx="79">
                  <c:v>44519</c:v>
                </c:pt>
                <c:pt idx="80">
                  <c:v>44520</c:v>
                </c:pt>
                <c:pt idx="81">
                  <c:v>44521</c:v>
                </c:pt>
                <c:pt idx="82">
                  <c:v>44522</c:v>
                </c:pt>
                <c:pt idx="83">
                  <c:v>44523</c:v>
                </c:pt>
                <c:pt idx="84">
                  <c:v>44524</c:v>
                </c:pt>
                <c:pt idx="85">
                  <c:v>44525</c:v>
                </c:pt>
                <c:pt idx="86">
                  <c:v>44526</c:v>
                </c:pt>
                <c:pt idx="87">
                  <c:v>44527</c:v>
                </c:pt>
                <c:pt idx="88">
                  <c:v>44528</c:v>
                </c:pt>
                <c:pt idx="89">
                  <c:v>44529</c:v>
                </c:pt>
                <c:pt idx="90">
                  <c:v>44530</c:v>
                </c:pt>
                <c:pt idx="91">
                  <c:v>44531</c:v>
                </c:pt>
                <c:pt idx="92">
                  <c:v>44532</c:v>
                </c:pt>
                <c:pt idx="93">
                  <c:v>44533</c:v>
                </c:pt>
                <c:pt idx="94">
                  <c:v>44534</c:v>
                </c:pt>
                <c:pt idx="95">
                  <c:v>44535</c:v>
                </c:pt>
                <c:pt idx="96">
                  <c:v>44536</c:v>
                </c:pt>
                <c:pt idx="97">
                  <c:v>44537</c:v>
                </c:pt>
                <c:pt idx="98">
                  <c:v>44538</c:v>
                </c:pt>
                <c:pt idx="99">
                  <c:v>44539</c:v>
                </c:pt>
                <c:pt idx="100">
                  <c:v>44540</c:v>
                </c:pt>
                <c:pt idx="101">
                  <c:v>44541</c:v>
                </c:pt>
                <c:pt idx="102">
                  <c:v>44542</c:v>
                </c:pt>
                <c:pt idx="103">
                  <c:v>44543</c:v>
                </c:pt>
                <c:pt idx="104">
                  <c:v>44544</c:v>
                </c:pt>
                <c:pt idx="105">
                  <c:v>44545</c:v>
                </c:pt>
                <c:pt idx="106">
                  <c:v>44546</c:v>
                </c:pt>
                <c:pt idx="107">
                  <c:v>44547</c:v>
                </c:pt>
                <c:pt idx="108">
                  <c:v>44548</c:v>
                </c:pt>
                <c:pt idx="109">
                  <c:v>44549</c:v>
                </c:pt>
                <c:pt idx="110">
                  <c:v>44550</c:v>
                </c:pt>
                <c:pt idx="111">
                  <c:v>44551</c:v>
                </c:pt>
                <c:pt idx="112">
                  <c:v>44552</c:v>
                </c:pt>
                <c:pt idx="113">
                  <c:v>44553</c:v>
                </c:pt>
                <c:pt idx="114">
                  <c:v>44554</c:v>
                </c:pt>
                <c:pt idx="115">
                  <c:v>44555</c:v>
                </c:pt>
                <c:pt idx="116">
                  <c:v>44556</c:v>
                </c:pt>
                <c:pt idx="117">
                  <c:v>44557</c:v>
                </c:pt>
                <c:pt idx="118">
                  <c:v>44558</c:v>
                </c:pt>
                <c:pt idx="119">
                  <c:v>44559</c:v>
                </c:pt>
                <c:pt idx="120">
                  <c:v>44560</c:v>
                </c:pt>
                <c:pt idx="121">
                  <c:v>44561</c:v>
                </c:pt>
                <c:pt idx="122">
                  <c:v>44562</c:v>
                </c:pt>
                <c:pt idx="123">
                  <c:v>44563</c:v>
                </c:pt>
                <c:pt idx="124">
                  <c:v>44564</c:v>
                </c:pt>
                <c:pt idx="125">
                  <c:v>44565</c:v>
                </c:pt>
                <c:pt idx="126">
                  <c:v>44566</c:v>
                </c:pt>
                <c:pt idx="127">
                  <c:v>44567</c:v>
                </c:pt>
                <c:pt idx="128">
                  <c:v>44568</c:v>
                </c:pt>
                <c:pt idx="129">
                  <c:v>44569</c:v>
                </c:pt>
                <c:pt idx="130">
                  <c:v>44570</c:v>
                </c:pt>
                <c:pt idx="131">
                  <c:v>44571</c:v>
                </c:pt>
                <c:pt idx="132">
                  <c:v>44572</c:v>
                </c:pt>
                <c:pt idx="133">
                  <c:v>44573</c:v>
                </c:pt>
                <c:pt idx="134">
                  <c:v>44574</c:v>
                </c:pt>
                <c:pt idx="135">
                  <c:v>44575</c:v>
                </c:pt>
                <c:pt idx="136">
                  <c:v>44576</c:v>
                </c:pt>
                <c:pt idx="137">
                  <c:v>44577</c:v>
                </c:pt>
                <c:pt idx="138">
                  <c:v>44578</c:v>
                </c:pt>
                <c:pt idx="139">
                  <c:v>44579</c:v>
                </c:pt>
                <c:pt idx="140">
                  <c:v>44580</c:v>
                </c:pt>
                <c:pt idx="141">
                  <c:v>44581</c:v>
                </c:pt>
                <c:pt idx="142">
                  <c:v>44582</c:v>
                </c:pt>
                <c:pt idx="143">
                  <c:v>44583</c:v>
                </c:pt>
                <c:pt idx="144">
                  <c:v>44584</c:v>
                </c:pt>
                <c:pt idx="145">
                  <c:v>44585</c:v>
                </c:pt>
                <c:pt idx="146">
                  <c:v>44586</c:v>
                </c:pt>
                <c:pt idx="147">
                  <c:v>44587</c:v>
                </c:pt>
                <c:pt idx="148">
                  <c:v>44588</c:v>
                </c:pt>
                <c:pt idx="149">
                  <c:v>44589</c:v>
                </c:pt>
                <c:pt idx="150">
                  <c:v>44590</c:v>
                </c:pt>
                <c:pt idx="151">
                  <c:v>44591</c:v>
                </c:pt>
                <c:pt idx="152">
                  <c:v>44592</c:v>
                </c:pt>
                <c:pt idx="153">
                  <c:v>44593</c:v>
                </c:pt>
                <c:pt idx="154">
                  <c:v>44594</c:v>
                </c:pt>
                <c:pt idx="155">
                  <c:v>44595</c:v>
                </c:pt>
                <c:pt idx="156">
                  <c:v>44596</c:v>
                </c:pt>
                <c:pt idx="157">
                  <c:v>44597</c:v>
                </c:pt>
                <c:pt idx="158">
                  <c:v>44598</c:v>
                </c:pt>
                <c:pt idx="159">
                  <c:v>44599</c:v>
                </c:pt>
                <c:pt idx="160">
                  <c:v>44600</c:v>
                </c:pt>
                <c:pt idx="161">
                  <c:v>44601</c:v>
                </c:pt>
                <c:pt idx="162">
                  <c:v>44602</c:v>
                </c:pt>
                <c:pt idx="163">
                  <c:v>44603</c:v>
                </c:pt>
                <c:pt idx="164">
                  <c:v>44604</c:v>
                </c:pt>
                <c:pt idx="165">
                  <c:v>44605</c:v>
                </c:pt>
                <c:pt idx="166">
                  <c:v>44606</c:v>
                </c:pt>
                <c:pt idx="167">
                  <c:v>44607</c:v>
                </c:pt>
                <c:pt idx="168">
                  <c:v>44608</c:v>
                </c:pt>
                <c:pt idx="169">
                  <c:v>44609</c:v>
                </c:pt>
                <c:pt idx="170">
                  <c:v>44610</c:v>
                </c:pt>
                <c:pt idx="171">
                  <c:v>44611</c:v>
                </c:pt>
                <c:pt idx="172">
                  <c:v>44612</c:v>
                </c:pt>
                <c:pt idx="173">
                  <c:v>44613</c:v>
                </c:pt>
                <c:pt idx="174">
                  <c:v>44614</c:v>
                </c:pt>
                <c:pt idx="175">
                  <c:v>44615</c:v>
                </c:pt>
                <c:pt idx="176">
                  <c:v>44616</c:v>
                </c:pt>
                <c:pt idx="177">
                  <c:v>44617</c:v>
                </c:pt>
                <c:pt idx="178">
                  <c:v>44618</c:v>
                </c:pt>
                <c:pt idx="179">
                  <c:v>44619</c:v>
                </c:pt>
                <c:pt idx="180">
                  <c:v>44620</c:v>
                </c:pt>
                <c:pt idx="181">
                  <c:v>44621</c:v>
                </c:pt>
                <c:pt idx="182">
                  <c:v>44622</c:v>
                </c:pt>
                <c:pt idx="183">
                  <c:v>44623</c:v>
                </c:pt>
                <c:pt idx="184">
                  <c:v>44624</c:v>
                </c:pt>
              </c:numCache>
            </c:numRef>
          </c:cat>
          <c:val>
            <c:numRef>
              <c:f>Sheet1!$F$2:$F$186</c:f>
              <c:numCache>
                <c:formatCode>General</c:formatCode>
                <c:ptCount val="185"/>
                <c:pt idx="128">
                  <c:v>438.66998467711016</c:v>
                </c:pt>
                <c:pt idx="129">
                  <c:v>435.27895105832749</c:v>
                </c:pt>
                <c:pt idx="130">
                  <c:v>433.2074197490623</c:v>
                </c:pt>
                <c:pt idx="131">
                  <c:v>432.45429341146553</c:v>
                </c:pt>
                <c:pt idx="132">
                  <c:v>433.00443577515478</c:v>
                </c:pt>
                <c:pt idx="133">
                  <c:v>434.83046847752144</c:v>
                </c:pt>
                <c:pt idx="134">
                  <c:v>437.8921106350216</c:v>
                </c:pt>
                <c:pt idx="135">
                  <c:v>442.14458320151539</c:v>
                </c:pt>
                <c:pt idx="136">
                  <c:v>447.53617259959219</c:v>
                </c:pt>
                <c:pt idx="137">
                  <c:v>454.01290135544656</c:v>
                </c:pt>
                <c:pt idx="138">
                  <c:v>461.52129772574364</c:v>
                </c:pt>
                <c:pt idx="139">
                  <c:v>469.99709869648018</c:v>
                </c:pt>
                <c:pt idx="140">
                  <c:v>479.35109716123088</c:v>
                </c:pt>
                <c:pt idx="141">
                  <c:v>489.48890230546465</c:v>
                </c:pt>
                <c:pt idx="142">
                  <c:v>500.3262436250734</c:v>
                </c:pt>
                <c:pt idx="143">
                  <c:v>511.78871942463343</c:v>
                </c:pt>
                <c:pt idx="144">
                  <c:v>523.80848358831668</c:v>
                </c:pt>
                <c:pt idx="145">
                  <c:v>536.32226071269326</c:v>
                </c:pt>
                <c:pt idx="146">
                  <c:v>549.26910456790927</c:v>
                </c:pt>
                <c:pt idx="147">
                  <c:v>562.58614851116386</c:v>
                </c:pt>
                <c:pt idx="148">
                  <c:v>576.2111433267205</c:v>
                </c:pt>
                <c:pt idx="149">
                  <c:v>590.08451442299463</c:v>
                </c:pt>
                <c:pt idx="150">
                  <c:v>604.14769873635271</c:v>
                </c:pt>
                <c:pt idx="151">
                  <c:v>618.34411745415775</c:v>
                </c:pt>
                <c:pt idx="152">
                  <c:v>632.61799305079478</c:v>
                </c:pt>
                <c:pt idx="153">
                  <c:v>646.91355041596341</c:v>
                </c:pt>
                <c:pt idx="154">
                  <c:v>661.17393721358542</c:v>
                </c:pt>
                <c:pt idx="155">
                  <c:v>675.34123453319864</c:v>
                </c:pt>
                <c:pt idx="156">
                  <c:v>689.35681760836599</c:v>
                </c:pt>
                <c:pt idx="157">
                  <c:v>703.16114192840598</c:v>
                </c:pt>
                <c:pt idx="158">
                  <c:v>716.69426974540977</c:v>
                </c:pt>
                <c:pt idx="159">
                  <c:v>729.89670431121147</c:v>
                </c:pt>
                <c:pt idx="160">
                  <c:v>742.70940953980551</c:v>
                </c:pt>
                <c:pt idx="161">
                  <c:v>755.07662017944892</c:v>
                </c:pt>
                <c:pt idx="162">
                  <c:v>766.94483402553067</c:v>
                </c:pt>
                <c:pt idx="163">
                  <c:v>778.26275542405881</c:v>
                </c:pt>
                <c:pt idx="164">
                  <c:v>788.98112241132196</c:v>
                </c:pt>
                <c:pt idx="165">
                  <c:v>799.05378950775764</c:v>
                </c:pt>
                <c:pt idx="166">
                  <c:v>808.43782936648483</c:v>
                </c:pt>
                <c:pt idx="167">
                  <c:v>817.09346844678169</c:v>
                </c:pt>
                <c:pt idx="168">
                  <c:v>824.98448886958124</c:v>
                </c:pt>
                <c:pt idx="169">
                  <c:v>832.07840709431014</c:v>
                </c:pt>
                <c:pt idx="170">
                  <c:v>838.34664705366743</c:v>
                </c:pt>
                <c:pt idx="171">
                  <c:v>843.76474526963818</c:v>
                </c:pt>
                <c:pt idx="172">
                  <c:v>848.31250239205553</c:v>
                </c:pt>
                <c:pt idx="173">
                  <c:v>851.97394287164423</c:v>
                </c:pt>
                <c:pt idx="174">
                  <c:v>854.73764698290063</c:v>
                </c:pt>
                <c:pt idx="175">
                  <c:v>856.59677251681785</c:v>
                </c:pt>
                <c:pt idx="176">
                  <c:v>857.54891908114666</c:v>
                </c:pt>
                <c:pt idx="177">
                  <c:v>857.59605867779453</c:v>
                </c:pt>
                <c:pt idx="178">
                  <c:v>856.74452446774796</c:v>
                </c:pt>
                <c:pt idx="179">
                  <c:v>855.00495316437593</c:v>
                </c:pt>
                <c:pt idx="180">
                  <c:v>852.39218225796901</c:v>
                </c:pt>
                <c:pt idx="181">
                  <c:v>848.92509911500349</c:v>
                </c:pt>
                <c:pt idx="182">
                  <c:v>844.6264462850321</c:v>
                </c:pt>
                <c:pt idx="183">
                  <c:v>839.52256114981844</c:v>
                </c:pt>
                <c:pt idx="184">
                  <c:v>833.6431082842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358-4843-A083-9E75CCD15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93791"/>
        <c:axId val="209778303"/>
      </c:lineChart>
      <c:catAx>
        <c:axId val="207093791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9778303"/>
        <c:crosses val="autoZero"/>
        <c:auto val="1"/>
        <c:lblAlgn val="ctr"/>
        <c:lblOffset val="100"/>
        <c:tickLblSkip val="7"/>
        <c:noMultiLvlLbl val="1"/>
      </c:catAx>
      <c:valAx>
        <c:axId val="209778303"/>
        <c:scaling>
          <c:orientation val="minMax"/>
          <c:max val="1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7093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5142479013221083"/>
          <c:y val="0.41249997462475552"/>
          <c:w val="0.14188217964413682"/>
          <c:h val="4.7962349411764922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  <c:pt idx="12">
                  <c:v>leden*</c:v>
                </c:pt>
              </c:strCache>
            </c:strRef>
          </c:cat>
          <c:val>
            <c:numRef>
              <c:f>List1!$B$2:$B$14</c:f>
              <c:numCache>
                <c:formatCode>#,##0</c:formatCode>
                <c:ptCount val="13"/>
                <c:pt idx="0">
                  <c:v>14248</c:v>
                </c:pt>
                <c:pt idx="1">
                  <c:v>22149</c:v>
                </c:pt>
                <c:pt idx="2">
                  <c:v>57094</c:v>
                </c:pt>
                <c:pt idx="3">
                  <c:v>83956</c:v>
                </c:pt>
                <c:pt idx="4">
                  <c:v>120219</c:v>
                </c:pt>
                <c:pt idx="5">
                  <c:v>148078</c:v>
                </c:pt>
                <c:pt idx="6">
                  <c:v>100326</c:v>
                </c:pt>
                <c:pt idx="7">
                  <c:v>53653</c:v>
                </c:pt>
                <c:pt idx="8">
                  <c:v>15625</c:v>
                </c:pt>
                <c:pt idx="9">
                  <c:v>20215</c:v>
                </c:pt>
                <c:pt idx="10">
                  <c:v>66389</c:v>
                </c:pt>
                <c:pt idx="11">
                  <c:v>107148</c:v>
                </c:pt>
                <c:pt idx="12">
                  <c:v>26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  <c:pt idx="12">
                  <c:v>leden*</c:v>
                </c:pt>
              </c:strCache>
            </c:strRef>
          </c:cat>
          <c:val>
            <c:numRef>
              <c:f>List1!$B$2:$B$14</c:f>
              <c:numCache>
                <c:formatCode>#,##0</c:formatCode>
                <c:ptCount val="13"/>
                <c:pt idx="0">
                  <c:v>1556</c:v>
                </c:pt>
                <c:pt idx="1">
                  <c:v>10841</c:v>
                </c:pt>
                <c:pt idx="2">
                  <c:v>11737</c:v>
                </c:pt>
                <c:pt idx="3">
                  <c:v>29783</c:v>
                </c:pt>
                <c:pt idx="4">
                  <c:v>29138</c:v>
                </c:pt>
                <c:pt idx="5">
                  <c:v>104252</c:v>
                </c:pt>
                <c:pt idx="6">
                  <c:v>70731</c:v>
                </c:pt>
                <c:pt idx="7">
                  <c:v>41158</c:v>
                </c:pt>
                <c:pt idx="8">
                  <c:v>10526</c:v>
                </c:pt>
                <c:pt idx="9">
                  <c:v>4664</c:v>
                </c:pt>
                <c:pt idx="10">
                  <c:v>11924</c:v>
                </c:pt>
                <c:pt idx="11">
                  <c:v>14200</c:v>
                </c:pt>
                <c:pt idx="12">
                  <c:v>2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B54-4422-9C8B-EB958413C8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6</c:f>
              <c:strCache>
                <c:ptCount val="5"/>
                <c:pt idx="0">
                  <c:v>září</c:v>
                </c:pt>
                <c:pt idx="1">
                  <c:v>říjen</c:v>
                </c:pt>
                <c:pt idx="2">
                  <c:v>listopad</c:v>
                </c:pt>
                <c:pt idx="3">
                  <c:v>prosinec</c:v>
                </c:pt>
                <c:pt idx="4">
                  <c:v>leden*</c:v>
                </c:pt>
              </c:strCache>
            </c:strRef>
          </c:cat>
          <c:val>
            <c:numRef>
              <c:f>List1!$B$2:$B$6</c:f>
              <c:numCache>
                <c:formatCode>#,##0</c:formatCode>
                <c:ptCount val="5"/>
                <c:pt idx="0">
                  <c:v>206</c:v>
                </c:pt>
                <c:pt idx="1">
                  <c:v>10509</c:v>
                </c:pt>
                <c:pt idx="2">
                  <c:v>37839</c:v>
                </c:pt>
                <c:pt idx="3">
                  <c:v>86538</c:v>
                </c:pt>
                <c:pt idx="4">
                  <c:v>22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05486733009034"/>
          <c:y val="6.7225186576531884E-2"/>
          <c:w val="0.56447709192380013"/>
          <c:h val="0.905481175888835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čet na 1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moravský kraj</c:v>
                </c:pt>
                <c:pt idx="2">
                  <c:v>ČR</c:v>
                </c:pt>
                <c:pt idx="3">
                  <c:v>Jihočeský kraj</c:v>
                </c:pt>
                <c:pt idx="4">
                  <c:v>Královéhradecký kraj</c:v>
                </c:pt>
                <c:pt idx="5">
                  <c:v>Plzeňský kraj</c:v>
                </c:pt>
                <c:pt idx="6">
                  <c:v>Karlovarský kraj</c:v>
                </c:pt>
                <c:pt idx="7">
                  <c:v>Kraj Vysočina</c:v>
                </c:pt>
                <c:pt idx="8">
                  <c:v>Liberecký kraj</c:v>
                </c:pt>
                <c:pt idx="9">
                  <c:v>Ústecký kraj</c:v>
                </c:pt>
                <c:pt idx="10">
                  <c:v>Pardubický kraj</c:v>
                </c:pt>
                <c:pt idx="11">
                  <c:v>Zlíns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Středoče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6.087212489999999</c:v>
                </c:pt>
                <c:pt idx="1">
                  <c:v>64.751821050000004</c:v>
                </c:pt>
                <c:pt idx="2">
                  <c:v>64.036617469999996</c:v>
                </c:pt>
                <c:pt idx="3">
                  <c:v>63.452469190000002</c:v>
                </c:pt>
                <c:pt idx="4">
                  <c:v>63.355500970000001</c:v>
                </c:pt>
                <c:pt idx="5">
                  <c:v>63.048587150000003</c:v>
                </c:pt>
                <c:pt idx="6">
                  <c:v>61.09215133</c:v>
                </c:pt>
                <c:pt idx="7">
                  <c:v>60.931469270000001</c:v>
                </c:pt>
                <c:pt idx="8">
                  <c:v>60.506332550000003</c:v>
                </c:pt>
                <c:pt idx="9">
                  <c:v>59.45074932</c:v>
                </c:pt>
                <c:pt idx="10">
                  <c:v>59.181877989999997</c:v>
                </c:pt>
                <c:pt idx="11">
                  <c:v>58.991000120000002</c:v>
                </c:pt>
                <c:pt idx="12">
                  <c:v>58.79921263</c:v>
                </c:pt>
                <c:pt idx="13">
                  <c:v>56.75646528</c:v>
                </c:pt>
                <c:pt idx="14">
                  <c:v>50.97893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40-436F-97B1-569334F936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3764288"/>
        <c:axId val="50879584"/>
      </c:barChart>
      <c:catAx>
        <c:axId val="383764288"/>
        <c:scaling>
          <c:orientation val="maxMin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0879584"/>
        <c:crosses val="autoZero"/>
        <c:auto val="1"/>
        <c:lblAlgn val="ctr"/>
        <c:lblOffset val="100"/>
        <c:noMultiLvlLbl val="0"/>
      </c:catAx>
      <c:valAx>
        <c:axId val="5087958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8376428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D1AF-A322-4DDC-936B-94D227551E32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6F62-5E63-4E8B-AA69-5851462FB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00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779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01886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39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0014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0399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5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CEB9BA-4054-4603-945D-A1EF09634E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505C839-E938-4833-8347-D2CB82AB4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36554E-B24E-4BD8-875E-1AA52DD4F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B3AD2A-FC6B-4131-B7A3-743336930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C13D6EC-72FC-4948-BFDF-DE48ABB08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1150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115B94-F3C5-40F8-9AC5-07811EAC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B2EFD8-520F-4B08-9270-723635A682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419C64-73DA-4ED7-92EF-564A16F1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0023CF-E4B0-41C6-8BF3-D03CF130D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6A99045-F4B1-46A5-A039-E453F3A55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5471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8912A6FA-536F-405B-B543-8ED88E2DD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D6EEEBB-33A3-455F-98BB-29374C003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23FB4AB-B0E8-4C0A-BAB9-20B80C605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DAF440-D292-45A2-967D-738537C0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2F2DB0-D97B-4684-BB8D-7642619F1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490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6890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0297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241257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39991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77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083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695664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345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BF504D-1307-4C38-B3E6-C41FDB9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DB08F05-F28F-460B-94F3-EBE4A23D0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8C62A6-7E82-492E-B6B1-6C8637FEF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93DA0D5-56CE-4DD6-8C1A-7CCA9441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5B101A-E5C5-4136-A56C-7FEE87AB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030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0422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651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8704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213831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7352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65591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0902266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3579644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12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88486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12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180440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462A3-4614-4CCF-B066-ED14F7851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3A9A065F-A4AE-46CD-8CA4-E86C2C9DB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C95BD3-67F6-4B1B-804E-C4833631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264C30-9A4B-4261-B882-CAF7C9861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9E76F8A-A8AC-4D9D-AA5B-7917B3B10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73454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12.01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9667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12.01.2022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18569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12.01.2022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07631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12.01.2022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7513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12.01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648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12.01.2022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4439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12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81659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12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7712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CC1D3C-3C45-4CDE-8C50-E9B54531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DE7F67-DFE1-4955-A5EC-578B6D234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07BCCAA2-482E-417A-BB45-47228BCC1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03773A-C9D4-4C39-95F3-76F9E89A5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20B03AC-2A32-4470-A086-A921220A2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0128CD-27B6-4FCF-BE55-E570B38A6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463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EC43F7-4CE4-4D42-941A-E4BC3241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423597C-D66C-416D-B6BF-FA406C61FF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7EE5280B-A5BD-4A51-A5D9-249AE953D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0CF8BFCA-090B-4561-8E1A-D7426A78F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213BB2F4-F03D-4261-A0C3-78AE02EE7F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9DEA5A8-9BE9-4937-B95A-6EEFDCB2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2FA513E-9142-45F3-B525-297A1B230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174F380-EE16-43EA-811B-17EB29DAC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449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04B422-81D7-481C-903D-BAB87D09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47B207-6EE8-4462-841C-55EFF3CD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C25E343-B5B8-4B55-9DDE-AB5AA4FB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F32F3F1-C931-4867-B21E-9D323C88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22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DBEC7E7-E04C-46DC-A7DC-C606EB4E6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DC139F-B21F-418A-854A-1F23CEB31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DF6473-2FF0-4356-A485-8BE06630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47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D7083E-BB5E-4816-B292-BBBDFBD9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EA17A9C-449F-44C2-8F73-5D77D797A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02D037AE-C6BA-4F6B-B05A-098AA7B13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B0551D-E99B-40EB-BCE7-60FE25B05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31DD6C-30D4-4D32-B96B-50000C03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28D9CD2-70DE-4358-954A-E3FCA931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8329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753F86-29A7-45C4-B836-9DDBEE81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B6EFE1-3019-4953-A852-8F1E784A6C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20AF383-0FAC-428D-B633-F2C750B262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07AD49-78D1-4875-97D4-7193EB1C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CBFD1B3-EFC4-46BD-A519-B1292B648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A87929F-8265-44A8-8A44-7EE299BBA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633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DE04B09-BE14-4E60-8073-0F7D5FCB1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7DE8703-4F80-40B2-8893-EE8D971F7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BB1138-4576-4962-887C-561E9A6F6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C2186-01DB-4510-8A05-784FE9AA5AD3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9C2005D-17A7-4B07-8A8E-9351123D3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39EDCC0-E801-427D-BD3F-073A1A68E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4366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2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6057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12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1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onemocneni-aktualne.mzcr.cz/covid-19/kraje/HKK" TargetMode="External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chart" Target="../charts/chart2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9742A18-5492-4B4E-B61F-49006AF7E37A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12BC6F6-7BA8-4F55-8619-68E4F90A1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8800"/>
            <a:ext cx="9144000" cy="2250291"/>
          </a:xfrm>
        </p:spPr>
        <p:txBody>
          <a:bodyPr>
            <a:noAutofit/>
          </a:bodyPr>
          <a:lstStyle/>
          <a:p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řehled epidemické situace a stavu očkování</a:t>
            </a:r>
            <a:b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 Královéhradeckém kraj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D649B9A-D1EE-41AE-A9D4-4B276E1A9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ukončených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9. 1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42 756</a:t>
            </a:r>
          </a:p>
        </p:txBody>
      </p:sp>
    </p:spTree>
    <p:extLst>
      <p:ext uri="{BB962C8B-B14F-4D97-AF65-F5344CB8AC3E}">
        <p14:creationId xmlns:p14="http://schemas.microsoft.com/office/powerpoint/2010/main" val="3001250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 posilující dávkou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9. 1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1" dirty="0">
                <a:solidFill>
                  <a:srgbClr val="2B2B82"/>
                </a:solidFill>
                <a:latin typeface="Franklin Gothic Book" panose="020B0503020102020204"/>
              </a:rPr>
              <a:t>157</a:t>
            </a: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557</a:t>
            </a:r>
          </a:p>
        </p:txBody>
      </p:sp>
    </p:spTree>
    <p:extLst>
      <p:ext uri="{BB962C8B-B14F-4D97-AF65-F5344CB8AC3E}">
        <p14:creationId xmlns:p14="http://schemas.microsoft.com/office/powerpoint/2010/main" val="2822179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oočkovanost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8" name="Zástupný obsah 7">
            <a:extLst>
              <a:ext uri="{FF2B5EF4-FFF2-40B4-BE49-F238E27FC236}">
                <a16:creationId xmlns:a16="http://schemas.microsoft.com/office/drawing/2014/main" id="{FF2AED34-CBE6-43FF-BDAE-A9C29E6AF8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82297" y="1348966"/>
            <a:ext cx="8139065" cy="4827997"/>
          </a:xfrm>
        </p:spPr>
      </p:pic>
    </p:spTree>
    <p:extLst>
      <p:ext uri="{BB962C8B-B14F-4D97-AF65-F5344CB8AC3E}">
        <p14:creationId xmlns:p14="http://schemas.microsoft.com/office/powerpoint/2010/main" val="26237767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podání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/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/>
        </p:nvGraphicFramePr>
        <p:xfrm>
          <a:off x="52384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2 8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3 9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 3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8 9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6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19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 0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 7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 7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 4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2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 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 8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2 6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251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Rectangle 4">
            <a:extLst>
              <a:ext uri="{FF2B5EF4-FFF2-40B4-BE49-F238E27FC236}">
                <a16:creationId xmlns:a16="http://schemas.microsoft.com/office/drawing/2014/main" id="{B5311BF1-5ED9-41AC-B92C-E95A673A93F0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Rectangle 99">
            <a:extLst>
              <a:ext uri="{FF2B5EF4-FFF2-40B4-BE49-F238E27FC236}">
                <a16:creationId xmlns:a16="http://schemas.microsoft.com/office/drawing/2014/main" id="{799246A8-1EE1-4A4D-B48B-91BA6E17A535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Rectangle 100">
            <a:extLst>
              <a:ext uri="{FF2B5EF4-FFF2-40B4-BE49-F238E27FC236}">
                <a16:creationId xmlns:a16="http://schemas.microsoft.com/office/drawing/2014/main" id="{C67230FF-6DD9-4760-85BE-4FDD4D9517B1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Rectangle 101">
            <a:extLst>
              <a:ext uri="{FF2B5EF4-FFF2-40B4-BE49-F238E27FC236}">
                <a16:creationId xmlns:a16="http://schemas.microsoft.com/office/drawing/2014/main" id="{763E2ECD-5C44-46EF-819F-F5018A03A639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TextBox 103">
            <a:extLst>
              <a:ext uri="{FF2B5EF4-FFF2-40B4-BE49-F238E27FC236}">
                <a16:creationId xmlns:a16="http://schemas.microsoft.com/office/drawing/2014/main" id="{70E915B1-6478-48E4-BC21-9CFED2EFEE84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6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TextBox 104">
            <a:extLst>
              <a:ext uri="{FF2B5EF4-FFF2-40B4-BE49-F238E27FC236}">
                <a16:creationId xmlns:a16="http://schemas.microsoft.com/office/drawing/2014/main" id="{5BAE935E-F72F-4C15-BC63-2D6B6878BE37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6,00–61,99</a:t>
            </a:r>
          </a:p>
        </p:txBody>
      </p:sp>
      <p:sp>
        <p:nvSpPr>
          <p:cNvPr id="122" name="TextBox 105">
            <a:extLst>
              <a:ext uri="{FF2B5EF4-FFF2-40B4-BE49-F238E27FC236}">
                <a16:creationId xmlns:a16="http://schemas.microsoft.com/office/drawing/2014/main" id="{A2AE923E-B0B2-4B49-96E8-D6CC366A2C88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2,00–64,99</a:t>
            </a:r>
          </a:p>
        </p:txBody>
      </p:sp>
      <p:sp>
        <p:nvSpPr>
          <p:cNvPr id="123" name="TextBox 106">
            <a:extLst>
              <a:ext uri="{FF2B5EF4-FFF2-40B4-BE49-F238E27FC236}">
                <a16:creationId xmlns:a16="http://schemas.microsoft.com/office/drawing/2014/main" id="{34BA619D-FA91-4782-9BC5-4373585B8F99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,0</a:t>
            </a:r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A0FABA55-A6D6-4F85-8AFF-63C0F85B3134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2" name="TextBox 6">
            <a:extLst>
              <a:ext uri="{FF2B5EF4-FFF2-40B4-BE49-F238E27FC236}">
                <a16:creationId xmlns:a16="http://schemas.microsoft.com/office/drawing/2014/main" id="{472CBAC0-5946-4465-9EE6-68C518EFE2ED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40085260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Očkovaní v krajích (</a:t>
            </a:r>
            <a:r>
              <a:rPr lang="cs-CZ" u="sng" dirty="0"/>
              <a:t>podle místa bydliště</a:t>
            </a:r>
            <a:r>
              <a:rPr lang="cs-CZ" dirty="0"/>
              <a:t>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223D-04DC-459A-A7C2-69EB1368F112}"/>
              </a:ext>
            </a:extLst>
          </p:cNvPr>
          <p:cNvGraphicFramePr/>
          <p:nvPr/>
        </p:nvGraphicFramePr>
        <p:xfrm>
          <a:off x="172061" y="1443642"/>
          <a:ext cx="5060115" cy="511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7D7DAEF-8678-4239-947C-9AB224285FDF}"/>
              </a:ext>
            </a:extLst>
          </p:cNvPr>
          <p:cNvSpPr txBox="1"/>
          <p:nvPr/>
        </p:nvSpPr>
        <p:spPr>
          <a:xfrm>
            <a:off x="6890411" y="1117535"/>
            <a:ext cx="45143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2E392B-240E-4C0F-AD74-974F8D3293FC}"/>
              </a:ext>
            </a:extLst>
          </p:cNvPr>
          <p:cNvSpPr/>
          <p:nvPr/>
        </p:nvSpPr>
        <p:spPr>
          <a:xfrm>
            <a:off x="9916369" y="1937440"/>
            <a:ext cx="203210" cy="203210"/>
          </a:xfrm>
          <a:prstGeom prst="rect">
            <a:avLst/>
          </a:prstGeom>
          <a:solidFill>
            <a:srgbClr val="31539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473343B1-38DB-4454-BEC7-7D783C80D202}"/>
              </a:ext>
            </a:extLst>
          </p:cNvPr>
          <p:cNvSpPr/>
          <p:nvPr/>
        </p:nvSpPr>
        <p:spPr>
          <a:xfrm>
            <a:off x="9916369" y="2285148"/>
            <a:ext cx="203210" cy="203210"/>
          </a:xfrm>
          <a:prstGeom prst="rect">
            <a:avLst/>
          </a:prstGeom>
          <a:solidFill>
            <a:srgbClr val="7191D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400BFFE-C06B-4B17-AE74-5D4CCABA1F19}"/>
              </a:ext>
            </a:extLst>
          </p:cNvPr>
          <p:cNvSpPr/>
          <p:nvPr/>
        </p:nvSpPr>
        <p:spPr>
          <a:xfrm>
            <a:off x="9916369" y="2632856"/>
            <a:ext cx="203210" cy="203210"/>
          </a:xfrm>
          <a:prstGeom prst="rect">
            <a:avLst/>
          </a:prstGeom>
          <a:solidFill>
            <a:srgbClr val="B0C2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0607D2D-10F6-4550-A76A-3631C17394BF}"/>
              </a:ext>
            </a:extLst>
          </p:cNvPr>
          <p:cNvSpPr/>
          <p:nvPr/>
        </p:nvSpPr>
        <p:spPr>
          <a:xfrm>
            <a:off x="9916369" y="2980564"/>
            <a:ext cx="203210" cy="20321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16C5501-0A0D-483E-9980-85832796A62C}"/>
              </a:ext>
            </a:extLst>
          </p:cNvPr>
          <p:cNvSpPr txBox="1"/>
          <p:nvPr/>
        </p:nvSpPr>
        <p:spPr>
          <a:xfrm>
            <a:off x="10178905" y="2904051"/>
            <a:ext cx="8755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9824DF73-D1DC-4B67-9B05-DA2B841A6A02}"/>
              </a:ext>
            </a:extLst>
          </p:cNvPr>
          <p:cNvSpPr txBox="1"/>
          <p:nvPr/>
        </p:nvSpPr>
        <p:spPr>
          <a:xfrm>
            <a:off x="10192137" y="2569570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,00–62,99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234E8BA-E79D-46F8-95EB-7AB2E601299E}"/>
              </a:ext>
            </a:extLst>
          </p:cNvPr>
          <p:cNvSpPr txBox="1"/>
          <p:nvPr/>
        </p:nvSpPr>
        <p:spPr>
          <a:xfrm>
            <a:off x="10178451" y="2219187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,00–64,99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077F0896-A4D3-4EE1-86C6-EACE5FA93733}"/>
              </a:ext>
            </a:extLst>
          </p:cNvPr>
          <p:cNvSpPr txBox="1"/>
          <p:nvPr/>
        </p:nvSpPr>
        <p:spPr>
          <a:xfrm>
            <a:off x="10159693" y="1858889"/>
            <a:ext cx="7537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≥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5,0</a:t>
            </a:r>
          </a:p>
        </p:txBody>
      </p:sp>
      <p:sp>
        <p:nvSpPr>
          <p:cNvPr id="181" name="Freeform 224">
            <a:extLst>
              <a:ext uri="{FF2B5EF4-FFF2-40B4-BE49-F238E27FC236}">
                <a16:creationId xmlns:a16="http://schemas.microsoft.com/office/drawing/2014/main" id="{0B6A9104-1908-4D50-B347-AA4A8A6EBA01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 225">
            <a:extLst>
              <a:ext uri="{FF2B5EF4-FFF2-40B4-BE49-F238E27FC236}">
                <a16:creationId xmlns:a16="http://schemas.microsoft.com/office/drawing/2014/main" id="{77651468-2EC0-4490-8E58-577A93E48F00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 226">
            <a:extLst>
              <a:ext uri="{FF2B5EF4-FFF2-40B4-BE49-F238E27FC236}">
                <a16:creationId xmlns:a16="http://schemas.microsoft.com/office/drawing/2014/main" id="{89D248F1-C874-4693-9ECE-731FEE2F3933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 227">
            <a:extLst>
              <a:ext uri="{FF2B5EF4-FFF2-40B4-BE49-F238E27FC236}">
                <a16:creationId xmlns:a16="http://schemas.microsoft.com/office/drawing/2014/main" id="{F4059F66-8CD6-44A2-880D-54A4AF5B720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228">
            <a:extLst>
              <a:ext uri="{FF2B5EF4-FFF2-40B4-BE49-F238E27FC236}">
                <a16:creationId xmlns:a16="http://schemas.microsoft.com/office/drawing/2014/main" id="{2FFAD3F4-E4A8-49E8-91E8-164670E05B62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229">
            <a:extLst>
              <a:ext uri="{FF2B5EF4-FFF2-40B4-BE49-F238E27FC236}">
                <a16:creationId xmlns:a16="http://schemas.microsoft.com/office/drawing/2014/main" id="{F77812FB-07FC-4658-AAE3-6766400F404F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230">
            <a:extLst>
              <a:ext uri="{FF2B5EF4-FFF2-40B4-BE49-F238E27FC236}">
                <a16:creationId xmlns:a16="http://schemas.microsoft.com/office/drawing/2014/main" id="{52034A59-76D4-4593-977D-1D3C86D03EFB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231">
            <a:extLst>
              <a:ext uri="{FF2B5EF4-FFF2-40B4-BE49-F238E27FC236}">
                <a16:creationId xmlns:a16="http://schemas.microsoft.com/office/drawing/2014/main" id="{5F428FC3-BD8F-4155-97CC-6C212AD56DC2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232">
            <a:extLst>
              <a:ext uri="{FF2B5EF4-FFF2-40B4-BE49-F238E27FC236}">
                <a16:creationId xmlns:a16="http://schemas.microsoft.com/office/drawing/2014/main" id="{D4AFB935-819F-4021-9924-80004082D57E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233">
            <a:extLst>
              <a:ext uri="{FF2B5EF4-FFF2-40B4-BE49-F238E27FC236}">
                <a16:creationId xmlns:a16="http://schemas.microsoft.com/office/drawing/2014/main" id="{9B0D2B55-1D79-418A-8909-34CA805DA69B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 234">
            <a:extLst>
              <a:ext uri="{FF2B5EF4-FFF2-40B4-BE49-F238E27FC236}">
                <a16:creationId xmlns:a16="http://schemas.microsoft.com/office/drawing/2014/main" id="{FE3E5A4D-1D4D-4BE7-9CE5-352DBCB67048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 235">
            <a:extLst>
              <a:ext uri="{FF2B5EF4-FFF2-40B4-BE49-F238E27FC236}">
                <a16:creationId xmlns:a16="http://schemas.microsoft.com/office/drawing/2014/main" id="{F0F529E0-BFD8-4154-8424-09F78282855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 236">
            <a:extLst>
              <a:ext uri="{FF2B5EF4-FFF2-40B4-BE49-F238E27FC236}">
                <a16:creationId xmlns:a16="http://schemas.microsoft.com/office/drawing/2014/main" id="{63C9A6B6-36AF-4D4F-B558-44F17C080A27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 237">
            <a:extLst>
              <a:ext uri="{FF2B5EF4-FFF2-40B4-BE49-F238E27FC236}">
                <a16:creationId xmlns:a16="http://schemas.microsoft.com/office/drawing/2014/main" id="{A6E4D3FA-AEE9-418F-B92C-A9C8B8891741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 238">
            <a:extLst>
              <a:ext uri="{FF2B5EF4-FFF2-40B4-BE49-F238E27FC236}">
                <a16:creationId xmlns:a16="http://schemas.microsoft.com/office/drawing/2014/main" id="{9382DC58-EC6D-4D0B-B194-441D40F06CBB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 239">
            <a:extLst>
              <a:ext uri="{FF2B5EF4-FFF2-40B4-BE49-F238E27FC236}">
                <a16:creationId xmlns:a16="http://schemas.microsoft.com/office/drawing/2014/main" id="{4B18921B-7A82-42F4-848C-9E01EE238E41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 240">
            <a:extLst>
              <a:ext uri="{FF2B5EF4-FFF2-40B4-BE49-F238E27FC236}">
                <a16:creationId xmlns:a16="http://schemas.microsoft.com/office/drawing/2014/main" id="{6AE03ECD-B257-4DB3-8854-CB10B1856F26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 241">
            <a:extLst>
              <a:ext uri="{FF2B5EF4-FFF2-40B4-BE49-F238E27FC236}">
                <a16:creationId xmlns:a16="http://schemas.microsoft.com/office/drawing/2014/main" id="{F849C224-45A7-40C4-9452-50C219A8820E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 242">
            <a:extLst>
              <a:ext uri="{FF2B5EF4-FFF2-40B4-BE49-F238E27FC236}">
                <a16:creationId xmlns:a16="http://schemas.microsoft.com/office/drawing/2014/main" id="{F2D9EA48-20C4-4926-B1A0-FB290B6713B4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 243">
            <a:extLst>
              <a:ext uri="{FF2B5EF4-FFF2-40B4-BE49-F238E27FC236}">
                <a16:creationId xmlns:a16="http://schemas.microsoft.com/office/drawing/2014/main" id="{6C759338-5D7D-414F-B4D0-ABB9CAEA73CE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 244">
            <a:extLst>
              <a:ext uri="{FF2B5EF4-FFF2-40B4-BE49-F238E27FC236}">
                <a16:creationId xmlns:a16="http://schemas.microsoft.com/office/drawing/2014/main" id="{E9CF9EC8-B0FA-426A-A878-8DF7D8A389D6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245">
            <a:extLst>
              <a:ext uri="{FF2B5EF4-FFF2-40B4-BE49-F238E27FC236}">
                <a16:creationId xmlns:a16="http://schemas.microsoft.com/office/drawing/2014/main" id="{7A416F64-A9C2-4D59-A4FB-D6B4E471835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 246">
            <a:extLst>
              <a:ext uri="{FF2B5EF4-FFF2-40B4-BE49-F238E27FC236}">
                <a16:creationId xmlns:a16="http://schemas.microsoft.com/office/drawing/2014/main" id="{2B87EEA1-2F57-4D64-BD19-1514A9AA6441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 247">
            <a:extLst>
              <a:ext uri="{FF2B5EF4-FFF2-40B4-BE49-F238E27FC236}">
                <a16:creationId xmlns:a16="http://schemas.microsoft.com/office/drawing/2014/main" id="{0206BF93-4D86-4FC5-B5A1-F4D646721936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 248">
            <a:extLst>
              <a:ext uri="{FF2B5EF4-FFF2-40B4-BE49-F238E27FC236}">
                <a16:creationId xmlns:a16="http://schemas.microsoft.com/office/drawing/2014/main" id="{7448FBF9-927B-4132-9C60-EF56D0333FA5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 249">
            <a:extLst>
              <a:ext uri="{FF2B5EF4-FFF2-40B4-BE49-F238E27FC236}">
                <a16:creationId xmlns:a16="http://schemas.microsoft.com/office/drawing/2014/main" id="{3FA0F636-FFAB-441D-9062-3180FBFF6EBA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 250">
            <a:extLst>
              <a:ext uri="{FF2B5EF4-FFF2-40B4-BE49-F238E27FC236}">
                <a16:creationId xmlns:a16="http://schemas.microsoft.com/office/drawing/2014/main" id="{2728568C-3436-4C9D-B9C1-825D9E567A5D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 251">
            <a:extLst>
              <a:ext uri="{FF2B5EF4-FFF2-40B4-BE49-F238E27FC236}">
                <a16:creationId xmlns:a16="http://schemas.microsoft.com/office/drawing/2014/main" id="{E6CF9038-2C80-41A6-94BC-50BBD1CAA881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252">
            <a:extLst>
              <a:ext uri="{FF2B5EF4-FFF2-40B4-BE49-F238E27FC236}">
                <a16:creationId xmlns:a16="http://schemas.microsoft.com/office/drawing/2014/main" id="{2DD733FA-38B9-4BA2-B9E6-82EBEE85F868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253">
            <a:extLst>
              <a:ext uri="{FF2B5EF4-FFF2-40B4-BE49-F238E27FC236}">
                <a16:creationId xmlns:a16="http://schemas.microsoft.com/office/drawing/2014/main" id="{3C9B9565-D3E8-4174-A913-091D9A1C451B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254">
            <a:extLst>
              <a:ext uri="{FF2B5EF4-FFF2-40B4-BE49-F238E27FC236}">
                <a16:creationId xmlns:a16="http://schemas.microsoft.com/office/drawing/2014/main" id="{CE1082C9-C35F-408D-9C85-62A4117AF5BB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255">
            <a:extLst>
              <a:ext uri="{FF2B5EF4-FFF2-40B4-BE49-F238E27FC236}">
                <a16:creationId xmlns:a16="http://schemas.microsoft.com/office/drawing/2014/main" id="{8CF1A89A-D5E4-44D1-A81E-39325787283C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CCCCCC"/>
          </a:solidFill>
          <a:ln w="98425">
            <a:solidFill>
              <a:srgbClr val="CCCCC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 256">
            <a:extLst>
              <a:ext uri="{FF2B5EF4-FFF2-40B4-BE49-F238E27FC236}">
                <a16:creationId xmlns:a16="http://schemas.microsoft.com/office/drawing/2014/main" id="{8B0CA435-ACC7-4FD5-9C9C-FA1262A2C323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 257">
            <a:extLst>
              <a:ext uri="{FF2B5EF4-FFF2-40B4-BE49-F238E27FC236}">
                <a16:creationId xmlns:a16="http://schemas.microsoft.com/office/drawing/2014/main" id="{BC216BD6-3964-4876-A107-C006F84112DA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 258">
            <a:extLst>
              <a:ext uri="{FF2B5EF4-FFF2-40B4-BE49-F238E27FC236}">
                <a16:creationId xmlns:a16="http://schemas.microsoft.com/office/drawing/2014/main" id="{0AEB6FB7-3F4A-451A-8820-3832459A130A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98425">
            <a:solidFill>
              <a:srgbClr val="CCCCC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 259">
            <a:extLst>
              <a:ext uri="{FF2B5EF4-FFF2-40B4-BE49-F238E27FC236}">
                <a16:creationId xmlns:a16="http://schemas.microsoft.com/office/drawing/2014/main" id="{6FAEF2CB-4523-46E6-BF8A-1E7545E30549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25 w 195"/>
              <a:gd name="T1" fmla="*/ 1 h 150"/>
              <a:gd name="T2" fmla="*/ 127 w 195"/>
              <a:gd name="T3" fmla="*/ 5 h 150"/>
              <a:gd name="T4" fmla="*/ 140 w 195"/>
              <a:gd name="T5" fmla="*/ 15 h 150"/>
              <a:gd name="T6" fmla="*/ 149 w 195"/>
              <a:gd name="T7" fmla="*/ 18 h 150"/>
              <a:gd name="T8" fmla="*/ 153 w 195"/>
              <a:gd name="T9" fmla="*/ 26 h 150"/>
              <a:gd name="T10" fmla="*/ 159 w 195"/>
              <a:gd name="T11" fmla="*/ 31 h 150"/>
              <a:gd name="T12" fmla="*/ 175 w 195"/>
              <a:gd name="T13" fmla="*/ 38 h 150"/>
              <a:gd name="T14" fmla="*/ 182 w 195"/>
              <a:gd name="T15" fmla="*/ 45 h 150"/>
              <a:gd name="T16" fmla="*/ 191 w 195"/>
              <a:gd name="T17" fmla="*/ 53 h 150"/>
              <a:gd name="T18" fmla="*/ 195 w 195"/>
              <a:gd name="T19" fmla="*/ 60 h 150"/>
              <a:gd name="T20" fmla="*/ 193 w 195"/>
              <a:gd name="T21" fmla="*/ 67 h 150"/>
              <a:gd name="T22" fmla="*/ 179 w 195"/>
              <a:gd name="T23" fmla="*/ 76 h 150"/>
              <a:gd name="T24" fmla="*/ 174 w 195"/>
              <a:gd name="T25" fmla="*/ 80 h 150"/>
              <a:gd name="T26" fmla="*/ 174 w 195"/>
              <a:gd name="T27" fmla="*/ 85 h 150"/>
              <a:gd name="T28" fmla="*/ 178 w 195"/>
              <a:gd name="T29" fmla="*/ 91 h 150"/>
              <a:gd name="T30" fmla="*/ 180 w 195"/>
              <a:gd name="T31" fmla="*/ 105 h 150"/>
              <a:gd name="T32" fmla="*/ 176 w 195"/>
              <a:gd name="T33" fmla="*/ 112 h 150"/>
              <a:gd name="T34" fmla="*/ 168 w 195"/>
              <a:gd name="T35" fmla="*/ 117 h 150"/>
              <a:gd name="T36" fmla="*/ 159 w 195"/>
              <a:gd name="T37" fmla="*/ 116 h 150"/>
              <a:gd name="T38" fmla="*/ 148 w 195"/>
              <a:gd name="T39" fmla="*/ 110 h 150"/>
              <a:gd name="T40" fmla="*/ 136 w 195"/>
              <a:gd name="T41" fmla="*/ 109 h 150"/>
              <a:gd name="T42" fmla="*/ 126 w 195"/>
              <a:gd name="T43" fmla="*/ 111 h 150"/>
              <a:gd name="T44" fmla="*/ 120 w 195"/>
              <a:gd name="T45" fmla="*/ 116 h 150"/>
              <a:gd name="T46" fmla="*/ 110 w 195"/>
              <a:gd name="T47" fmla="*/ 120 h 150"/>
              <a:gd name="T48" fmla="*/ 94 w 195"/>
              <a:gd name="T49" fmla="*/ 132 h 150"/>
              <a:gd name="T50" fmla="*/ 81 w 195"/>
              <a:gd name="T51" fmla="*/ 137 h 150"/>
              <a:gd name="T52" fmla="*/ 71 w 195"/>
              <a:gd name="T53" fmla="*/ 140 h 150"/>
              <a:gd name="T54" fmla="*/ 65 w 195"/>
              <a:gd name="T55" fmla="*/ 148 h 150"/>
              <a:gd name="T56" fmla="*/ 62 w 195"/>
              <a:gd name="T57" fmla="*/ 150 h 150"/>
              <a:gd name="T58" fmla="*/ 47 w 195"/>
              <a:gd name="T59" fmla="*/ 148 h 150"/>
              <a:gd name="T60" fmla="*/ 43 w 195"/>
              <a:gd name="T61" fmla="*/ 145 h 150"/>
              <a:gd name="T62" fmla="*/ 41 w 195"/>
              <a:gd name="T63" fmla="*/ 140 h 150"/>
              <a:gd name="T64" fmla="*/ 42 w 195"/>
              <a:gd name="T65" fmla="*/ 134 h 150"/>
              <a:gd name="T66" fmla="*/ 41 w 195"/>
              <a:gd name="T67" fmla="*/ 128 h 150"/>
              <a:gd name="T68" fmla="*/ 40 w 195"/>
              <a:gd name="T69" fmla="*/ 123 h 150"/>
              <a:gd name="T70" fmla="*/ 33 w 195"/>
              <a:gd name="T71" fmla="*/ 119 h 150"/>
              <a:gd name="T72" fmla="*/ 29 w 195"/>
              <a:gd name="T73" fmla="*/ 114 h 150"/>
              <a:gd name="T74" fmla="*/ 30 w 195"/>
              <a:gd name="T75" fmla="*/ 108 h 150"/>
              <a:gd name="T76" fmla="*/ 29 w 195"/>
              <a:gd name="T77" fmla="*/ 102 h 150"/>
              <a:gd name="T78" fmla="*/ 18 w 195"/>
              <a:gd name="T79" fmla="*/ 91 h 150"/>
              <a:gd name="T80" fmla="*/ 12 w 195"/>
              <a:gd name="T81" fmla="*/ 81 h 150"/>
              <a:gd name="T82" fmla="*/ 9 w 195"/>
              <a:gd name="T83" fmla="*/ 75 h 150"/>
              <a:gd name="T84" fmla="*/ 13 w 195"/>
              <a:gd name="T85" fmla="*/ 69 h 150"/>
              <a:gd name="T86" fmla="*/ 18 w 195"/>
              <a:gd name="T87" fmla="*/ 64 h 150"/>
              <a:gd name="T88" fmla="*/ 9 w 195"/>
              <a:gd name="T89" fmla="*/ 53 h 150"/>
              <a:gd name="T90" fmla="*/ 1 w 195"/>
              <a:gd name="T91" fmla="*/ 48 h 150"/>
              <a:gd name="T92" fmla="*/ 1 w 195"/>
              <a:gd name="T93" fmla="*/ 45 h 150"/>
              <a:gd name="T94" fmla="*/ 12 w 195"/>
              <a:gd name="T95" fmla="*/ 40 h 150"/>
              <a:gd name="T96" fmla="*/ 27 w 195"/>
              <a:gd name="T97" fmla="*/ 34 h 150"/>
              <a:gd name="T98" fmla="*/ 33 w 195"/>
              <a:gd name="T99" fmla="*/ 34 h 150"/>
              <a:gd name="T100" fmla="*/ 42 w 195"/>
              <a:gd name="T101" fmla="*/ 38 h 150"/>
              <a:gd name="T102" fmla="*/ 50 w 195"/>
              <a:gd name="T103" fmla="*/ 36 h 150"/>
              <a:gd name="T104" fmla="*/ 53 w 195"/>
              <a:gd name="T105" fmla="*/ 26 h 150"/>
              <a:gd name="T106" fmla="*/ 58 w 195"/>
              <a:gd name="T107" fmla="*/ 21 h 150"/>
              <a:gd name="T108" fmla="*/ 69 w 195"/>
              <a:gd name="T109" fmla="*/ 20 h 150"/>
              <a:gd name="T110" fmla="*/ 85 w 195"/>
              <a:gd name="T111" fmla="*/ 13 h 150"/>
              <a:gd name="T112" fmla="*/ 102 w 195"/>
              <a:gd name="T113" fmla="*/ 5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4" y="0"/>
                </a:moveTo>
                <a:lnTo>
                  <a:pt x="125" y="0"/>
                </a:lnTo>
                <a:lnTo>
                  <a:pt x="125" y="0"/>
                </a:lnTo>
                <a:lnTo>
                  <a:pt x="125" y="0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2"/>
                </a:lnTo>
                <a:lnTo>
                  <a:pt x="125" y="3"/>
                </a:lnTo>
                <a:lnTo>
                  <a:pt x="126" y="4"/>
                </a:lnTo>
                <a:lnTo>
                  <a:pt x="126" y="4"/>
                </a:lnTo>
                <a:lnTo>
                  <a:pt x="127" y="5"/>
                </a:lnTo>
                <a:lnTo>
                  <a:pt x="128" y="6"/>
                </a:lnTo>
                <a:lnTo>
                  <a:pt x="129" y="6"/>
                </a:lnTo>
                <a:lnTo>
                  <a:pt x="132" y="9"/>
                </a:lnTo>
                <a:lnTo>
                  <a:pt x="135" y="10"/>
                </a:lnTo>
                <a:lnTo>
                  <a:pt x="139" y="14"/>
                </a:lnTo>
                <a:lnTo>
                  <a:pt x="140" y="15"/>
                </a:lnTo>
                <a:lnTo>
                  <a:pt x="142" y="15"/>
                </a:lnTo>
                <a:lnTo>
                  <a:pt x="143" y="16"/>
                </a:lnTo>
                <a:lnTo>
                  <a:pt x="146" y="17"/>
                </a:lnTo>
                <a:lnTo>
                  <a:pt x="147" y="17"/>
                </a:lnTo>
                <a:lnTo>
                  <a:pt x="148" y="17"/>
                </a:lnTo>
                <a:lnTo>
                  <a:pt x="149" y="18"/>
                </a:lnTo>
                <a:lnTo>
                  <a:pt x="149" y="18"/>
                </a:lnTo>
                <a:lnTo>
                  <a:pt x="150" y="19"/>
                </a:lnTo>
                <a:lnTo>
                  <a:pt x="151" y="23"/>
                </a:lnTo>
                <a:lnTo>
                  <a:pt x="152" y="24"/>
                </a:lnTo>
                <a:lnTo>
                  <a:pt x="152" y="25"/>
                </a:lnTo>
                <a:lnTo>
                  <a:pt x="153" y="26"/>
                </a:lnTo>
                <a:lnTo>
                  <a:pt x="154" y="27"/>
                </a:lnTo>
                <a:lnTo>
                  <a:pt x="155" y="28"/>
                </a:lnTo>
                <a:lnTo>
                  <a:pt x="156" y="29"/>
                </a:lnTo>
                <a:lnTo>
                  <a:pt x="157" y="30"/>
                </a:lnTo>
                <a:lnTo>
                  <a:pt x="158" y="30"/>
                </a:lnTo>
                <a:lnTo>
                  <a:pt x="159" y="31"/>
                </a:lnTo>
                <a:lnTo>
                  <a:pt x="161" y="31"/>
                </a:lnTo>
                <a:lnTo>
                  <a:pt x="166" y="33"/>
                </a:lnTo>
                <a:lnTo>
                  <a:pt x="168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8"/>
                </a:lnTo>
                <a:lnTo>
                  <a:pt x="176" y="39"/>
                </a:lnTo>
                <a:lnTo>
                  <a:pt x="177" y="40"/>
                </a:lnTo>
                <a:lnTo>
                  <a:pt x="178" y="41"/>
                </a:lnTo>
                <a:lnTo>
                  <a:pt x="180" y="44"/>
                </a:lnTo>
                <a:lnTo>
                  <a:pt x="181" y="45"/>
                </a:lnTo>
                <a:lnTo>
                  <a:pt x="182" y="45"/>
                </a:lnTo>
                <a:lnTo>
                  <a:pt x="182" y="46"/>
                </a:lnTo>
                <a:lnTo>
                  <a:pt x="183" y="47"/>
                </a:lnTo>
                <a:lnTo>
                  <a:pt x="188" y="51"/>
                </a:lnTo>
                <a:lnTo>
                  <a:pt x="189" y="52"/>
                </a:lnTo>
                <a:lnTo>
                  <a:pt x="190" y="52"/>
                </a:lnTo>
                <a:lnTo>
                  <a:pt x="191" y="53"/>
                </a:lnTo>
                <a:lnTo>
                  <a:pt x="193" y="55"/>
                </a:lnTo>
                <a:lnTo>
                  <a:pt x="193" y="56"/>
                </a:lnTo>
                <a:lnTo>
                  <a:pt x="194" y="57"/>
                </a:lnTo>
                <a:lnTo>
                  <a:pt x="195" y="58"/>
                </a:lnTo>
                <a:lnTo>
                  <a:pt x="195" y="60"/>
                </a:lnTo>
                <a:lnTo>
                  <a:pt x="195" y="60"/>
                </a:lnTo>
                <a:lnTo>
                  <a:pt x="195" y="61"/>
                </a:lnTo>
                <a:lnTo>
                  <a:pt x="195" y="62"/>
                </a:lnTo>
                <a:lnTo>
                  <a:pt x="195" y="63"/>
                </a:lnTo>
                <a:lnTo>
                  <a:pt x="194" y="65"/>
                </a:lnTo>
                <a:lnTo>
                  <a:pt x="193" y="66"/>
                </a:lnTo>
                <a:lnTo>
                  <a:pt x="193" y="67"/>
                </a:lnTo>
                <a:lnTo>
                  <a:pt x="192" y="67"/>
                </a:lnTo>
                <a:lnTo>
                  <a:pt x="191" y="68"/>
                </a:lnTo>
                <a:lnTo>
                  <a:pt x="190" y="69"/>
                </a:lnTo>
                <a:lnTo>
                  <a:pt x="189" y="70"/>
                </a:lnTo>
                <a:lnTo>
                  <a:pt x="186" y="72"/>
                </a:lnTo>
                <a:lnTo>
                  <a:pt x="179" y="76"/>
                </a:lnTo>
                <a:lnTo>
                  <a:pt x="178" y="76"/>
                </a:lnTo>
                <a:lnTo>
                  <a:pt x="177" y="77"/>
                </a:lnTo>
                <a:lnTo>
                  <a:pt x="176" y="78"/>
                </a:lnTo>
                <a:lnTo>
                  <a:pt x="175" y="79"/>
                </a:lnTo>
                <a:lnTo>
                  <a:pt x="174" y="80"/>
                </a:lnTo>
                <a:lnTo>
                  <a:pt x="174" y="80"/>
                </a:lnTo>
                <a:lnTo>
                  <a:pt x="174" y="81"/>
                </a:lnTo>
                <a:lnTo>
                  <a:pt x="173" y="82"/>
                </a:lnTo>
                <a:lnTo>
                  <a:pt x="173" y="83"/>
                </a:lnTo>
                <a:lnTo>
                  <a:pt x="174" y="84"/>
                </a:lnTo>
                <a:lnTo>
                  <a:pt x="174" y="85"/>
                </a:lnTo>
                <a:lnTo>
                  <a:pt x="174" y="85"/>
                </a:lnTo>
                <a:lnTo>
                  <a:pt x="174" y="86"/>
                </a:lnTo>
                <a:lnTo>
                  <a:pt x="176" y="87"/>
                </a:lnTo>
                <a:lnTo>
                  <a:pt x="177" y="88"/>
                </a:lnTo>
                <a:lnTo>
                  <a:pt x="177" y="89"/>
                </a:lnTo>
                <a:lnTo>
                  <a:pt x="178" y="90"/>
                </a:lnTo>
                <a:lnTo>
                  <a:pt x="178" y="91"/>
                </a:lnTo>
                <a:lnTo>
                  <a:pt x="178" y="91"/>
                </a:lnTo>
                <a:lnTo>
                  <a:pt x="178" y="92"/>
                </a:lnTo>
                <a:lnTo>
                  <a:pt x="179" y="96"/>
                </a:lnTo>
                <a:lnTo>
                  <a:pt x="180" y="101"/>
                </a:lnTo>
                <a:lnTo>
                  <a:pt x="180" y="104"/>
                </a:lnTo>
                <a:lnTo>
                  <a:pt x="180" y="105"/>
                </a:lnTo>
                <a:lnTo>
                  <a:pt x="180" y="106"/>
                </a:lnTo>
                <a:lnTo>
                  <a:pt x="179" y="107"/>
                </a:lnTo>
                <a:lnTo>
                  <a:pt x="179" y="109"/>
                </a:lnTo>
                <a:lnTo>
                  <a:pt x="178" y="110"/>
                </a:lnTo>
                <a:lnTo>
                  <a:pt x="177" y="111"/>
                </a:lnTo>
                <a:lnTo>
                  <a:pt x="176" y="112"/>
                </a:lnTo>
                <a:lnTo>
                  <a:pt x="173" y="114"/>
                </a:lnTo>
                <a:lnTo>
                  <a:pt x="171" y="116"/>
                </a:lnTo>
                <a:lnTo>
                  <a:pt x="170" y="116"/>
                </a:lnTo>
                <a:lnTo>
                  <a:pt x="170" y="117"/>
                </a:lnTo>
                <a:lnTo>
                  <a:pt x="169" y="117"/>
                </a:lnTo>
                <a:lnTo>
                  <a:pt x="168" y="117"/>
                </a:lnTo>
                <a:lnTo>
                  <a:pt x="167" y="117"/>
                </a:lnTo>
                <a:lnTo>
                  <a:pt x="165" y="117"/>
                </a:lnTo>
                <a:lnTo>
                  <a:pt x="163" y="117"/>
                </a:lnTo>
                <a:lnTo>
                  <a:pt x="162" y="117"/>
                </a:lnTo>
                <a:lnTo>
                  <a:pt x="160" y="116"/>
                </a:lnTo>
                <a:lnTo>
                  <a:pt x="159" y="116"/>
                </a:lnTo>
                <a:lnTo>
                  <a:pt x="158" y="115"/>
                </a:lnTo>
                <a:lnTo>
                  <a:pt x="156" y="114"/>
                </a:lnTo>
                <a:lnTo>
                  <a:pt x="153" y="112"/>
                </a:lnTo>
                <a:lnTo>
                  <a:pt x="151" y="111"/>
                </a:lnTo>
                <a:lnTo>
                  <a:pt x="150" y="110"/>
                </a:lnTo>
                <a:lnTo>
                  <a:pt x="148" y="110"/>
                </a:lnTo>
                <a:lnTo>
                  <a:pt x="146" y="109"/>
                </a:lnTo>
                <a:lnTo>
                  <a:pt x="145" y="109"/>
                </a:lnTo>
                <a:lnTo>
                  <a:pt x="144" y="109"/>
                </a:lnTo>
                <a:lnTo>
                  <a:pt x="143" y="109"/>
                </a:lnTo>
                <a:lnTo>
                  <a:pt x="140" y="109"/>
                </a:lnTo>
                <a:lnTo>
                  <a:pt x="136" y="109"/>
                </a:lnTo>
                <a:lnTo>
                  <a:pt x="135" y="109"/>
                </a:lnTo>
                <a:lnTo>
                  <a:pt x="133" y="109"/>
                </a:lnTo>
                <a:lnTo>
                  <a:pt x="129" y="110"/>
                </a:lnTo>
                <a:lnTo>
                  <a:pt x="128" y="110"/>
                </a:lnTo>
                <a:lnTo>
                  <a:pt x="127" y="110"/>
                </a:lnTo>
                <a:lnTo>
                  <a:pt x="126" y="111"/>
                </a:lnTo>
                <a:lnTo>
                  <a:pt x="125" y="111"/>
                </a:lnTo>
                <a:lnTo>
                  <a:pt x="124" y="112"/>
                </a:lnTo>
                <a:lnTo>
                  <a:pt x="124" y="112"/>
                </a:lnTo>
                <a:lnTo>
                  <a:pt x="123" y="113"/>
                </a:lnTo>
                <a:lnTo>
                  <a:pt x="121" y="115"/>
                </a:lnTo>
                <a:lnTo>
                  <a:pt x="120" y="116"/>
                </a:lnTo>
                <a:lnTo>
                  <a:pt x="119" y="117"/>
                </a:lnTo>
                <a:lnTo>
                  <a:pt x="117" y="118"/>
                </a:lnTo>
                <a:lnTo>
                  <a:pt x="116" y="118"/>
                </a:lnTo>
                <a:lnTo>
                  <a:pt x="115" y="119"/>
                </a:lnTo>
                <a:lnTo>
                  <a:pt x="112" y="120"/>
                </a:lnTo>
                <a:lnTo>
                  <a:pt x="110" y="120"/>
                </a:lnTo>
                <a:lnTo>
                  <a:pt x="108" y="121"/>
                </a:lnTo>
                <a:lnTo>
                  <a:pt x="107" y="122"/>
                </a:lnTo>
                <a:lnTo>
                  <a:pt x="106" y="123"/>
                </a:lnTo>
                <a:lnTo>
                  <a:pt x="103" y="125"/>
                </a:lnTo>
                <a:lnTo>
                  <a:pt x="95" y="131"/>
                </a:lnTo>
                <a:lnTo>
                  <a:pt x="94" y="132"/>
                </a:lnTo>
                <a:lnTo>
                  <a:pt x="93" y="133"/>
                </a:lnTo>
                <a:lnTo>
                  <a:pt x="92" y="133"/>
                </a:lnTo>
                <a:lnTo>
                  <a:pt x="91" y="134"/>
                </a:lnTo>
                <a:lnTo>
                  <a:pt x="88" y="135"/>
                </a:lnTo>
                <a:lnTo>
                  <a:pt x="84" y="136"/>
                </a:lnTo>
                <a:lnTo>
                  <a:pt x="81" y="137"/>
                </a:lnTo>
                <a:lnTo>
                  <a:pt x="80" y="137"/>
                </a:lnTo>
                <a:lnTo>
                  <a:pt x="78" y="138"/>
                </a:lnTo>
                <a:lnTo>
                  <a:pt x="73" y="139"/>
                </a:lnTo>
                <a:lnTo>
                  <a:pt x="72" y="139"/>
                </a:lnTo>
                <a:lnTo>
                  <a:pt x="71" y="140"/>
                </a:lnTo>
                <a:lnTo>
                  <a:pt x="71" y="140"/>
                </a:lnTo>
                <a:lnTo>
                  <a:pt x="70" y="141"/>
                </a:lnTo>
                <a:lnTo>
                  <a:pt x="69" y="142"/>
                </a:lnTo>
                <a:lnTo>
                  <a:pt x="69" y="142"/>
                </a:lnTo>
                <a:lnTo>
                  <a:pt x="68" y="144"/>
                </a:lnTo>
                <a:lnTo>
                  <a:pt x="66" y="147"/>
                </a:lnTo>
                <a:lnTo>
                  <a:pt x="65" y="148"/>
                </a:lnTo>
                <a:lnTo>
                  <a:pt x="65" y="148"/>
                </a:lnTo>
                <a:lnTo>
                  <a:pt x="65" y="149"/>
                </a:lnTo>
                <a:lnTo>
                  <a:pt x="64" y="149"/>
                </a:lnTo>
                <a:lnTo>
                  <a:pt x="64" y="149"/>
                </a:lnTo>
                <a:lnTo>
                  <a:pt x="63" y="150"/>
                </a:lnTo>
                <a:lnTo>
                  <a:pt x="62" y="150"/>
                </a:lnTo>
                <a:lnTo>
                  <a:pt x="59" y="150"/>
                </a:lnTo>
                <a:lnTo>
                  <a:pt x="57" y="150"/>
                </a:lnTo>
                <a:lnTo>
                  <a:pt x="52" y="149"/>
                </a:lnTo>
                <a:lnTo>
                  <a:pt x="50" y="149"/>
                </a:lnTo>
                <a:lnTo>
                  <a:pt x="48" y="149"/>
                </a:lnTo>
                <a:lnTo>
                  <a:pt x="47" y="148"/>
                </a:lnTo>
                <a:lnTo>
                  <a:pt x="46" y="148"/>
                </a:lnTo>
                <a:lnTo>
                  <a:pt x="45" y="148"/>
                </a:lnTo>
                <a:lnTo>
                  <a:pt x="44" y="147"/>
                </a:lnTo>
                <a:lnTo>
                  <a:pt x="44" y="147"/>
                </a:lnTo>
                <a:lnTo>
                  <a:pt x="43" y="146"/>
                </a:lnTo>
                <a:lnTo>
                  <a:pt x="43" y="145"/>
                </a:lnTo>
                <a:lnTo>
                  <a:pt x="42" y="145"/>
                </a:lnTo>
                <a:lnTo>
                  <a:pt x="42" y="144"/>
                </a:lnTo>
                <a:lnTo>
                  <a:pt x="41" y="143"/>
                </a:lnTo>
                <a:lnTo>
                  <a:pt x="41" y="142"/>
                </a:lnTo>
                <a:lnTo>
                  <a:pt x="41" y="142"/>
                </a:lnTo>
                <a:lnTo>
                  <a:pt x="41" y="140"/>
                </a:lnTo>
                <a:lnTo>
                  <a:pt x="41" y="139"/>
                </a:lnTo>
                <a:lnTo>
                  <a:pt x="42" y="137"/>
                </a:lnTo>
                <a:lnTo>
                  <a:pt x="42" y="136"/>
                </a:lnTo>
                <a:lnTo>
                  <a:pt x="42" y="135"/>
                </a:lnTo>
                <a:lnTo>
                  <a:pt x="42" y="135"/>
                </a:lnTo>
                <a:lnTo>
                  <a:pt x="42" y="134"/>
                </a:lnTo>
                <a:lnTo>
                  <a:pt x="42" y="134"/>
                </a:lnTo>
                <a:lnTo>
                  <a:pt x="41" y="133"/>
                </a:lnTo>
                <a:lnTo>
                  <a:pt x="41" y="132"/>
                </a:lnTo>
                <a:lnTo>
                  <a:pt x="41" y="132"/>
                </a:lnTo>
                <a:lnTo>
                  <a:pt x="41" y="131"/>
                </a:lnTo>
                <a:lnTo>
                  <a:pt x="41" y="128"/>
                </a:lnTo>
                <a:lnTo>
                  <a:pt x="41" y="127"/>
                </a:lnTo>
                <a:lnTo>
                  <a:pt x="41" y="126"/>
                </a:lnTo>
                <a:lnTo>
                  <a:pt x="41" y="125"/>
                </a:lnTo>
                <a:lnTo>
                  <a:pt x="41" y="124"/>
                </a:lnTo>
                <a:lnTo>
                  <a:pt x="41" y="124"/>
                </a:lnTo>
                <a:lnTo>
                  <a:pt x="40" y="123"/>
                </a:lnTo>
                <a:lnTo>
                  <a:pt x="40" y="123"/>
                </a:lnTo>
                <a:lnTo>
                  <a:pt x="39" y="122"/>
                </a:lnTo>
                <a:lnTo>
                  <a:pt x="38" y="121"/>
                </a:lnTo>
                <a:lnTo>
                  <a:pt x="35" y="120"/>
                </a:lnTo>
                <a:lnTo>
                  <a:pt x="34" y="119"/>
                </a:lnTo>
                <a:lnTo>
                  <a:pt x="33" y="119"/>
                </a:lnTo>
                <a:lnTo>
                  <a:pt x="32" y="118"/>
                </a:lnTo>
                <a:lnTo>
                  <a:pt x="31" y="117"/>
                </a:lnTo>
                <a:lnTo>
                  <a:pt x="30" y="116"/>
                </a:lnTo>
                <a:lnTo>
                  <a:pt x="29" y="116"/>
                </a:lnTo>
                <a:lnTo>
                  <a:pt x="29" y="115"/>
                </a:lnTo>
                <a:lnTo>
                  <a:pt x="29" y="114"/>
                </a:lnTo>
                <a:lnTo>
                  <a:pt x="28" y="113"/>
                </a:lnTo>
                <a:lnTo>
                  <a:pt x="28" y="113"/>
                </a:lnTo>
                <a:lnTo>
                  <a:pt x="28" y="112"/>
                </a:lnTo>
                <a:lnTo>
                  <a:pt x="29" y="111"/>
                </a:lnTo>
                <a:lnTo>
                  <a:pt x="29" y="110"/>
                </a:lnTo>
                <a:lnTo>
                  <a:pt x="30" y="108"/>
                </a:lnTo>
                <a:lnTo>
                  <a:pt x="30" y="107"/>
                </a:lnTo>
                <a:lnTo>
                  <a:pt x="30" y="106"/>
                </a:lnTo>
                <a:lnTo>
                  <a:pt x="30" y="105"/>
                </a:lnTo>
                <a:lnTo>
                  <a:pt x="30" y="104"/>
                </a:lnTo>
                <a:lnTo>
                  <a:pt x="30" y="103"/>
                </a:lnTo>
                <a:lnTo>
                  <a:pt x="29" y="102"/>
                </a:lnTo>
                <a:lnTo>
                  <a:pt x="29" y="101"/>
                </a:lnTo>
                <a:lnTo>
                  <a:pt x="28" y="100"/>
                </a:lnTo>
                <a:lnTo>
                  <a:pt x="23" y="97"/>
                </a:lnTo>
                <a:lnTo>
                  <a:pt x="21" y="95"/>
                </a:lnTo>
                <a:lnTo>
                  <a:pt x="19" y="93"/>
                </a:lnTo>
                <a:lnTo>
                  <a:pt x="18" y="91"/>
                </a:lnTo>
                <a:lnTo>
                  <a:pt x="17" y="90"/>
                </a:lnTo>
                <a:lnTo>
                  <a:pt x="16" y="88"/>
                </a:lnTo>
                <a:lnTo>
                  <a:pt x="15" y="87"/>
                </a:lnTo>
                <a:lnTo>
                  <a:pt x="13" y="83"/>
                </a:lnTo>
                <a:lnTo>
                  <a:pt x="13" y="82"/>
                </a:lnTo>
                <a:lnTo>
                  <a:pt x="12" y="81"/>
                </a:lnTo>
                <a:lnTo>
                  <a:pt x="10" y="78"/>
                </a:lnTo>
                <a:lnTo>
                  <a:pt x="9" y="77"/>
                </a:lnTo>
                <a:lnTo>
                  <a:pt x="9" y="76"/>
                </a:lnTo>
                <a:lnTo>
                  <a:pt x="9" y="76"/>
                </a:lnTo>
                <a:lnTo>
                  <a:pt x="9" y="75"/>
                </a:lnTo>
                <a:lnTo>
                  <a:pt x="9" y="75"/>
                </a:lnTo>
                <a:lnTo>
                  <a:pt x="9" y="73"/>
                </a:lnTo>
                <a:lnTo>
                  <a:pt x="10" y="72"/>
                </a:lnTo>
                <a:lnTo>
                  <a:pt x="11" y="71"/>
                </a:lnTo>
                <a:lnTo>
                  <a:pt x="12" y="70"/>
                </a:lnTo>
                <a:lnTo>
                  <a:pt x="12" y="70"/>
                </a:lnTo>
                <a:lnTo>
                  <a:pt x="13" y="69"/>
                </a:lnTo>
                <a:lnTo>
                  <a:pt x="16" y="67"/>
                </a:lnTo>
                <a:lnTo>
                  <a:pt x="17" y="66"/>
                </a:lnTo>
                <a:lnTo>
                  <a:pt x="18" y="66"/>
                </a:lnTo>
                <a:lnTo>
                  <a:pt x="18" y="65"/>
                </a:lnTo>
                <a:lnTo>
                  <a:pt x="18" y="64"/>
                </a:lnTo>
                <a:lnTo>
                  <a:pt x="18" y="64"/>
                </a:lnTo>
                <a:lnTo>
                  <a:pt x="18" y="63"/>
                </a:lnTo>
                <a:lnTo>
                  <a:pt x="18" y="62"/>
                </a:lnTo>
                <a:lnTo>
                  <a:pt x="17" y="62"/>
                </a:lnTo>
                <a:lnTo>
                  <a:pt x="15" y="60"/>
                </a:lnTo>
                <a:lnTo>
                  <a:pt x="12" y="56"/>
                </a:lnTo>
                <a:lnTo>
                  <a:pt x="9" y="53"/>
                </a:lnTo>
                <a:lnTo>
                  <a:pt x="7" y="51"/>
                </a:lnTo>
                <a:lnTo>
                  <a:pt x="6" y="51"/>
                </a:lnTo>
                <a:lnTo>
                  <a:pt x="5" y="50"/>
                </a:lnTo>
                <a:lnTo>
                  <a:pt x="4" y="49"/>
                </a:lnTo>
                <a:lnTo>
                  <a:pt x="2" y="48"/>
                </a:lnTo>
                <a:lnTo>
                  <a:pt x="1" y="48"/>
                </a:lnTo>
                <a:lnTo>
                  <a:pt x="1" y="47"/>
                </a:lnTo>
                <a:lnTo>
                  <a:pt x="0" y="47"/>
                </a:lnTo>
                <a:lnTo>
                  <a:pt x="0" y="47"/>
                </a:lnTo>
                <a:lnTo>
                  <a:pt x="0" y="46"/>
                </a:lnTo>
                <a:lnTo>
                  <a:pt x="0" y="46"/>
                </a:lnTo>
                <a:lnTo>
                  <a:pt x="1" y="45"/>
                </a:lnTo>
                <a:lnTo>
                  <a:pt x="1" y="45"/>
                </a:lnTo>
                <a:lnTo>
                  <a:pt x="2" y="44"/>
                </a:lnTo>
                <a:lnTo>
                  <a:pt x="3" y="43"/>
                </a:lnTo>
                <a:lnTo>
                  <a:pt x="5" y="43"/>
                </a:lnTo>
                <a:lnTo>
                  <a:pt x="9" y="41"/>
                </a:lnTo>
                <a:lnTo>
                  <a:pt x="12" y="40"/>
                </a:lnTo>
                <a:lnTo>
                  <a:pt x="15" y="39"/>
                </a:lnTo>
                <a:lnTo>
                  <a:pt x="19" y="38"/>
                </a:lnTo>
                <a:lnTo>
                  <a:pt x="21" y="37"/>
                </a:lnTo>
                <a:lnTo>
                  <a:pt x="23" y="36"/>
                </a:lnTo>
                <a:lnTo>
                  <a:pt x="26" y="35"/>
                </a:lnTo>
                <a:lnTo>
                  <a:pt x="27" y="34"/>
                </a:lnTo>
                <a:lnTo>
                  <a:pt x="28" y="34"/>
                </a:lnTo>
                <a:lnTo>
                  <a:pt x="29" y="34"/>
                </a:lnTo>
                <a:lnTo>
                  <a:pt x="30" y="34"/>
                </a:lnTo>
                <a:lnTo>
                  <a:pt x="31" y="34"/>
                </a:lnTo>
                <a:lnTo>
                  <a:pt x="32" y="34"/>
                </a:lnTo>
                <a:lnTo>
                  <a:pt x="33" y="34"/>
                </a:lnTo>
                <a:lnTo>
                  <a:pt x="34" y="35"/>
                </a:lnTo>
                <a:lnTo>
                  <a:pt x="36" y="36"/>
                </a:lnTo>
                <a:lnTo>
                  <a:pt x="37" y="37"/>
                </a:lnTo>
                <a:lnTo>
                  <a:pt x="39" y="37"/>
                </a:lnTo>
                <a:lnTo>
                  <a:pt x="40" y="37"/>
                </a:lnTo>
                <a:lnTo>
                  <a:pt x="42" y="38"/>
                </a:lnTo>
                <a:lnTo>
                  <a:pt x="44" y="38"/>
                </a:lnTo>
                <a:lnTo>
                  <a:pt x="46" y="38"/>
                </a:lnTo>
                <a:lnTo>
                  <a:pt x="47" y="37"/>
                </a:lnTo>
                <a:lnTo>
                  <a:pt x="48" y="37"/>
                </a:lnTo>
                <a:lnTo>
                  <a:pt x="49" y="36"/>
                </a:lnTo>
                <a:lnTo>
                  <a:pt x="50" y="36"/>
                </a:lnTo>
                <a:lnTo>
                  <a:pt x="50" y="35"/>
                </a:lnTo>
                <a:lnTo>
                  <a:pt x="50" y="34"/>
                </a:lnTo>
                <a:lnTo>
                  <a:pt x="51" y="32"/>
                </a:lnTo>
                <a:lnTo>
                  <a:pt x="52" y="29"/>
                </a:lnTo>
                <a:lnTo>
                  <a:pt x="52" y="27"/>
                </a:lnTo>
                <a:lnTo>
                  <a:pt x="53" y="26"/>
                </a:lnTo>
                <a:lnTo>
                  <a:pt x="54" y="25"/>
                </a:lnTo>
                <a:lnTo>
                  <a:pt x="54" y="24"/>
                </a:lnTo>
                <a:lnTo>
                  <a:pt x="55" y="23"/>
                </a:lnTo>
                <a:lnTo>
                  <a:pt x="56" y="22"/>
                </a:lnTo>
                <a:lnTo>
                  <a:pt x="57" y="22"/>
                </a:lnTo>
                <a:lnTo>
                  <a:pt x="58" y="21"/>
                </a:lnTo>
                <a:lnTo>
                  <a:pt x="59" y="21"/>
                </a:lnTo>
                <a:lnTo>
                  <a:pt x="60" y="21"/>
                </a:lnTo>
                <a:lnTo>
                  <a:pt x="62" y="20"/>
                </a:lnTo>
                <a:lnTo>
                  <a:pt x="66" y="20"/>
                </a:lnTo>
                <a:lnTo>
                  <a:pt x="68" y="20"/>
                </a:lnTo>
                <a:lnTo>
                  <a:pt x="69" y="20"/>
                </a:lnTo>
                <a:lnTo>
                  <a:pt x="73" y="18"/>
                </a:lnTo>
                <a:lnTo>
                  <a:pt x="75" y="18"/>
                </a:lnTo>
                <a:lnTo>
                  <a:pt x="77" y="17"/>
                </a:lnTo>
                <a:lnTo>
                  <a:pt x="83" y="14"/>
                </a:lnTo>
                <a:lnTo>
                  <a:pt x="84" y="13"/>
                </a:lnTo>
                <a:lnTo>
                  <a:pt x="85" y="13"/>
                </a:lnTo>
                <a:lnTo>
                  <a:pt x="90" y="11"/>
                </a:lnTo>
                <a:lnTo>
                  <a:pt x="93" y="10"/>
                </a:lnTo>
                <a:lnTo>
                  <a:pt x="95" y="9"/>
                </a:lnTo>
                <a:lnTo>
                  <a:pt x="99" y="7"/>
                </a:lnTo>
                <a:lnTo>
                  <a:pt x="100" y="6"/>
                </a:lnTo>
                <a:lnTo>
                  <a:pt x="102" y="5"/>
                </a:lnTo>
                <a:lnTo>
                  <a:pt x="106" y="4"/>
                </a:lnTo>
                <a:lnTo>
                  <a:pt x="109" y="3"/>
                </a:lnTo>
                <a:lnTo>
                  <a:pt x="112" y="3"/>
                </a:lnTo>
                <a:lnTo>
                  <a:pt x="119" y="1"/>
                </a:lnTo>
                <a:lnTo>
                  <a:pt x="122" y="1"/>
                </a:lnTo>
                <a:lnTo>
                  <a:pt x="123" y="0"/>
                </a:lnTo>
                <a:lnTo>
                  <a:pt x="123" y="0"/>
                </a:lnTo>
                <a:lnTo>
                  <a:pt x="123" y="0"/>
                </a:lnTo>
                <a:lnTo>
                  <a:pt x="124" y="0"/>
                </a:lnTo>
                <a:close/>
              </a:path>
            </a:pathLst>
          </a:custGeom>
          <a:solidFill>
            <a:srgbClr val="7191D1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 260">
            <a:extLst>
              <a:ext uri="{FF2B5EF4-FFF2-40B4-BE49-F238E27FC236}">
                <a16:creationId xmlns:a16="http://schemas.microsoft.com/office/drawing/2014/main" id="{0239DF2D-150D-47F7-81D0-C02ADFCCC09E}"/>
              </a:ext>
            </a:extLst>
          </p:cNvPr>
          <p:cNvSpPr>
            <a:spLocks noEditPoints="1"/>
          </p:cNvSpPr>
          <p:nvPr/>
        </p:nvSpPr>
        <p:spPr bwMode="auto">
          <a:xfrm>
            <a:off x="7439814" y="3585287"/>
            <a:ext cx="1706848" cy="1511831"/>
          </a:xfrm>
          <a:custGeom>
            <a:avLst/>
            <a:gdLst>
              <a:gd name="T0" fmla="*/ 691 w 898"/>
              <a:gd name="T1" fmla="*/ 30 h 727"/>
              <a:gd name="T2" fmla="*/ 725 w 898"/>
              <a:gd name="T3" fmla="*/ 76 h 727"/>
              <a:gd name="T4" fmla="*/ 732 w 898"/>
              <a:gd name="T5" fmla="*/ 149 h 727"/>
              <a:gd name="T6" fmla="*/ 745 w 898"/>
              <a:gd name="T7" fmla="*/ 182 h 727"/>
              <a:gd name="T8" fmla="*/ 784 w 898"/>
              <a:gd name="T9" fmla="*/ 215 h 727"/>
              <a:gd name="T10" fmla="*/ 832 w 898"/>
              <a:gd name="T11" fmla="*/ 248 h 727"/>
              <a:gd name="T12" fmla="*/ 826 w 898"/>
              <a:gd name="T13" fmla="*/ 308 h 727"/>
              <a:gd name="T14" fmla="*/ 849 w 898"/>
              <a:gd name="T15" fmla="*/ 338 h 727"/>
              <a:gd name="T16" fmla="*/ 838 w 898"/>
              <a:gd name="T17" fmla="*/ 370 h 727"/>
              <a:gd name="T18" fmla="*/ 855 w 898"/>
              <a:gd name="T19" fmla="*/ 397 h 727"/>
              <a:gd name="T20" fmla="*/ 895 w 898"/>
              <a:gd name="T21" fmla="*/ 430 h 727"/>
              <a:gd name="T22" fmla="*/ 884 w 898"/>
              <a:gd name="T23" fmla="*/ 498 h 727"/>
              <a:gd name="T24" fmla="*/ 857 w 898"/>
              <a:gd name="T25" fmla="*/ 534 h 727"/>
              <a:gd name="T26" fmla="*/ 799 w 898"/>
              <a:gd name="T27" fmla="*/ 560 h 727"/>
              <a:gd name="T28" fmla="*/ 752 w 898"/>
              <a:gd name="T29" fmla="*/ 599 h 727"/>
              <a:gd name="T30" fmla="*/ 778 w 898"/>
              <a:gd name="T31" fmla="*/ 647 h 727"/>
              <a:gd name="T32" fmla="*/ 741 w 898"/>
              <a:gd name="T33" fmla="*/ 671 h 727"/>
              <a:gd name="T34" fmla="*/ 668 w 898"/>
              <a:gd name="T35" fmla="*/ 666 h 727"/>
              <a:gd name="T36" fmla="*/ 644 w 898"/>
              <a:gd name="T37" fmla="*/ 701 h 727"/>
              <a:gd name="T38" fmla="*/ 608 w 898"/>
              <a:gd name="T39" fmla="*/ 679 h 727"/>
              <a:gd name="T40" fmla="*/ 559 w 898"/>
              <a:gd name="T41" fmla="*/ 678 h 727"/>
              <a:gd name="T42" fmla="*/ 522 w 898"/>
              <a:gd name="T43" fmla="*/ 726 h 727"/>
              <a:gd name="T44" fmla="*/ 481 w 898"/>
              <a:gd name="T45" fmla="*/ 710 h 727"/>
              <a:gd name="T46" fmla="*/ 422 w 898"/>
              <a:gd name="T47" fmla="*/ 698 h 727"/>
              <a:gd name="T48" fmla="*/ 386 w 898"/>
              <a:gd name="T49" fmla="*/ 706 h 727"/>
              <a:gd name="T50" fmla="*/ 337 w 898"/>
              <a:gd name="T51" fmla="*/ 707 h 727"/>
              <a:gd name="T52" fmla="*/ 276 w 898"/>
              <a:gd name="T53" fmla="*/ 692 h 727"/>
              <a:gd name="T54" fmla="*/ 227 w 898"/>
              <a:gd name="T55" fmla="*/ 722 h 727"/>
              <a:gd name="T56" fmla="*/ 179 w 898"/>
              <a:gd name="T57" fmla="*/ 720 h 727"/>
              <a:gd name="T58" fmla="*/ 141 w 898"/>
              <a:gd name="T59" fmla="*/ 698 h 727"/>
              <a:gd name="T60" fmla="*/ 123 w 898"/>
              <a:gd name="T61" fmla="*/ 645 h 727"/>
              <a:gd name="T62" fmla="*/ 119 w 898"/>
              <a:gd name="T63" fmla="*/ 622 h 727"/>
              <a:gd name="T64" fmla="*/ 112 w 898"/>
              <a:gd name="T65" fmla="*/ 600 h 727"/>
              <a:gd name="T66" fmla="*/ 159 w 898"/>
              <a:gd name="T67" fmla="*/ 571 h 727"/>
              <a:gd name="T68" fmla="*/ 167 w 898"/>
              <a:gd name="T69" fmla="*/ 519 h 727"/>
              <a:gd name="T70" fmla="*/ 152 w 898"/>
              <a:gd name="T71" fmla="*/ 440 h 727"/>
              <a:gd name="T72" fmla="*/ 103 w 898"/>
              <a:gd name="T73" fmla="*/ 402 h 727"/>
              <a:gd name="T74" fmla="*/ 47 w 898"/>
              <a:gd name="T75" fmla="*/ 381 h 727"/>
              <a:gd name="T76" fmla="*/ 2 w 898"/>
              <a:gd name="T77" fmla="*/ 376 h 727"/>
              <a:gd name="T78" fmla="*/ 9 w 898"/>
              <a:gd name="T79" fmla="*/ 332 h 727"/>
              <a:gd name="T80" fmla="*/ 39 w 898"/>
              <a:gd name="T81" fmla="*/ 297 h 727"/>
              <a:gd name="T82" fmla="*/ 102 w 898"/>
              <a:gd name="T83" fmla="*/ 258 h 727"/>
              <a:gd name="T84" fmla="*/ 163 w 898"/>
              <a:gd name="T85" fmla="*/ 242 h 727"/>
              <a:gd name="T86" fmla="*/ 213 w 898"/>
              <a:gd name="T87" fmla="*/ 224 h 727"/>
              <a:gd name="T88" fmla="*/ 249 w 898"/>
              <a:gd name="T89" fmla="*/ 188 h 727"/>
              <a:gd name="T90" fmla="*/ 335 w 898"/>
              <a:gd name="T91" fmla="*/ 181 h 727"/>
              <a:gd name="T92" fmla="*/ 408 w 898"/>
              <a:gd name="T93" fmla="*/ 171 h 727"/>
              <a:gd name="T94" fmla="*/ 426 w 898"/>
              <a:gd name="T95" fmla="*/ 126 h 727"/>
              <a:gd name="T96" fmla="*/ 450 w 898"/>
              <a:gd name="T97" fmla="*/ 83 h 727"/>
              <a:gd name="T98" fmla="*/ 482 w 898"/>
              <a:gd name="T99" fmla="*/ 76 h 727"/>
              <a:gd name="T100" fmla="*/ 514 w 898"/>
              <a:gd name="T101" fmla="*/ 92 h 727"/>
              <a:gd name="T102" fmla="*/ 573 w 898"/>
              <a:gd name="T103" fmla="*/ 45 h 727"/>
              <a:gd name="T104" fmla="*/ 619 w 898"/>
              <a:gd name="T105" fmla="*/ 29 h 727"/>
              <a:gd name="T106" fmla="*/ 429 w 898"/>
              <a:gd name="T107" fmla="*/ 306 h 727"/>
              <a:gd name="T108" fmla="*/ 380 w 898"/>
              <a:gd name="T109" fmla="*/ 323 h 727"/>
              <a:gd name="T110" fmla="*/ 364 w 898"/>
              <a:gd name="T111" fmla="*/ 359 h 727"/>
              <a:gd name="T112" fmla="*/ 382 w 898"/>
              <a:gd name="T113" fmla="*/ 405 h 727"/>
              <a:gd name="T114" fmla="*/ 398 w 898"/>
              <a:gd name="T115" fmla="*/ 437 h 727"/>
              <a:gd name="T116" fmla="*/ 464 w 898"/>
              <a:gd name="T117" fmla="*/ 409 h 727"/>
              <a:gd name="T118" fmla="*/ 522 w 898"/>
              <a:gd name="T119" fmla="*/ 405 h 727"/>
              <a:gd name="T120" fmla="*/ 544 w 898"/>
              <a:gd name="T121" fmla="*/ 356 h 727"/>
              <a:gd name="T122" fmla="*/ 504 w 898"/>
              <a:gd name="T123" fmla="*/ 314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98" h="727">
                <a:moveTo>
                  <a:pt x="639" y="0"/>
                </a:moveTo>
                <a:lnTo>
                  <a:pt x="640" y="1"/>
                </a:lnTo>
                <a:lnTo>
                  <a:pt x="641" y="1"/>
                </a:lnTo>
                <a:lnTo>
                  <a:pt x="642" y="2"/>
                </a:lnTo>
                <a:lnTo>
                  <a:pt x="642" y="2"/>
                </a:lnTo>
                <a:lnTo>
                  <a:pt x="645" y="5"/>
                </a:lnTo>
                <a:lnTo>
                  <a:pt x="646" y="6"/>
                </a:lnTo>
                <a:lnTo>
                  <a:pt x="648" y="7"/>
                </a:lnTo>
                <a:lnTo>
                  <a:pt x="651" y="9"/>
                </a:lnTo>
                <a:lnTo>
                  <a:pt x="652" y="10"/>
                </a:lnTo>
                <a:lnTo>
                  <a:pt x="653" y="11"/>
                </a:lnTo>
                <a:lnTo>
                  <a:pt x="654" y="13"/>
                </a:lnTo>
                <a:lnTo>
                  <a:pt x="654" y="13"/>
                </a:lnTo>
                <a:lnTo>
                  <a:pt x="655" y="14"/>
                </a:lnTo>
                <a:lnTo>
                  <a:pt x="656" y="14"/>
                </a:lnTo>
                <a:lnTo>
                  <a:pt x="657" y="15"/>
                </a:lnTo>
                <a:lnTo>
                  <a:pt x="658" y="15"/>
                </a:lnTo>
                <a:lnTo>
                  <a:pt x="658" y="15"/>
                </a:lnTo>
                <a:lnTo>
                  <a:pt x="659" y="14"/>
                </a:lnTo>
                <a:lnTo>
                  <a:pt x="660" y="14"/>
                </a:lnTo>
                <a:lnTo>
                  <a:pt x="660" y="14"/>
                </a:lnTo>
                <a:lnTo>
                  <a:pt x="662" y="13"/>
                </a:lnTo>
                <a:lnTo>
                  <a:pt x="663" y="12"/>
                </a:lnTo>
                <a:lnTo>
                  <a:pt x="664" y="11"/>
                </a:lnTo>
                <a:lnTo>
                  <a:pt x="665" y="11"/>
                </a:lnTo>
                <a:lnTo>
                  <a:pt x="666" y="11"/>
                </a:lnTo>
                <a:lnTo>
                  <a:pt x="667" y="11"/>
                </a:lnTo>
                <a:lnTo>
                  <a:pt x="668" y="11"/>
                </a:lnTo>
                <a:lnTo>
                  <a:pt x="672" y="12"/>
                </a:lnTo>
                <a:lnTo>
                  <a:pt x="673" y="12"/>
                </a:lnTo>
                <a:lnTo>
                  <a:pt x="674" y="12"/>
                </a:lnTo>
                <a:lnTo>
                  <a:pt x="675" y="13"/>
                </a:lnTo>
                <a:lnTo>
                  <a:pt x="676" y="13"/>
                </a:lnTo>
                <a:lnTo>
                  <a:pt x="677" y="14"/>
                </a:lnTo>
                <a:lnTo>
                  <a:pt x="678" y="16"/>
                </a:lnTo>
                <a:lnTo>
                  <a:pt x="682" y="20"/>
                </a:lnTo>
                <a:lnTo>
                  <a:pt x="688" y="27"/>
                </a:lnTo>
                <a:lnTo>
                  <a:pt x="691" y="30"/>
                </a:lnTo>
                <a:lnTo>
                  <a:pt x="692" y="30"/>
                </a:lnTo>
                <a:lnTo>
                  <a:pt x="692" y="31"/>
                </a:lnTo>
                <a:lnTo>
                  <a:pt x="693" y="32"/>
                </a:lnTo>
                <a:lnTo>
                  <a:pt x="695" y="32"/>
                </a:lnTo>
                <a:lnTo>
                  <a:pt x="696" y="33"/>
                </a:lnTo>
                <a:lnTo>
                  <a:pt x="699" y="34"/>
                </a:lnTo>
                <a:lnTo>
                  <a:pt x="700" y="34"/>
                </a:lnTo>
                <a:lnTo>
                  <a:pt x="701" y="35"/>
                </a:lnTo>
                <a:lnTo>
                  <a:pt x="703" y="36"/>
                </a:lnTo>
                <a:lnTo>
                  <a:pt x="705" y="38"/>
                </a:lnTo>
                <a:lnTo>
                  <a:pt x="708" y="40"/>
                </a:lnTo>
                <a:lnTo>
                  <a:pt x="709" y="41"/>
                </a:lnTo>
                <a:lnTo>
                  <a:pt x="710" y="42"/>
                </a:lnTo>
                <a:lnTo>
                  <a:pt x="711" y="43"/>
                </a:lnTo>
                <a:lnTo>
                  <a:pt x="712" y="45"/>
                </a:lnTo>
                <a:lnTo>
                  <a:pt x="713" y="46"/>
                </a:lnTo>
                <a:lnTo>
                  <a:pt x="715" y="50"/>
                </a:lnTo>
                <a:lnTo>
                  <a:pt x="716" y="52"/>
                </a:lnTo>
                <a:lnTo>
                  <a:pt x="717" y="53"/>
                </a:lnTo>
                <a:lnTo>
                  <a:pt x="718" y="53"/>
                </a:lnTo>
                <a:lnTo>
                  <a:pt x="719" y="55"/>
                </a:lnTo>
                <a:lnTo>
                  <a:pt x="720" y="55"/>
                </a:lnTo>
                <a:lnTo>
                  <a:pt x="721" y="56"/>
                </a:lnTo>
                <a:lnTo>
                  <a:pt x="722" y="57"/>
                </a:lnTo>
                <a:lnTo>
                  <a:pt x="724" y="58"/>
                </a:lnTo>
                <a:lnTo>
                  <a:pt x="727" y="59"/>
                </a:lnTo>
                <a:lnTo>
                  <a:pt x="733" y="62"/>
                </a:lnTo>
                <a:lnTo>
                  <a:pt x="734" y="62"/>
                </a:lnTo>
                <a:lnTo>
                  <a:pt x="736" y="63"/>
                </a:lnTo>
                <a:lnTo>
                  <a:pt x="735" y="64"/>
                </a:lnTo>
                <a:lnTo>
                  <a:pt x="733" y="66"/>
                </a:lnTo>
                <a:lnTo>
                  <a:pt x="730" y="69"/>
                </a:lnTo>
                <a:lnTo>
                  <a:pt x="728" y="71"/>
                </a:lnTo>
                <a:lnTo>
                  <a:pt x="727" y="72"/>
                </a:lnTo>
                <a:lnTo>
                  <a:pt x="726" y="73"/>
                </a:lnTo>
                <a:lnTo>
                  <a:pt x="726" y="74"/>
                </a:lnTo>
                <a:lnTo>
                  <a:pt x="726" y="75"/>
                </a:lnTo>
                <a:lnTo>
                  <a:pt x="725" y="76"/>
                </a:lnTo>
                <a:lnTo>
                  <a:pt x="725" y="77"/>
                </a:lnTo>
                <a:lnTo>
                  <a:pt x="725" y="78"/>
                </a:lnTo>
                <a:lnTo>
                  <a:pt x="726" y="79"/>
                </a:lnTo>
                <a:lnTo>
                  <a:pt x="726" y="80"/>
                </a:lnTo>
                <a:lnTo>
                  <a:pt x="728" y="83"/>
                </a:lnTo>
                <a:lnTo>
                  <a:pt x="729" y="85"/>
                </a:lnTo>
                <a:lnTo>
                  <a:pt x="729" y="87"/>
                </a:lnTo>
                <a:lnTo>
                  <a:pt x="730" y="90"/>
                </a:lnTo>
                <a:lnTo>
                  <a:pt x="731" y="93"/>
                </a:lnTo>
                <a:lnTo>
                  <a:pt x="732" y="94"/>
                </a:lnTo>
                <a:lnTo>
                  <a:pt x="732" y="95"/>
                </a:lnTo>
                <a:lnTo>
                  <a:pt x="732" y="96"/>
                </a:lnTo>
                <a:lnTo>
                  <a:pt x="732" y="99"/>
                </a:lnTo>
                <a:lnTo>
                  <a:pt x="732" y="105"/>
                </a:lnTo>
                <a:lnTo>
                  <a:pt x="732" y="107"/>
                </a:lnTo>
                <a:lnTo>
                  <a:pt x="732" y="109"/>
                </a:lnTo>
                <a:lnTo>
                  <a:pt x="732" y="110"/>
                </a:lnTo>
                <a:lnTo>
                  <a:pt x="733" y="111"/>
                </a:lnTo>
                <a:lnTo>
                  <a:pt x="734" y="112"/>
                </a:lnTo>
                <a:lnTo>
                  <a:pt x="735" y="114"/>
                </a:lnTo>
                <a:lnTo>
                  <a:pt x="736" y="115"/>
                </a:lnTo>
                <a:lnTo>
                  <a:pt x="736" y="117"/>
                </a:lnTo>
                <a:lnTo>
                  <a:pt x="737" y="118"/>
                </a:lnTo>
                <a:lnTo>
                  <a:pt x="738" y="119"/>
                </a:lnTo>
                <a:lnTo>
                  <a:pt x="739" y="125"/>
                </a:lnTo>
                <a:lnTo>
                  <a:pt x="739" y="127"/>
                </a:lnTo>
                <a:lnTo>
                  <a:pt x="739" y="128"/>
                </a:lnTo>
                <a:lnTo>
                  <a:pt x="739" y="130"/>
                </a:lnTo>
                <a:lnTo>
                  <a:pt x="739" y="132"/>
                </a:lnTo>
                <a:lnTo>
                  <a:pt x="739" y="134"/>
                </a:lnTo>
                <a:lnTo>
                  <a:pt x="738" y="136"/>
                </a:lnTo>
                <a:lnTo>
                  <a:pt x="738" y="137"/>
                </a:lnTo>
                <a:lnTo>
                  <a:pt x="737" y="138"/>
                </a:lnTo>
                <a:lnTo>
                  <a:pt x="735" y="142"/>
                </a:lnTo>
                <a:lnTo>
                  <a:pt x="734" y="143"/>
                </a:lnTo>
                <a:lnTo>
                  <a:pt x="734" y="144"/>
                </a:lnTo>
                <a:lnTo>
                  <a:pt x="732" y="148"/>
                </a:lnTo>
                <a:lnTo>
                  <a:pt x="732" y="149"/>
                </a:lnTo>
                <a:lnTo>
                  <a:pt x="731" y="150"/>
                </a:lnTo>
                <a:lnTo>
                  <a:pt x="731" y="150"/>
                </a:lnTo>
                <a:lnTo>
                  <a:pt x="730" y="151"/>
                </a:lnTo>
                <a:lnTo>
                  <a:pt x="729" y="152"/>
                </a:lnTo>
                <a:lnTo>
                  <a:pt x="726" y="153"/>
                </a:lnTo>
                <a:lnTo>
                  <a:pt x="725" y="154"/>
                </a:lnTo>
                <a:lnTo>
                  <a:pt x="724" y="154"/>
                </a:lnTo>
                <a:lnTo>
                  <a:pt x="724" y="155"/>
                </a:lnTo>
                <a:lnTo>
                  <a:pt x="723" y="156"/>
                </a:lnTo>
                <a:lnTo>
                  <a:pt x="722" y="157"/>
                </a:lnTo>
                <a:lnTo>
                  <a:pt x="722" y="158"/>
                </a:lnTo>
                <a:lnTo>
                  <a:pt x="722" y="159"/>
                </a:lnTo>
                <a:lnTo>
                  <a:pt x="722" y="160"/>
                </a:lnTo>
                <a:lnTo>
                  <a:pt x="722" y="161"/>
                </a:lnTo>
                <a:lnTo>
                  <a:pt x="722" y="162"/>
                </a:lnTo>
                <a:lnTo>
                  <a:pt x="723" y="163"/>
                </a:lnTo>
                <a:lnTo>
                  <a:pt x="723" y="164"/>
                </a:lnTo>
                <a:lnTo>
                  <a:pt x="725" y="167"/>
                </a:lnTo>
                <a:lnTo>
                  <a:pt x="726" y="168"/>
                </a:lnTo>
                <a:lnTo>
                  <a:pt x="726" y="169"/>
                </a:lnTo>
                <a:lnTo>
                  <a:pt x="727" y="171"/>
                </a:lnTo>
                <a:lnTo>
                  <a:pt x="727" y="173"/>
                </a:lnTo>
                <a:lnTo>
                  <a:pt x="728" y="174"/>
                </a:lnTo>
                <a:lnTo>
                  <a:pt x="728" y="175"/>
                </a:lnTo>
                <a:lnTo>
                  <a:pt x="729" y="176"/>
                </a:lnTo>
                <a:lnTo>
                  <a:pt x="730" y="177"/>
                </a:lnTo>
                <a:lnTo>
                  <a:pt x="731" y="177"/>
                </a:lnTo>
                <a:lnTo>
                  <a:pt x="732" y="178"/>
                </a:lnTo>
                <a:lnTo>
                  <a:pt x="733" y="179"/>
                </a:lnTo>
                <a:lnTo>
                  <a:pt x="734" y="179"/>
                </a:lnTo>
                <a:lnTo>
                  <a:pt x="735" y="180"/>
                </a:lnTo>
                <a:lnTo>
                  <a:pt x="736" y="180"/>
                </a:lnTo>
                <a:lnTo>
                  <a:pt x="737" y="180"/>
                </a:lnTo>
                <a:lnTo>
                  <a:pt x="738" y="181"/>
                </a:lnTo>
                <a:lnTo>
                  <a:pt x="739" y="181"/>
                </a:lnTo>
                <a:lnTo>
                  <a:pt x="743" y="181"/>
                </a:lnTo>
                <a:lnTo>
                  <a:pt x="744" y="181"/>
                </a:lnTo>
                <a:lnTo>
                  <a:pt x="745" y="182"/>
                </a:lnTo>
                <a:lnTo>
                  <a:pt x="747" y="182"/>
                </a:lnTo>
                <a:lnTo>
                  <a:pt x="748" y="183"/>
                </a:lnTo>
                <a:lnTo>
                  <a:pt x="749" y="184"/>
                </a:lnTo>
                <a:lnTo>
                  <a:pt x="750" y="184"/>
                </a:lnTo>
                <a:lnTo>
                  <a:pt x="751" y="185"/>
                </a:lnTo>
                <a:lnTo>
                  <a:pt x="752" y="187"/>
                </a:lnTo>
                <a:lnTo>
                  <a:pt x="753" y="188"/>
                </a:lnTo>
                <a:lnTo>
                  <a:pt x="754" y="189"/>
                </a:lnTo>
                <a:lnTo>
                  <a:pt x="756" y="191"/>
                </a:lnTo>
                <a:lnTo>
                  <a:pt x="758" y="192"/>
                </a:lnTo>
                <a:lnTo>
                  <a:pt x="760" y="194"/>
                </a:lnTo>
                <a:lnTo>
                  <a:pt x="760" y="195"/>
                </a:lnTo>
                <a:lnTo>
                  <a:pt x="761" y="196"/>
                </a:lnTo>
                <a:lnTo>
                  <a:pt x="762" y="197"/>
                </a:lnTo>
                <a:lnTo>
                  <a:pt x="762" y="198"/>
                </a:lnTo>
                <a:lnTo>
                  <a:pt x="762" y="199"/>
                </a:lnTo>
                <a:lnTo>
                  <a:pt x="762" y="202"/>
                </a:lnTo>
                <a:lnTo>
                  <a:pt x="762" y="204"/>
                </a:lnTo>
                <a:lnTo>
                  <a:pt x="762" y="205"/>
                </a:lnTo>
                <a:lnTo>
                  <a:pt x="763" y="207"/>
                </a:lnTo>
                <a:lnTo>
                  <a:pt x="763" y="208"/>
                </a:lnTo>
                <a:lnTo>
                  <a:pt x="764" y="209"/>
                </a:lnTo>
                <a:lnTo>
                  <a:pt x="764" y="210"/>
                </a:lnTo>
                <a:lnTo>
                  <a:pt x="764" y="211"/>
                </a:lnTo>
                <a:lnTo>
                  <a:pt x="765" y="211"/>
                </a:lnTo>
                <a:lnTo>
                  <a:pt x="766" y="212"/>
                </a:lnTo>
                <a:lnTo>
                  <a:pt x="767" y="213"/>
                </a:lnTo>
                <a:lnTo>
                  <a:pt x="768" y="214"/>
                </a:lnTo>
                <a:lnTo>
                  <a:pt x="769" y="214"/>
                </a:lnTo>
                <a:lnTo>
                  <a:pt x="770" y="215"/>
                </a:lnTo>
                <a:lnTo>
                  <a:pt x="771" y="215"/>
                </a:lnTo>
                <a:lnTo>
                  <a:pt x="772" y="216"/>
                </a:lnTo>
                <a:lnTo>
                  <a:pt x="773" y="216"/>
                </a:lnTo>
                <a:lnTo>
                  <a:pt x="774" y="216"/>
                </a:lnTo>
                <a:lnTo>
                  <a:pt x="775" y="216"/>
                </a:lnTo>
                <a:lnTo>
                  <a:pt x="776" y="216"/>
                </a:lnTo>
                <a:lnTo>
                  <a:pt x="783" y="215"/>
                </a:lnTo>
                <a:lnTo>
                  <a:pt x="784" y="215"/>
                </a:lnTo>
                <a:lnTo>
                  <a:pt x="786" y="215"/>
                </a:lnTo>
                <a:lnTo>
                  <a:pt x="792" y="216"/>
                </a:lnTo>
                <a:lnTo>
                  <a:pt x="795" y="216"/>
                </a:lnTo>
                <a:lnTo>
                  <a:pt x="800" y="217"/>
                </a:lnTo>
                <a:lnTo>
                  <a:pt x="801" y="217"/>
                </a:lnTo>
                <a:lnTo>
                  <a:pt x="803" y="217"/>
                </a:lnTo>
                <a:lnTo>
                  <a:pt x="804" y="217"/>
                </a:lnTo>
                <a:lnTo>
                  <a:pt x="806" y="216"/>
                </a:lnTo>
                <a:lnTo>
                  <a:pt x="811" y="215"/>
                </a:lnTo>
                <a:lnTo>
                  <a:pt x="814" y="213"/>
                </a:lnTo>
                <a:lnTo>
                  <a:pt x="816" y="213"/>
                </a:lnTo>
                <a:lnTo>
                  <a:pt x="817" y="212"/>
                </a:lnTo>
                <a:lnTo>
                  <a:pt x="819" y="212"/>
                </a:lnTo>
                <a:lnTo>
                  <a:pt x="820" y="212"/>
                </a:lnTo>
                <a:lnTo>
                  <a:pt x="821" y="212"/>
                </a:lnTo>
                <a:lnTo>
                  <a:pt x="821" y="212"/>
                </a:lnTo>
                <a:lnTo>
                  <a:pt x="822" y="212"/>
                </a:lnTo>
                <a:lnTo>
                  <a:pt x="823" y="213"/>
                </a:lnTo>
                <a:lnTo>
                  <a:pt x="824" y="213"/>
                </a:lnTo>
                <a:lnTo>
                  <a:pt x="826" y="215"/>
                </a:lnTo>
                <a:lnTo>
                  <a:pt x="827" y="216"/>
                </a:lnTo>
                <a:lnTo>
                  <a:pt x="829" y="217"/>
                </a:lnTo>
                <a:lnTo>
                  <a:pt x="829" y="218"/>
                </a:lnTo>
                <a:lnTo>
                  <a:pt x="830" y="219"/>
                </a:lnTo>
                <a:lnTo>
                  <a:pt x="831" y="220"/>
                </a:lnTo>
                <a:lnTo>
                  <a:pt x="831" y="221"/>
                </a:lnTo>
                <a:lnTo>
                  <a:pt x="832" y="222"/>
                </a:lnTo>
                <a:lnTo>
                  <a:pt x="832" y="224"/>
                </a:lnTo>
                <a:lnTo>
                  <a:pt x="833" y="225"/>
                </a:lnTo>
                <a:lnTo>
                  <a:pt x="833" y="227"/>
                </a:lnTo>
                <a:lnTo>
                  <a:pt x="833" y="230"/>
                </a:lnTo>
                <a:lnTo>
                  <a:pt x="833" y="234"/>
                </a:lnTo>
                <a:lnTo>
                  <a:pt x="833" y="237"/>
                </a:lnTo>
                <a:lnTo>
                  <a:pt x="833" y="239"/>
                </a:lnTo>
                <a:lnTo>
                  <a:pt x="832" y="243"/>
                </a:lnTo>
                <a:lnTo>
                  <a:pt x="832" y="244"/>
                </a:lnTo>
                <a:lnTo>
                  <a:pt x="832" y="245"/>
                </a:lnTo>
                <a:lnTo>
                  <a:pt x="832" y="248"/>
                </a:lnTo>
                <a:lnTo>
                  <a:pt x="832" y="250"/>
                </a:lnTo>
                <a:lnTo>
                  <a:pt x="832" y="252"/>
                </a:lnTo>
                <a:lnTo>
                  <a:pt x="833" y="254"/>
                </a:lnTo>
                <a:lnTo>
                  <a:pt x="833" y="255"/>
                </a:lnTo>
                <a:lnTo>
                  <a:pt x="833" y="256"/>
                </a:lnTo>
                <a:lnTo>
                  <a:pt x="834" y="258"/>
                </a:lnTo>
                <a:lnTo>
                  <a:pt x="835" y="260"/>
                </a:lnTo>
                <a:lnTo>
                  <a:pt x="837" y="263"/>
                </a:lnTo>
                <a:lnTo>
                  <a:pt x="838" y="265"/>
                </a:lnTo>
                <a:lnTo>
                  <a:pt x="839" y="267"/>
                </a:lnTo>
                <a:lnTo>
                  <a:pt x="839" y="268"/>
                </a:lnTo>
                <a:lnTo>
                  <a:pt x="840" y="271"/>
                </a:lnTo>
                <a:lnTo>
                  <a:pt x="840" y="271"/>
                </a:lnTo>
                <a:lnTo>
                  <a:pt x="840" y="272"/>
                </a:lnTo>
                <a:lnTo>
                  <a:pt x="840" y="273"/>
                </a:lnTo>
                <a:lnTo>
                  <a:pt x="840" y="275"/>
                </a:lnTo>
                <a:lnTo>
                  <a:pt x="840" y="276"/>
                </a:lnTo>
                <a:lnTo>
                  <a:pt x="840" y="277"/>
                </a:lnTo>
                <a:lnTo>
                  <a:pt x="839" y="279"/>
                </a:lnTo>
                <a:lnTo>
                  <a:pt x="838" y="281"/>
                </a:lnTo>
                <a:lnTo>
                  <a:pt x="838" y="283"/>
                </a:lnTo>
                <a:lnTo>
                  <a:pt x="837" y="284"/>
                </a:lnTo>
                <a:lnTo>
                  <a:pt x="836" y="286"/>
                </a:lnTo>
                <a:lnTo>
                  <a:pt x="834" y="289"/>
                </a:lnTo>
                <a:lnTo>
                  <a:pt x="833" y="290"/>
                </a:lnTo>
                <a:lnTo>
                  <a:pt x="831" y="292"/>
                </a:lnTo>
                <a:lnTo>
                  <a:pt x="829" y="294"/>
                </a:lnTo>
                <a:lnTo>
                  <a:pt x="828" y="296"/>
                </a:lnTo>
                <a:lnTo>
                  <a:pt x="827" y="297"/>
                </a:lnTo>
                <a:lnTo>
                  <a:pt x="827" y="298"/>
                </a:lnTo>
                <a:lnTo>
                  <a:pt x="827" y="299"/>
                </a:lnTo>
                <a:lnTo>
                  <a:pt x="827" y="299"/>
                </a:lnTo>
                <a:lnTo>
                  <a:pt x="828" y="301"/>
                </a:lnTo>
                <a:lnTo>
                  <a:pt x="828" y="303"/>
                </a:lnTo>
                <a:lnTo>
                  <a:pt x="828" y="303"/>
                </a:lnTo>
                <a:lnTo>
                  <a:pt x="828" y="304"/>
                </a:lnTo>
                <a:lnTo>
                  <a:pt x="826" y="308"/>
                </a:lnTo>
                <a:lnTo>
                  <a:pt x="826" y="308"/>
                </a:lnTo>
                <a:lnTo>
                  <a:pt x="826" y="309"/>
                </a:lnTo>
                <a:lnTo>
                  <a:pt x="827" y="309"/>
                </a:lnTo>
                <a:lnTo>
                  <a:pt x="827" y="309"/>
                </a:lnTo>
                <a:lnTo>
                  <a:pt x="828" y="310"/>
                </a:lnTo>
                <a:lnTo>
                  <a:pt x="829" y="310"/>
                </a:lnTo>
                <a:lnTo>
                  <a:pt x="834" y="312"/>
                </a:lnTo>
                <a:lnTo>
                  <a:pt x="839" y="313"/>
                </a:lnTo>
                <a:lnTo>
                  <a:pt x="840" y="314"/>
                </a:lnTo>
                <a:lnTo>
                  <a:pt x="842" y="315"/>
                </a:lnTo>
                <a:lnTo>
                  <a:pt x="845" y="315"/>
                </a:lnTo>
                <a:lnTo>
                  <a:pt x="847" y="315"/>
                </a:lnTo>
                <a:lnTo>
                  <a:pt x="848" y="316"/>
                </a:lnTo>
                <a:lnTo>
                  <a:pt x="849" y="316"/>
                </a:lnTo>
                <a:lnTo>
                  <a:pt x="850" y="317"/>
                </a:lnTo>
                <a:lnTo>
                  <a:pt x="854" y="319"/>
                </a:lnTo>
                <a:lnTo>
                  <a:pt x="855" y="320"/>
                </a:lnTo>
                <a:lnTo>
                  <a:pt x="857" y="322"/>
                </a:lnTo>
                <a:lnTo>
                  <a:pt x="857" y="322"/>
                </a:lnTo>
                <a:lnTo>
                  <a:pt x="858" y="323"/>
                </a:lnTo>
                <a:lnTo>
                  <a:pt x="858" y="324"/>
                </a:lnTo>
                <a:lnTo>
                  <a:pt x="859" y="324"/>
                </a:lnTo>
                <a:lnTo>
                  <a:pt x="859" y="325"/>
                </a:lnTo>
                <a:lnTo>
                  <a:pt x="859" y="326"/>
                </a:lnTo>
                <a:lnTo>
                  <a:pt x="859" y="327"/>
                </a:lnTo>
                <a:lnTo>
                  <a:pt x="860" y="327"/>
                </a:lnTo>
                <a:lnTo>
                  <a:pt x="859" y="329"/>
                </a:lnTo>
                <a:lnTo>
                  <a:pt x="859" y="331"/>
                </a:lnTo>
                <a:lnTo>
                  <a:pt x="859" y="333"/>
                </a:lnTo>
                <a:lnTo>
                  <a:pt x="858" y="333"/>
                </a:lnTo>
                <a:lnTo>
                  <a:pt x="858" y="334"/>
                </a:lnTo>
                <a:lnTo>
                  <a:pt x="857" y="334"/>
                </a:lnTo>
                <a:lnTo>
                  <a:pt x="857" y="335"/>
                </a:lnTo>
                <a:lnTo>
                  <a:pt x="856" y="335"/>
                </a:lnTo>
                <a:lnTo>
                  <a:pt x="855" y="336"/>
                </a:lnTo>
                <a:lnTo>
                  <a:pt x="854" y="336"/>
                </a:lnTo>
                <a:lnTo>
                  <a:pt x="853" y="337"/>
                </a:lnTo>
                <a:lnTo>
                  <a:pt x="851" y="337"/>
                </a:lnTo>
                <a:lnTo>
                  <a:pt x="849" y="338"/>
                </a:lnTo>
                <a:lnTo>
                  <a:pt x="848" y="338"/>
                </a:lnTo>
                <a:lnTo>
                  <a:pt x="848" y="339"/>
                </a:lnTo>
                <a:lnTo>
                  <a:pt x="847" y="339"/>
                </a:lnTo>
                <a:lnTo>
                  <a:pt x="847" y="340"/>
                </a:lnTo>
                <a:lnTo>
                  <a:pt x="846" y="340"/>
                </a:lnTo>
                <a:lnTo>
                  <a:pt x="846" y="341"/>
                </a:lnTo>
                <a:lnTo>
                  <a:pt x="846" y="341"/>
                </a:lnTo>
                <a:lnTo>
                  <a:pt x="846" y="342"/>
                </a:lnTo>
                <a:lnTo>
                  <a:pt x="846" y="342"/>
                </a:lnTo>
                <a:lnTo>
                  <a:pt x="847" y="343"/>
                </a:lnTo>
                <a:lnTo>
                  <a:pt x="847" y="344"/>
                </a:lnTo>
                <a:lnTo>
                  <a:pt x="849" y="345"/>
                </a:lnTo>
                <a:lnTo>
                  <a:pt x="849" y="346"/>
                </a:lnTo>
                <a:lnTo>
                  <a:pt x="849" y="346"/>
                </a:lnTo>
                <a:lnTo>
                  <a:pt x="850" y="347"/>
                </a:lnTo>
                <a:lnTo>
                  <a:pt x="850" y="347"/>
                </a:lnTo>
                <a:lnTo>
                  <a:pt x="849" y="348"/>
                </a:lnTo>
                <a:lnTo>
                  <a:pt x="848" y="350"/>
                </a:lnTo>
                <a:lnTo>
                  <a:pt x="848" y="350"/>
                </a:lnTo>
                <a:lnTo>
                  <a:pt x="847" y="351"/>
                </a:lnTo>
                <a:lnTo>
                  <a:pt x="847" y="353"/>
                </a:lnTo>
                <a:lnTo>
                  <a:pt x="847" y="357"/>
                </a:lnTo>
                <a:lnTo>
                  <a:pt x="846" y="358"/>
                </a:lnTo>
                <a:lnTo>
                  <a:pt x="846" y="359"/>
                </a:lnTo>
                <a:lnTo>
                  <a:pt x="846" y="360"/>
                </a:lnTo>
                <a:lnTo>
                  <a:pt x="845" y="361"/>
                </a:lnTo>
                <a:lnTo>
                  <a:pt x="845" y="362"/>
                </a:lnTo>
                <a:lnTo>
                  <a:pt x="844" y="362"/>
                </a:lnTo>
                <a:lnTo>
                  <a:pt x="843" y="363"/>
                </a:lnTo>
                <a:lnTo>
                  <a:pt x="842" y="364"/>
                </a:lnTo>
                <a:lnTo>
                  <a:pt x="839" y="366"/>
                </a:lnTo>
                <a:lnTo>
                  <a:pt x="838" y="367"/>
                </a:lnTo>
                <a:lnTo>
                  <a:pt x="838" y="368"/>
                </a:lnTo>
                <a:lnTo>
                  <a:pt x="838" y="368"/>
                </a:lnTo>
                <a:lnTo>
                  <a:pt x="838" y="369"/>
                </a:lnTo>
                <a:lnTo>
                  <a:pt x="838" y="369"/>
                </a:lnTo>
                <a:lnTo>
                  <a:pt x="838" y="369"/>
                </a:lnTo>
                <a:lnTo>
                  <a:pt x="838" y="370"/>
                </a:lnTo>
                <a:lnTo>
                  <a:pt x="838" y="370"/>
                </a:lnTo>
                <a:lnTo>
                  <a:pt x="839" y="372"/>
                </a:lnTo>
                <a:lnTo>
                  <a:pt x="840" y="372"/>
                </a:lnTo>
                <a:lnTo>
                  <a:pt x="840" y="373"/>
                </a:lnTo>
                <a:lnTo>
                  <a:pt x="840" y="373"/>
                </a:lnTo>
                <a:lnTo>
                  <a:pt x="840" y="373"/>
                </a:lnTo>
                <a:lnTo>
                  <a:pt x="839" y="374"/>
                </a:lnTo>
                <a:lnTo>
                  <a:pt x="839" y="374"/>
                </a:lnTo>
                <a:lnTo>
                  <a:pt x="837" y="375"/>
                </a:lnTo>
                <a:lnTo>
                  <a:pt x="836" y="376"/>
                </a:lnTo>
                <a:lnTo>
                  <a:pt x="835" y="376"/>
                </a:lnTo>
                <a:lnTo>
                  <a:pt x="834" y="377"/>
                </a:lnTo>
                <a:lnTo>
                  <a:pt x="833" y="377"/>
                </a:lnTo>
                <a:lnTo>
                  <a:pt x="833" y="378"/>
                </a:lnTo>
                <a:lnTo>
                  <a:pt x="832" y="379"/>
                </a:lnTo>
                <a:lnTo>
                  <a:pt x="832" y="379"/>
                </a:lnTo>
                <a:lnTo>
                  <a:pt x="832" y="380"/>
                </a:lnTo>
                <a:lnTo>
                  <a:pt x="832" y="380"/>
                </a:lnTo>
                <a:lnTo>
                  <a:pt x="832" y="381"/>
                </a:lnTo>
                <a:lnTo>
                  <a:pt x="832" y="382"/>
                </a:lnTo>
                <a:lnTo>
                  <a:pt x="833" y="383"/>
                </a:lnTo>
                <a:lnTo>
                  <a:pt x="833" y="385"/>
                </a:lnTo>
                <a:lnTo>
                  <a:pt x="834" y="386"/>
                </a:lnTo>
                <a:lnTo>
                  <a:pt x="835" y="387"/>
                </a:lnTo>
                <a:lnTo>
                  <a:pt x="836" y="388"/>
                </a:lnTo>
                <a:lnTo>
                  <a:pt x="837" y="388"/>
                </a:lnTo>
                <a:lnTo>
                  <a:pt x="839" y="389"/>
                </a:lnTo>
                <a:lnTo>
                  <a:pt x="840" y="390"/>
                </a:lnTo>
                <a:lnTo>
                  <a:pt x="842" y="391"/>
                </a:lnTo>
                <a:lnTo>
                  <a:pt x="844" y="391"/>
                </a:lnTo>
                <a:lnTo>
                  <a:pt x="847" y="392"/>
                </a:lnTo>
                <a:lnTo>
                  <a:pt x="848" y="393"/>
                </a:lnTo>
                <a:lnTo>
                  <a:pt x="849" y="393"/>
                </a:lnTo>
                <a:lnTo>
                  <a:pt x="851" y="394"/>
                </a:lnTo>
                <a:lnTo>
                  <a:pt x="852" y="395"/>
                </a:lnTo>
                <a:lnTo>
                  <a:pt x="853" y="395"/>
                </a:lnTo>
                <a:lnTo>
                  <a:pt x="854" y="397"/>
                </a:lnTo>
                <a:lnTo>
                  <a:pt x="855" y="397"/>
                </a:lnTo>
                <a:lnTo>
                  <a:pt x="855" y="398"/>
                </a:lnTo>
                <a:lnTo>
                  <a:pt x="856" y="398"/>
                </a:lnTo>
                <a:lnTo>
                  <a:pt x="858" y="399"/>
                </a:lnTo>
                <a:lnTo>
                  <a:pt x="861" y="399"/>
                </a:lnTo>
                <a:lnTo>
                  <a:pt x="862" y="400"/>
                </a:lnTo>
                <a:lnTo>
                  <a:pt x="864" y="400"/>
                </a:lnTo>
                <a:lnTo>
                  <a:pt x="865" y="400"/>
                </a:lnTo>
                <a:lnTo>
                  <a:pt x="866" y="400"/>
                </a:lnTo>
                <a:lnTo>
                  <a:pt x="866" y="401"/>
                </a:lnTo>
                <a:lnTo>
                  <a:pt x="867" y="401"/>
                </a:lnTo>
                <a:lnTo>
                  <a:pt x="868" y="402"/>
                </a:lnTo>
                <a:lnTo>
                  <a:pt x="869" y="403"/>
                </a:lnTo>
                <a:lnTo>
                  <a:pt x="869" y="403"/>
                </a:lnTo>
                <a:lnTo>
                  <a:pt x="871" y="404"/>
                </a:lnTo>
                <a:lnTo>
                  <a:pt x="871" y="404"/>
                </a:lnTo>
                <a:lnTo>
                  <a:pt x="872" y="404"/>
                </a:lnTo>
                <a:lnTo>
                  <a:pt x="872" y="405"/>
                </a:lnTo>
                <a:lnTo>
                  <a:pt x="872" y="406"/>
                </a:lnTo>
                <a:lnTo>
                  <a:pt x="872" y="406"/>
                </a:lnTo>
                <a:lnTo>
                  <a:pt x="873" y="408"/>
                </a:lnTo>
                <a:lnTo>
                  <a:pt x="873" y="411"/>
                </a:lnTo>
                <a:lnTo>
                  <a:pt x="873" y="412"/>
                </a:lnTo>
                <a:lnTo>
                  <a:pt x="873" y="413"/>
                </a:lnTo>
                <a:lnTo>
                  <a:pt x="874" y="414"/>
                </a:lnTo>
                <a:lnTo>
                  <a:pt x="874" y="415"/>
                </a:lnTo>
                <a:lnTo>
                  <a:pt x="875" y="415"/>
                </a:lnTo>
                <a:lnTo>
                  <a:pt x="875" y="416"/>
                </a:lnTo>
                <a:lnTo>
                  <a:pt x="877" y="418"/>
                </a:lnTo>
                <a:lnTo>
                  <a:pt x="878" y="419"/>
                </a:lnTo>
                <a:lnTo>
                  <a:pt x="880" y="420"/>
                </a:lnTo>
                <a:lnTo>
                  <a:pt x="882" y="422"/>
                </a:lnTo>
                <a:lnTo>
                  <a:pt x="885" y="424"/>
                </a:lnTo>
                <a:lnTo>
                  <a:pt x="886" y="424"/>
                </a:lnTo>
                <a:lnTo>
                  <a:pt x="890" y="426"/>
                </a:lnTo>
                <a:lnTo>
                  <a:pt x="891" y="427"/>
                </a:lnTo>
                <a:lnTo>
                  <a:pt x="893" y="428"/>
                </a:lnTo>
                <a:lnTo>
                  <a:pt x="894" y="429"/>
                </a:lnTo>
                <a:lnTo>
                  <a:pt x="895" y="430"/>
                </a:lnTo>
                <a:lnTo>
                  <a:pt x="896" y="431"/>
                </a:lnTo>
                <a:lnTo>
                  <a:pt x="897" y="432"/>
                </a:lnTo>
                <a:lnTo>
                  <a:pt x="897" y="433"/>
                </a:lnTo>
                <a:lnTo>
                  <a:pt x="897" y="434"/>
                </a:lnTo>
                <a:lnTo>
                  <a:pt x="897" y="435"/>
                </a:lnTo>
                <a:lnTo>
                  <a:pt x="897" y="436"/>
                </a:lnTo>
                <a:lnTo>
                  <a:pt x="897" y="438"/>
                </a:lnTo>
                <a:lnTo>
                  <a:pt x="897" y="441"/>
                </a:lnTo>
                <a:lnTo>
                  <a:pt x="896" y="442"/>
                </a:lnTo>
                <a:lnTo>
                  <a:pt x="896" y="443"/>
                </a:lnTo>
                <a:lnTo>
                  <a:pt x="896" y="444"/>
                </a:lnTo>
                <a:lnTo>
                  <a:pt x="896" y="445"/>
                </a:lnTo>
                <a:lnTo>
                  <a:pt x="897" y="446"/>
                </a:lnTo>
                <a:lnTo>
                  <a:pt x="897" y="450"/>
                </a:lnTo>
                <a:lnTo>
                  <a:pt x="898" y="451"/>
                </a:lnTo>
                <a:lnTo>
                  <a:pt x="898" y="453"/>
                </a:lnTo>
                <a:lnTo>
                  <a:pt x="898" y="454"/>
                </a:lnTo>
                <a:lnTo>
                  <a:pt x="897" y="455"/>
                </a:lnTo>
                <a:lnTo>
                  <a:pt x="897" y="457"/>
                </a:lnTo>
                <a:lnTo>
                  <a:pt x="896" y="459"/>
                </a:lnTo>
                <a:lnTo>
                  <a:pt x="895" y="462"/>
                </a:lnTo>
                <a:lnTo>
                  <a:pt x="893" y="467"/>
                </a:lnTo>
                <a:lnTo>
                  <a:pt x="892" y="468"/>
                </a:lnTo>
                <a:lnTo>
                  <a:pt x="891" y="469"/>
                </a:lnTo>
                <a:lnTo>
                  <a:pt x="889" y="472"/>
                </a:lnTo>
                <a:lnTo>
                  <a:pt x="888" y="473"/>
                </a:lnTo>
                <a:lnTo>
                  <a:pt x="888" y="474"/>
                </a:lnTo>
                <a:lnTo>
                  <a:pt x="888" y="475"/>
                </a:lnTo>
                <a:lnTo>
                  <a:pt x="887" y="476"/>
                </a:lnTo>
                <a:lnTo>
                  <a:pt x="887" y="477"/>
                </a:lnTo>
                <a:lnTo>
                  <a:pt x="887" y="482"/>
                </a:lnTo>
                <a:lnTo>
                  <a:pt x="886" y="487"/>
                </a:lnTo>
                <a:lnTo>
                  <a:pt x="885" y="492"/>
                </a:lnTo>
                <a:lnTo>
                  <a:pt x="885" y="495"/>
                </a:lnTo>
                <a:lnTo>
                  <a:pt x="885" y="496"/>
                </a:lnTo>
                <a:lnTo>
                  <a:pt x="885" y="496"/>
                </a:lnTo>
                <a:lnTo>
                  <a:pt x="885" y="497"/>
                </a:lnTo>
                <a:lnTo>
                  <a:pt x="884" y="498"/>
                </a:lnTo>
                <a:lnTo>
                  <a:pt x="883" y="499"/>
                </a:lnTo>
                <a:lnTo>
                  <a:pt x="882" y="499"/>
                </a:lnTo>
                <a:lnTo>
                  <a:pt x="881" y="500"/>
                </a:lnTo>
                <a:lnTo>
                  <a:pt x="878" y="503"/>
                </a:lnTo>
                <a:lnTo>
                  <a:pt x="875" y="505"/>
                </a:lnTo>
                <a:lnTo>
                  <a:pt x="874" y="506"/>
                </a:lnTo>
                <a:lnTo>
                  <a:pt x="873" y="506"/>
                </a:lnTo>
                <a:lnTo>
                  <a:pt x="872" y="507"/>
                </a:lnTo>
                <a:lnTo>
                  <a:pt x="871" y="507"/>
                </a:lnTo>
                <a:lnTo>
                  <a:pt x="870" y="508"/>
                </a:lnTo>
                <a:lnTo>
                  <a:pt x="869" y="508"/>
                </a:lnTo>
                <a:lnTo>
                  <a:pt x="866" y="508"/>
                </a:lnTo>
                <a:lnTo>
                  <a:pt x="865" y="508"/>
                </a:lnTo>
                <a:lnTo>
                  <a:pt x="864" y="509"/>
                </a:lnTo>
                <a:lnTo>
                  <a:pt x="862" y="510"/>
                </a:lnTo>
                <a:lnTo>
                  <a:pt x="861" y="510"/>
                </a:lnTo>
                <a:lnTo>
                  <a:pt x="860" y="511"/>
                </a:lnTo>
                <a:lnTo>
                  <a:pt x="859" y="511"/>
                </a:lnTo>
                <a:lnTo>
                  <a:pt x="858" y="512"/>
                </a:lnTo>
                <a:lnTo>
                  <a:pt x="857" y="514"/>
                </a:lnTo>
                <a:lnTo>
                  <a:pt x="855" y="515"/>
                </a:lnTo>
                <a:lnTo>
                  <a:pt x="855" y="516"/>
                </a:lnTo>
                <a:lnTo>
                  <a:pt x="854" y="517"/>
                </a:lnTo>
                <a:lnTo>
                  <a:pt x="854" y="518"/>
                </a:lnTo>
                <a:lnTo>
                  <a:pt x="854" y="518"/>
                </a:lnTo>
                <a:lnTo>
                  <a:pt x="853" y="519"/>
                </a:lnTo>
                <a:lnTo>
                  <a:pt x="853" y="520"/>
                </a:lnTo>
                <a:lnTo>
                  <a:pt x="853" y="521"/>
                </a:lnTo>
                <a:lnTo>
                  <a:pt x="853" y="522"/>
                </a:lnTo>
                <a:lnTo>
                  <a:pt x="853" y="523"/>
                </a:lnTo>
                <a:lnTo>
                  <a:pt x="854" y="524"/>
                </a:lnTo>
                <a:lnTo>
                  <a:pt x="855" y="528"/>
                </a:lnTo>
                <a:lnTo>
                  <a:pt x="856" y="530"/>
                </a:lnTo>
                <a:lnTo>
                  <a:pt x="856" y="531"/>
                </a:lnTo>
                <a:lnTo>
                  <a:pt x="856" y="532"/>
                </a:lnTo>
                <a:lnTo>
                  <a:pt x="857" y="533"/>
                </a:lnTo>
                <a:lnTo>
                  <a:pt x="857" y="533"/>
                </a:lnTo>
                <a:lnTo>
                  <a:pt x="857" y="534"/>
                </a:lnTo>
                <a:lnTo>
                  <a:pt x="856" y="535"/>
                </a:lnTo>
                <a:lnTo>
                  <a:pt x="856" y="536"/>
                </a:lnTo>
                <a:lnTo>
                  <a:pt x="856" y="536"/>
                </a:lnTo>
                <a:lnTo>
                  <a:pt x="855" y="536"/>
                </a:lnTo>
                <a:lnTo>
                  <a:pt x="855" y="537"/>
                </a:lnTo>
                <a:lnTo>
                  <a:pt x="854" y="538"/>
                </a:lnTo>
                <a:lnTo>
                  <a:pt x="854" y="538"/>
                </a:lnTo>
                <a:lnTo>
                  <a:pt x="853" y="539"/>
                </a:lnTo>
                <a:lnTo>
                  <a:pt x="852" y="539"/>
                </a:lnTo>
                <a:lnTo>
                  <a:pt x="850" y="539"/>
                </a:lnTo>
                <a:lnTo>
                  <a:pt x="849" y="539"/>
                </a:lnTo>
                <a:lnTo>
                  <a:pt x="848" y="539"/>
                </a:lnTo>
                <a:lnTo>
                  <a:pt x="846" y="539"/>
                </a:lnTo>
                <a:lnTo>
                  <a:pt x="842" y="539"/>
                </a:lnTo>
                <a:lnTo>
                  <a:pt x="839" y="539"/>
                </a:lnTo>
                <a:lnTo>
                  <a:pt x="839" y="539"/>
                </a:lnTo>
                <a:lnTo>
                  <a:pt x="838" y="539"/>
                </a:lnTo>
                <a:lnTo>
                  <a:pt x="837" y="540"/>
                </a:lnTo>
                <a:lnTo>
                  <a:pt x="836" y="540"/>
                </a:lnTo>
                <a:lnTo>
                  <a:pt x="835" y="541"/>
                </a:lnTo>
                <a:lnTo>
                  <a:pt x="834" y="542"/>
                </a:lnTo>
                <a:lnTo>
                  <a:pt x="833" y="544"/>
                </a:lnTo>
                <a:lnTo>
                  <a:pt x="830" y="547"/>
                </a:lnTo>
                <a:lnTo>
                  <a:pt x="829" y="548"/>
                </a:lnTo>
                <a:lnTo>
                  <a:pt x="829" y="549"/>
                </a:lnTo>
                <a:lnTo>
                  <a:pt x="827" y="550"/>
                </a:lnTo>
                <a:lnTo>
                  <a:pt x="825" y="552"/>
                </a:lnTo>
                <a:lnTo>
                  <a:pt x="823" y="553"/>
                </a:lnTo>
                <a:lnTo>
                  <a:pt x="822" y="553"/>
                </a:lnTo>
                <a:lnTo>
                  <a:pt x="820" y="554"/>
                </a:lnTo>
                <a:lnTo>
                  <a:pt x="817" y="555"/>
                </a:lnTo>
                <a:lnTo>
                  <a:pt x="815" y="555"/>
                </a:lnTo>
                <a:lnTo>
                  <a:pt x="813" y="556"/>
                </a:lnTo>
                <a:lnTo>
                  <a:pt x="808" y="557"/>
                </a:lnTo>
                <a:lnTo>
                  <a:pt x="806" y="558"/>
                </a:lnTo>
                <a:lnTo>
                  <a:pt x="803" y="559"/>
                </a:lnTo>
                <a:lnTo>
                  <a:pt x="801" y="559"/>
                </a:lnTo>
                <a:lnTo>
                  <a:pt x="799" y="560"/>
                </a:lnTo>
                <a:lnTo>
                  <a:pt x="797" y="561"/>
                </a:lnTo>
                <a:lnTo>
                  <a:pt x="792" y="564"/>
                </a:lnTo>
                <a:lnTo>
                  <a:pt x="791" y="564"/>
                </a:lnTo>
                <a:lnTo>
                  <a:pt x="790" y="565"/>
                </a:lnTo>
                <a:lnTo>
                  <a:pt x="788" y="565"/>
                </a:lnTo>
                <a:lnTo>
                  <a:pt x="787" y="566"/>
                </a:lnTo>
                <a:lnTo>
                  <a:pt x="786" y="566"/>
                </a:lnTo>
                <a:lnTo>
                  <a:pt x="785" y="566"/>
                </a:lnTo>
                <a:lnTo>
                  <a:pt x="784" y="565"/>
                </a:lnTo>
                <a:lnTo>
                  <a:pt x="783" y="565"/>
                </a:lnTo>
                <a:lnTo>
                  <a:pt x="783" y="565"/>
                </a:lnTo>
                <a:lnTo>
                  <a:pt x="782" y="565"/>
                </a:lnTo>
                <a:lnTo>
                  <a:pt x="780" y="564"/>
                </a:lnTo>
                <a:lnTo>
                  <a:pt x="780" y="564"/>
                </a:lnTo>
                <a:lnTo>
                  <a:pt x="779" y="563"/>
                </a:lnTo>
                <a:lnTo>
                  <a:pt x="778" y="564"/>
                </a:lnTo>
                <a:lnTo>
                  <a:pt x="777" y="564"/>
                </a:lnTo>
                <a:lnTo>
                  <a:pt x="776" y="564"/>
                </a:lnTo>
                <a:lnTo>
                  <a:pt x="774" y="565"/>
                </a:lnTo>
                <a:lnTo>
                  <a:pt x="773" y="565"/>
                </a:lnTo>
                <a:lnTo>
                  <a:pt x="773" y="566"/>
                </a:lnTo>
                <a:lnTo>
                  <a:pt x="772" y="566"/>
                </a:lnTo>
                <a:lnTo>
                  <a:pt x="771" y="567"/>
                </a:lnTo>
                <a:lnTo>
                  <a:pt x="771" y="568"/>
                </a:lnTo>
                <a:lnTo>
                  <a:pt x="770" y="569"/>
                </a:lnTo>
                <a:lnTo>
                  <a:pt x="770" y="570"/>
                </a:lnTo>
                <a:lnTo>
                  <a:pt x="769" y="570"/>
                </a:lnTo>
                <a:lnTo>
                  <a:pt x="768" y="573"/>
                </a:lnTo>
                <a:lnTo>
                  <a:pt x="768" y="574"/>
                </a:lnTo>
                <a:lnTo>
                  <a:pt x="766" y="577"/>
                </a:lnTo>
                <a:lnTo>
                  <a:pt x="765" y="581"/>
                </a:lnTo>
                <a:lnTo>
                  <a:pt x="764" y="583"/>
                </a:lnTo>
                <a:lnTo>
                  <a:pt x="763" y="584"/>
                </a:lnTo>
                <a:lnTo>
                  <a:pt x="762" y="585"/>
                </a:lnTo>
                <a:lnTo>
                  <a:pt x="754" y="595"/>
                </a:lnTo>
                <a:lnTo>
                  <a:pt x="753" y="596"/>
                </a:lnTo>
                <a:lnTo>
                  <a:pt x="753" y="597"/>
                </a:lnTo>
                <a:lnTo>
                  <a:pt x="752" y="599"/>
                </a:lnTo>
                <a:lnTo>
                  <a:pt x="752" y="600"/>
                </a:lnTo>
                <a:lnTo>
                  <a:pt x="751" y="602"/>
                </a:lnTo>
                <a:lnTo>
                  <a:pt x="751" y="603"/>
                </a:lnTo>
                <a:lnTo>
                  <a:pt x="751" y="604"/>
                </a:lnTo>
                <a:lnTo>
                  <a:pt x="751" y="606"/>
                </a:lnTo>
                <a:lnTo>
                  <a:pt x="750" y="607"/>
                </a:lnTo>
                <a:lnTo>
                  <a:pt x="751" y="609"/>
                </a:lnTo>
                <a:lnTo>
                  <a:pt x="751" y="610"/>
                </a:lnTo>
                <a:lnTo>
                  <a:pt x="751" y="612"/>
                </a:lnTo>
                <a:lnTo>
                  <a:pt x="751" y="614"/>
                </a:lnTo>
                <a:lnTo>
                  <a:pt x="752" y="615"/>
                </a:lnTo>
                <a:lnTo>
                  <a:pt x="752" y="617"/>
                </a:lnTo>
                <a:lnTo>
                  <a:pt x="753" y="618"/>
                </a:lnTo>
                <a:lnTo>
                  <a:pt x="753" y="619"/>
                </a:lnTo>
                <a:lnTo>
                  <a:pt x="754" y="620"/>
                </a:lnTo>
                <a:lnTo>
                  <a:pt x="755" y="621"/>
                </a:lnTo>
                <a:lnTo>
                  <a:pt x="756" y="621"/>
                </a:lnTo>
                <a:lnTo>
                  <a:pt x="761" y="624"/>
                </a:lnTo>
                <a:lnTo>
                  <a:pt x="763" y="625"/>
                </a:lnTo>
                <a:lnTo>
                  <a:pt x="767" y="626"/>
                </a:lnTo>
                <a:lnTo>
                  <a:pt x="768" y="626"/>
                </a:lnTo>
                <a:lnTo>
                  <a:pt x="770" y="627"/>
                </a:lnTo>
                <a:lnTo>
                  <a:pt x="771" y="628"/>
                </a:lnTo>
                <a:lnTo>
                  <a:pt x="772" y="628"/>
                </a:lnTo>
                <a:lnTo>
                  <a:pt x="772" y="629"/>
                </a:lnTo>
                <a:lnTo>
                  <a:pt x="773" y="630"/>
                </a:lnTo>
                <a:lnTo>
                  <a:pt x="774" y="630"/>
                </a:lnTo>
                <a:lnTo>
                  <a:pt x="775" y="633"/>
                </a:lnTo>
                <a:lnTo>
                  <a:pt x="777" y="635"/>
                </a:lnTo>
                <a:lnTo>
                  <a:pt x="777" y="636"/>
                </a:lnTo>
                <a:lnTo>
                  <a:pt x="778" y="638"/>
                </a:lnTo>
                <a:lnTo>
                  <a:pt x="778" y="639"/>
                </a:lnTo>
                <a:lnTo>
                  <a:pt x="779" y="640"/>
                </a:lnTo>
                <a:lnTo>
                  <a:pt x="779" y="642"/>
                </a:lnTo>
                <a:lnTo>
                  <a:pt x="779" y="643"/>
                </a:lnTo>
                <a:lnTo>
                  <a:pt x="779" y="645"/>
                </a:lnTo>
                <a:lnTo>
                  <a:pt x="779" y="646"/>
                </a:lnTo>
                <a:lnTo>
                  <a:pt x="778" y="647"/>
                </a:lnTo>
                <a:lnTo>
                  <a:pt x="778" y="648"/>
                </a:lnTo>
                <a:lnTo>
                  <a:pt x="778" y="650"/>
                </a:lnTo>
                <a:lnTo>
                  <a:pt x="777" y="651"/>
                </a:lnTo>
                <a:lnTo>
                  <a:pt x="776" y="651"/>
                </a:lnTo>
                <a:lnTo>
                  <a:pt x="776" y="652"/>
                </a:lnTo>
                <a:lnTo>
                  <a:pt x="775" y="653"/>
                </a:lnTo>
                <a:lnTo>
                  <a:pt x="774" y="654"/>
                </a:lnTo>
                <a:lnTo>
                  <a:pt x="772" y="656"/>
                </a:lnTo>
                <a:lnTo>
                  <a:pt x="770" y="657"/>
                </a:lnTo>
                <a:lnTo>
                  <a:pt x="769" y="657"/>
                </a:lnTo>
                <a:lnTo>
                  <a:pt x="768" y="658"/>
                </a:lnTo>
                <a:lnTo>
                  <a:pt x="766" y="658"/>
                </a:lnTo>
                <a:lnTo>
                  <a:pt x="765" y="658"/>
                </a:lnTo>
                <a:lnTo>
                  <a:pt x="764" y="658"/>
                </a:lnTo>
                <a:lnTo>
                  <a:pt x="761" y="658"/>
                </a:lnTo>
                <a:lnTo>
                  <a:pt x="760" y="658"/>
                </a:lnTo>
                <a:lnTo>
                  <a:pt x="757" y="658"/>
                </a:lnTo>
                <a:lnTo>
                  <a:pt x="755" y="657"/>
                </a:lnTo>
                <a:lnTo>
                  <a:pt x="754" y="657"/>
                </a:lnTo>
                <a:lnTo>
                  <a:pt x="754" y="658"/>
                </a:lnTo>
                <a:lnTo>
                  <a:pt x="753" y="658"/>
                </a:lnTo>
                <a:lnTo>
                  <a:pt x="752" y="658"/>
                </a:lnTo>
                <a:lnTo>
                  <a:pt x="751" y="659"/>
                </a:lnTo>
                <a:lnTo>
                  <a:pt x="749" y="660"/>
                </a:lnTo>
                <a:lnTo>
                  <a:pt x="749" y="661"/>
                </a:lnTo>
                <a:lnTo>
                  <a:pt x="748" y="661"/>
                </a:lnTo>
                <a:lnTo>
                  <a:pt x="748" y="662"/>
                </a:lnTo>
                <a:lnTo>
                  <a:pt x="747" y="662"/>
                </a:lnTo>
                <a:lnTo>
                  <a:pt x="746" y="665"/>
                </a:lnTo>
                <a:lnTo>
                  <a:pt x="746" y="667"/>
                </a:lnTo>
                <a:lnTo>
                  <a:pt x="745" y="668"/>
                </a:lnTo>
                <a:lnTo>
                  <a:pt x="744" y="670"/>
                </a:lnTo>
                <a:lnTo>
                  <a:pt x="743" y="670"/>
                </a:lnTo>
                <a:lnTo>
                  <a:pt x="743" y="671"/>
                </a:lnTo>
                <a:lnTo>
                  <a:pt x="742" y="671"/>
                </a:lnTo>
                <a:lnTo>
                  <a:pt x="742" y="671"/>
                </a:lnTo>
                <a:lnTo>
                  <a:pt x="741" y="671"/>
                </a:lnTo>
                <a:lnTo>
                  <a:pt x="741" y="671"/>
                </a:lnTo>
                <a:lnTo>
                  <a:pt x="740" y="671"/>
                </a:lnTo>
                <a:lnTo>
                  <a:pt x="739" y="670"/>
                </a:lnTo>
                <a:lnTo>
                  <a:pt x="737" y="668"/>
                </a:lnTo>
                <a:lnTo>
                  <a:pt x="735" y="668"/>
                </a:lnTo>
                <a:lnTo>
                  <a:pt x="735" y="667"/>
                </a:lnTo>
                <a:lnTo>
                  <a:pt x="733" y="667"/>
                </a:lnTo>
                <a:lnTo>
                  <a:pt x="730" y="666"/>
                </a:lnTo>
                <a:lnTo>
                  <a:pt x="729" y="666"/>
                </a:lnTo>
                <a:lnTo>
                  <a:pt x="727" y="665"/>
                </a:lnTo>
                <a:lnTo>
                  <a:pt x="723" y="664"/>
                </a:lnTo>
                <a:lnTo>
                  <a:pt x="723" y="663"/>
                </a:lnTo>
                <a:lnTo>
                  <a:pt x="722" y="663"/>
                </a:lnTo>
                <a:lnTo>
                  <a:pt x="722" y="663"/>
                </a:lnTo>
                <a:lnTo>
                  <a:pt x="721" y="663"/>
                </a:lnTo>
                <a:lnTo>
                  <a:pt x="719" y="664"/>
                </a:lnTo>
                <a:lnTo>
                  <a:pt x="717" y="665"/>
                </a:lnTo>
                <a:lnTo>
                  <a:pt x="712" y="667"/>
                </a:lnTo>
                <a:lnTo>
                  <a:pt x="709" y="668"/>
                </a:lnTo>
                <a:lnTo>
                  <a:pt x="708" y="668"/>
                </a:lnTo>
                <a:lnTo>
                  <a:pt x="706" y="669"/>
                </a:lnTo>
                <a:lnTo>
                  <a:pt x="704" y="669"/>
                </a:lnTo>
                <a:lnTo>
                  <a:pt x="702" y="669"/>
                </a:lnTo>
                <a:lnTo>
                  <a:pt x="700" y="669"/>
                </a:lnTo>
                <a:lnTo>
                  <a:pt x="698" y="669"/>
                </a:lnTo>
                <a:lnTo>
                  <a:pt x="697" y="669"/>
                </a:lnTo>
                <a:lnTo>
                  <a:pt x="691" y="668"/>
                </a:lnTo>
                <a:lnTo>
                  <a:pt x="689" y="668"/>
                </a:lnTo>
                <a:lnTo>
                  <a:pt x="685" y="668"/>
                </a:lnTo>
                <a:lnTo>
                  <a:pt x="684" y="667"/>
                </a:lnTo>
                <a:lnTo>
                  <a:pt x="682" y="667"/>
                </a:lnTo>
                <a:lnTo>
                  <a:pt x="680" y="667"/>
                </a:lnTo>
                <a:lnTo>
                  <a:pt x="675" y="665"/>
                </a:lnTo>
                <a:lnTo>
                  <a:pt x="674" y="665"/>
                </a:lnTo>
                <a:lnTo>
                  <a:pt x="672" y="665"/>
                </a:lnTo>
                <a:lnTo>
                  <a:pt x="671" y="665"/>
                </a:lnTo>
                <a:lnTo>
                  <a:pt x="670" y="665"/>
                </a:lnTo>
                <a:lnTo>
                  <a:pt x="669" y="666"/>
                </a:lnTo>
                <a:lnTo>
                  <a:pt x="668" y="666"/>
                </a:lnTo>
                <a:lnTo>
                  <a:pt x="668" y="666"/>
                </a:lnTo>
                <a:lnTo>
                  <a:pt x="667" y="667"/>
                </a:lnTo>
                <a:lnTo>
                  <a:pt x="666" y="667"/>
                </a:lnTo>
                <a:lnTo>
                  <a:pt x="666" y="668"/>
                </a:lnTo>
                <a:lnTo>
                  <a:pt x="665" y="669"/>
                </a:lnTo>
                <a:lnTo>
                  <a:pt x="665" y="669"/>
                </a:lnTo>
                <a:lnTo>
                  <a:pt x="665" y="670"/>
                </a:lnTo>
                <a:lnTo>
                  <a:pt x="665" y="671"/>
                </a:lnTo>
                <a:lnTo>
                  <a:pt x="665" y="672"/>
                </a:lnTo>
                <a:lnTo>
                  <a:pt x="666" y="675"/>
                </a:lnTo>
                <a:lnTo>
                  <a:pt x="666" y="676"/>
                </a:lnTo>
                <a:lnTo>
                  <a:pt x="666" y="677"/>
                </a:lnTo>
                <a:lnTo>
                  <a:pt x="666" y="677"/>
                </a:lnTo>
                <a:lnTo>
                  <a:pt x="666" y="678"/>
                </a:lnTo>
                <a:lnTo>
                  <a:pt x="666" y="678"/>
                </a:lnTo>
                <a:lnTo>
                  <a:pt x="665" y="679"/>
                </a:lnTo>
                <a:lnTo>
                  <a:pt x="665" y="679"/>
                </a:lnTo>
                <a:lnTo>
                  <a:pt x="664" y="680"/>
                </a:lnTo>
                <a:lnTo>
                  <a:pt x="663" y="680"/>
                </a:lnTo>
                <a:lnTo>
                  <a:pt x="662" y="681"/>
                </a:lnTo>
                <a:lnTo>
                  <a:pt x="660" y="681"/>
                </a:lnTo>
                <a:lnTo>
                  <a:pt x="654" y="683"/>
                </a:lnTo>
                <a:lnTo>
                  <a:pt x="652" y="683"/>
                </a:lnTo>
                <a:lnTo>
                  <a:pt x="652" y="684"/>
                </a:lnTo>
                <a:lnTo>
                  <a:pt x="651" y="684"/>
                </a:lnTo>
                <a:lnTo>
                  <a:pt x="651" y="684"/>
                </a:lnTo>
                <a:lnTo>
                  <a:pt x="650" y="685"/>
                </a:lnTo>
                <a:lnTo>
                  <a:pt x="650" y="686"/>
                </a:lnTo>
                <a:lnTo>
                  <a:pt x="649" y="687"/>
                </a:lnTo>
                <a:lnTo>
                  <a:pt x="649" y="688"/>
                </a:lnTo>
                <a:lnTo>
                  <a:pt x="649" y="689"/>
                </a:lnTo>
                <a:lnTo>
                  <a:pt x="648" y="690"/>
                </a:lnTo>
                <a:lnTo>
                  <a:pt x="648" y="694"/>
                </a:lnTo>
                <a:lnTo>
                  <a:pt x="647" y="696"/>
                </a:lnTo>
                <a:lnTo>
                  <a:pt x="647" y="697"/>
                </a:lnTo>
                <a:lnTo>
                  <a:pt x="645" y="700"/>
                </a:lnTo>
                <a:lnTo>
                  <a:pt x="645" y="701"/>
                </a:lnTo>
                <a:lnTo>
                  <a:pt x="644" y="701"/>
                </a:lnTo>
                <a:lnTo>
                  <a:pt x="643" y="702"/>
                </a:lnTo>
                <a:lnTo>
                  <a:pt x="643" y="702"/>
                </a:lnTo>
                <a:lnTo>
                  <a:pt x="642" y="702"/>
                </a:lnTo>
                <a:lnTo>
                  <a:pt x="641" y="702"/>
                </a:lnTo>
                <a:lnTo>
                  <a:pt x="640" y="702"/>
                </a:lnTo>
                <a:lnTo>
                  <a:pt x="639" y="702"/>
                </a:lnTo>
                <a:lnTo>
                  <a:pt x="638" y="702"/>
                </a:lnTo>
                <a:lnTo>
                  <a:pt x="637" y="702"/>
                </a:lnTo>
                <a:lnTo>
                  <a:pt x="636" y="702"/>
                </a:lnTo>
                <a:lnTo>
                  <a:pt x="635" y="701"/>
                </a:lnTo>
                <a:lnTo>
                  <a:pt x="634" y="701"/>
                </a:lnTo>
                <a:lnTo>
                  <a:pt x="633" y="700"/>
                </a:lnTo>
                <a:lnTo>
                  <a:pt x="631" y="699"/>
                </a:lnTo>
                <a:lnTo>
                  <a:pt x="631" y="698"/>
                </a:lnTo>
                <a:lnTo>
                  <a:pt x="630" y="697"/>
                </a:lnTo>
                <a:lnTo>
                  <a:pt x="629" y="696"/>
                </a:lnTo>
                <a:lnTo>
                  <a:pt x="628" y="694"/>
                </a:lnTo>
                <a:lnTo>
                  <a:pt x="626" y="690"/>
                </a:lnTo>
                <a:lnTo>
                  <a:pt x="624" y="686"/>
                </a:lnTo>
                <a:lnTo>
                  <a:pt x="623" y="684"/>
                </a:lnTo>
                <a:lnTo>
                  <a:pt x="622" y="682"/>
                </a:lnTo>
                <a:lnTo>
                  <a:pt x="621" y="680"/>
                </a:lnTo>
                <a:lnTo>
                  <a:pt x="620" y="678"/>
                </a:lnTo>
                <a:lnTo>
                  <a:pt x="620" y="677"/>
                </a:lnTo>
                <a:lnTo>
                  <a:pt x="619" y="677"/>
                </a:lnTo>
                <a:lnTo>
                  <a:pt x="619" y="677"/>
                </a:lnTo>
                <a:lnTo>
                  <a:pt x="618" y="676"/>
                </a:lnTo>
                <a:lnTo>
                  <a:pt x="618" y="676"/>
                </a:lnTo>
                <a:lnTo>
                  <a:pt x="617" y="676"/>
                </a:lnTo>
                <a:lnTo>
                  <a:pt x="617" y="676"/>
                </a:lnTo>
                <a:lnTo>
                  <a:pt x="615" y="677"/>
                </a:lnTo>
                <a:lnTo>
                  <a:pt x="614" y="677"/>
                </a:lnTo>
                <a:lnTo>
                  <a:pt x="613" y="678"/>
                </a:lnTo>
                <a:lnTo>
                  <a:pt x="611" y="679"/>
                </a:lnTo>
                <a:lnTo>
                  <a:pt x="610" y="679"/>
                </a:lnTo>
                <a:lnTo>
                  <a:pt x="609" y="680"/>
                </a:lnTo>
                <a:lnTo>
                  <a:pt x="609" y="680"/>
                </a:lnTo>
                <a:lnTo>
                  <a:pt x="608" y="679"/>
                </a:lnTo>
                <a:lnTo>
                  <a:pt x="608" y="679"/>
                </a:lnTo>
                <a:lnTo>
                  <a:pt x="606" y="679"/>
                </a:lnTo>
                <a:lnTo>
                  <a:pt x="605" y="678"/>
                </a:lnTo>
                <a:lnTo>
                  <a:pt x="604" y="677"/>
                </a:lnTo>
                <a:lnTo>
                  <a:pt x="602" y="676"/>
                </a:lnTo>
                <a:lnTo>
                  <a:pt x="600" y="674"/>
                </a:lnTo>
                <a:lnTo>
                  <a:pt x="595" y="670"/>
                </a:lnTo>
                <a:lnTo>
                  <a:pt x="594" y="669"/>
                </a:lnTo>
                <a:lnTo>
                  <a:pt x="593" y="668"/>
                </a:lnTo>
                <a:lnTo>
                  <a:pt x="592" y="667"/>
                </a:lnTo>
                <a:lnTo>
                  <a:pt x="590" y="667"/>
                </a:lnTo>
                <a:lnTo>
                  <a:pt x="585" y="664"/>
                </a:lnTo>
                <a:lnTo>
                  <a:pt x="582" y="663"/>
                </a:lnTo>
                <a:lnTo>
                  <a:pt x="581" y="662"/>
                </a:lnTo>
                <a:lnTo>
                  <a:pt x="578" y="660"/>
                </a:lnTo>
                <a:lnTo>
                  <a:pt x="577" y="659"/>
                </a:lnTo>
                <a:lnTo>
                  <a:pt x="576" y="659"/>
                </a:lnTo>
                <a:lnTo>
                  <a:pt x="575" y="659"/>
                </a:lnTo>
                <a:lnTo>
                  <a:pt x="574" y="659"/>
                </a:lnTo>
                <a:lnTo>
                  <a:pt x="574" y="659"/>
                </a:lnTo>
                <a:lnTo>
                  <a:pt x="573" y="659"/>
                </a:lnTo>
                <a:lnTo>
                  <a:pt x="572" y="659"/>
                </a:lnTo>
                <a:lnTo>
                  <a:pt x="570" y="661"/>
                </a:lnTo>
                <a:lnTo>
                  <a:pt x="567" y="663"/>
                </a:lnTo>
                <a:lnTo>
                  <a:pt x="566" y="664"/>
                </a:lnTo>
                <a:lnTo>
                  <a:pt x="566" y="665"/>
                </a:lnTo>
                <a:lnTo>
                  <a:pt x="565" y="666"/>
                </a:lnTo>
                <a:lnTo>
                  <a:pt x="564" y="667"/>
                </a:lnTo>
                <a:lnTo>
                  <a:pt x="563" y="668"/>
                </a:lnTo>
                <a:lnTo>
                  <a:pt x="563" y="669"/>
                </a:lnTo>
                <a:lnTo>
                  <a:pt x="561" y="670"/>
                </a:lnTo>
                <a:lnTo>
                  <a:pt x="560" y="671"/>
                </a:lnTo>
                <a:lnTo>
                  <a:pt x="560" y="672"/>
                </a:lnTo>
                <a:lnTo>
                  <a:pt x="559" y="673"/>
                </a:lnTo>
                <a:lnTo>
                  <a:pt x="559" y="673"/>
                </a:lnTo>
                <a:lnTo>
                  <a:pt x="559" y="674"/>
                </a:lnTo>
                <a:lnTo>
                  <a:pt x="559" y="676"/>
                </a:lnTo>
                <a:lnTo>
                  <a:pt x="559" y="678"/>
                </a:lnTo>
                <a:lnTo>
                  <a:pt x="558" y="679"/>
                </a:lnTo>
                <a:lnTo>
                  <a:pt x="557" y="683"/>
                </a:lnTo>
                <a:lnTo>
                  <a:pt x="557" y="684"/>
                </a:lnTo>
                <a:lnTo>
                  <a:pt x="557" y="686"/>
                </a:lnTo>
                <a:lnTo>
                  <a:pt x="557" y="687"/>
                </a:lnTo>
                <a:lnTo>
                  <a:pt x="557" y="688"/>
                </a:lnTo>
                <a:lnTo>
                  <a:pt x="558" y="690"/>
                </a:lnTo>
                <a:lnTo>
                  <a:pt x="559" y="693"/>
                </a:lnTo>
                <a:lnTo>
                  <a:pt x="559" y="696"/>
                </a:lnTo>
                <a:lnTo>
                  <a:pt x="560" y="697"/>
                </a:lnTo>
                <a:lnTo>
                  <a:pt x="560" y="698"/>
                </a:lnTo>
                <a:lnTo>
                  <a:pt x="560" y="699"/>
                </a:lnTo>
                <a:lnTo>
                  <a:pt x="559" y="700"/>
                </a:lnTo>
                <a:lnTo>
                  <a:pt x="559" y="701"/>
                </a:lnTo>
                <a:lnTo>
                  <a:pt x="558" y="701"/>
                </a:lnTo>
                <a:lnTo>
                  <a:pt x="558" y="702"/>
                </a:lnTo>
                <a:lnTo>
                  <a:pt x="556" y="702"/>
                </a:lnTo>
                <a:lnTo>
                  <a:pt x="555" y="703"/>
                </a:lnTo>
                <a:lnTo>
                  <a:pt x="553" y="704"/>
                </a:lnTo>
                <a:lnTo>
                  <a:pt x="552" y="704"/>
                </a:lnTo>
                <a:lnTo>
                  <a:pt x="547" y="706"/>
                </a:lnTo>
                <a:lnTo>
                  <a:pt x="545" y="706"/>
                </a:lnTo>
                <a:lnTo>
                  <a:pt x="544" y="707"/>
                </a:lnTo>
                <a:lnTo>
                  <a:pt x="543" y="707"/>
                </a:lnTo>
                <a:lnTo>
                  <a:pt x="540" y="709"/>
                </a:lnTo>
                <a:lnTo>
                  <a:pt x="538" y="711"/>
                </a:lnTo>
                <a:lnTo>
                  <a:pt x="534" y="715"/>
                </a:lnTo>
                <a:lnTo>
                  <a:pt x="532" y="717"/>
                </a:lnTo>
                <a:lnTo>
                  <a:pt x="530" y="718"/>
                </a:lnTo>
                <a:lnTo>
                  <a:pt x="528" y="720"/>
                </a:lnTo>
                <a:lnTo>
                  <a:pt x="527" y="721"/>
                </a:lnTo>
                <a:lnTo>
                  <a:pt x="526" y="724"/>
                </a:lnTo>
                <a:lnTo>
                  <a:pt x="525" y="725"/>
                </a:lnTo>
                <a:lnTo>
                  <a:pt x="525" y="726"/>
                </a:lnTo>
                <a:lnTo>
                  <a:pt x="524" y="726"/>
                </a:lnTo>
                <a:lnTo>
                  <a:pt x="523" y="726"/>
                </a:lnTo>
                <a:lnTo>
                  <a:pt x="523" y="726"/>
                </a:lnTo>
                <a:lnTo>
                  <a:pt x="522" y="726"/>
                </a:lnTo>
                <a:lnTo>
                  <a:pt x="522" y="726"/>
                </a:lnTo>
                <a:lnTo>
                  <a:pt x="521" y="726"/>
                </a:lnTo>
                <a:lnTo>
                  <a:pt x="521" y="726"/>
                </a:lnTo>
                <a:lnTo>
                  <a:pt x="520" y="725"/>
                </a:lnTo>
                <a:lnTo>
                  <a:pt x="517" y="724"/>
                </a:lnTo>
                <a:lnTo>
                  <a:pt x="516" y="723"/>
                </a:lnTo>
                <a:lnTo>
                  <a:pt x="515" y="722"/>
                </a:lnTo>
                <a:lnTo>
                  <a:pt x="513" y="721"/>
                </a:lnTo>
                <a:lnTo>
                  <a:pt x="510" y="721"/>
                </a:lnTo>
                <a:lnTo>
                  <a:pt x="508" y="720"/>
                </a:lnTo>
                <a:lnTo>
                  <a:pt x="506" y="720"/>
                </a:lnTo>
                <a:lnTo>
                  <a:pt x="503" y="719"/>
                </a:lnTo>
                <a:lnTo>
                  <a:pt x="501" y="719"/>
                </a:lnTo>
                <a:lnTo>
                  <a:pt x="500" y="719"/>
                </a:lnTo>
                <a:lnTo>
                  <a:pt x="499" y="719"/>
                </a:lnTo>
                <a:lnTo>
                  <a:pt x="499" y="718"/>
                </a:lnTo>
                <a:lnTo>
                  <a:pt x="498" y="718"/>
                </a:lnTo>
                <a:lnTo>
                  <a:pt x="497" y="717"/>
                </a:lnTo>
                <a:lnTo>
                  <a:pt x="497" y="717"/>
                </a:lnTo>
                <a:lnTo>
                  <a:pt x="497" y="716"/>
                </a:lnTo>
                <a:lnTo>
                  <a:pt x="496" y="716"/>
                </a:lnTo>
                <a:lnTo>
                  <a:pt x="496" y="715"/>
                </a:lnTo>
                <a:lnTo>
                  <a:pt x="497" y="714"/>
                </a:lnTo>
                <a:lnTo>
                  <a:pt x="497" y="711"/>
                </a:lnTo>
                <a:lnTo>
                  <a:pt x="497" y="710"/>
                </a:lnTo>
                <a:lnTo>
                  <a:pt x="497" y="709"/>
                </a:lnTo>
                <a:lnTo>
                  <a:pt x="497" y="708"/>
                </a:lnTo>
                <a:lnTo>
                  <a:pt x="497" y="708"/>
                </a:lnTo>
                <a:lnTo>
                  <a:pt x="497" y="708"/>
                </a:lnTo>
                <a:lnTo>
                  <a:pt x="496" y="708"/>
                </a:lnTo>
                <a:lnTo>
                  <a:pt x="496" y="708"/>
                </a:lnTo>
                <a:lnTo>
                  <a:pt x="493" y="709"/>
                </a:lnTo>
                <a:lnTo>
                  <a:pt x="491" y="709"/>
                </a:lnTo>
                <a:lnTo>
                  <a:pt x="489" y="710"/>
                </a:lnTo>
                <a:lnTo>
                  <a:pt x="486" y="710"/>
                </a:lnTo>
                <a:lnTo>
                  <a:pt x="485" y="710"/>
                </a:lnTo>
                <a:lnTo>
                  <a:pt x="484" y="711"/>
                </a:lnTo>
                <a:lnTo>
                  <a:pt x="481" y="710"/>
                </a:lnTo>
                <a:lnTo>
                  <a:pt x="479" y="710"/>
                </a:lnTo>
                <a:lnTo>
                  <a:pt x="474" y="710"/>
                </a:lnTo>
                <a:lnTo>
                  <a:pt x="471" y="709"/>
                </a:lnTo>
                <a:lnTo>
                  <a:pt x="470" y="709"/>
                </a:lnTo>
                <a:lnTo>
                  <a:pt x="468" y="708"/>
                </a:lnTo>
                <a:lnTo>
                  <a:pt x="467" y="708"/>
                </a:lnTo>
                <a:lnTo>
                  <a:pt x="464" y="706"/>
                </a:lnTo>
                <a:lnTo>
                  <a:pt x="463" y="706"/>
                </a:lnTo>
                <a:lnTo>
                  <a:pt x="462" y="706"/>
                </a:lnTo>
                <a:lnTo>
                  <a:pt x="461" y="706"/>
                </a:lnTo>
                <a:lnTo>
                  <a:pt x="460" y="705"/>
                </a:lnTo>
                <a:lnTo>
                  <a:pt x="457" y="705"/>
                </a:lnTo>
                <a:lnTo>
                  <a:pt x="456" y="705"/>
                </a:lnTo>
                <a:lnTo>
                  <a:pt x="454" y="705"/>
                </a:lnTo>
                <a:lnTo>
                  <a:pt x="453" y="705"/>
                </a:lnTo>
                <a:lnTo>
                  <a:pt x="453" y="706"/>
                </a:lnTo>
                <a:lnTo>
                  <a:pt x="451" y="706"/>
                </a:lnTo>
                <a:lnTo>
                  <a:pt x="449" y="707"/>
                </a:lnTo>
                <a:lnTo>
                  <a:pt x="447" y="709"/>
                </a:lnTo>
                <a:lnTo>
                  <a:pt x="447" y="709"/>
                </a:lnTo>
                <a:lnTo>
                  <a:pt x="446" y="709"/>
                </a:lnTo>
                <a:lnTo>
                  <a:pt x="446" y="709"/>
                </a:lnTo>
                <a:lnTo>
                  <a:pt x="445" y="709"/>
                </a:lnTo>
                <a:lnTo>
                  <a:pt x="444" y="709"/>
                </a:lnTo>
                <a:lnTo>
                  <a:pt x="442" y="708"/>
                </a:lnTo>
                <a:lnTo>
                  <a:pt x="441" y="707"/>
                </a:lnTo>
                <a:lnTo>
                  <a:pt x="436" y="704"/>
                </a:lnTo>
                <a:lnTo>
                  <a:pt x="435" y="703"/>
                </a:lnTo>
                <a:lnTo>
                  <a:pt x="434" y="703"/>
                </a:lnTo>
                <a:lnTo>
                  <a:pt x="431" y="702"/>
                </a:lnTo>
                <a:lnTo>
                  <a:pt x="430" y="701"/>
                </a:lnTo>
                <a:lnTo>
                  <a:pt x="429" y="700"/>
                </a:lnTo>
                <a:lnTo>
                  <a:pt x="425" y="698"/>
                </a:lnTo>
                <a:lnTo>
                  <a:pt x="424" y="698"/>
                </a:lnTo>
                <a:lnTo>
                  <a:pt x="423" y="697"/>
                </a:lnTo>
                <a:lnTo>
                  <a:pt x="423" y="698"/>
                </a:lnTo>
                <a:lnTo>
                  <a:pt x="422" y="698"/>
                </a:lnTo>
                <a:lnTo>
                  <a:pt x="422" y="698"/>
                </a:lnTo>
                <a:lnTo>
                  <a:pt x="421" y="699"/>
                </a:lnTo>
                <a:lnTo>
                  <a:pt x="421" y="699"/>
                </a:lnTo>
                <a:lnTo>
                  <a:pt x="421" y="699"/>
                </a:lnTo>
                <a:lnTo>
                  <a:pt x="421" y="700"/>
                </a:lnTo>
                <a:lnTo>
                  <a:pt x="421" y="703"/>
                </a:lnTo>
                <a:lnTo>
                  <a:pt x="421" y="705"/>
                </a:lnTo>
                <a:lnTo>
                  <a:pt x="421" y="705"/>
                </a:lnTo>
                <a:lnTo>
                  <a:pt x="421" y="706"/>
                </a:lnTo>
                <a:lnTo>
                  <a:pt x="421" y="706"/>
                </a:lnTo>
                <a:lnTo>
                  <a:pt x="420" y="706"/>
                </a:lnTo>
                <a:lnTo>
                  <a:pt x="420" y="706"/>
                </a:lnTo>
                <a:lnTo>
                  <a:pt x="419" y="706"/>
                </a:lnTo>
                <a:lnTo>
                  <a:pt x="417" y="706"/>
                </a:lnTo>
                <a:lnTo>
                  <a:pt x="415" y="706"/>
                </a:lnTo>
                <a:lnTo>
                  <a:pt x="414" y="706"/>
                </a:lnTo>
                <a:lnTo>
                  <a:pt x="413" y="707"/>
                </a:lnTo>
                <a:lnTo>
                  <a:pt x="411" y="707"/>
                </a:lnTo>
                <a:lnTo>
                  <a:pt x="410" y="708"/>
                </a:lnTo>
                <a:lnTo>
                  <a:pt x="409" y="709"/>
                </a:lnTo>
                <a:lnTo>
                  <a:pt x="405" y="712"/>
                </a:lnTo>
                <a:lnTo>
                  <a:pt x="404" y="712"/>
                </a:lnTo>
                <a:lnTo>
                  <a:pt x="403" y="713"/>
                </a:lnTo>
                <a:lnTo>
                  <a:pt x="403" y="713"/>
                </a:lnTo>
                <a:lnTo>
                  <a:pt x="400" y="714"/>
                </a:lnTo>
                <a:lnTo>
                  <a:pt x="399" y="714"/>
                </a:lnTo>
                <a:lnTo>
                  <a:pt x="398" y="714"/>
                </a:lnTo>
                <a:lnTo>
                  <a:pt x="396" y="713"/>
                </a:lnTo>
                <a:lnTo>
                  <a:pt x="394" y="713"/>
                </a:lnTo>
                <a:lnTo>
                  <a:pt x="391" y="713"/>
                </a:lnTo>
                <a:lnTo>
                  <a:pt x="390" y="712"/>
                </a:lnTo>
                <a:lnTo>
                  <a:pt x="390" y="712"/>
                </a:lnTo>
                <a:lnTo>
                  <a:pt x="390" y="712"/>
                </a:lnTo>
                <a:lnTo>
                  <a:pt x="389" y="712"/>
                </a:lnTo>
                <a:lnTo>
                  <a:pt x="389" y="711"/>
                </a:lnTo>
                <a:lnTo>
                  <a:pt x="388" y="708"/>
                </a:lnTo>
                <a:lnTo>
                  <a:pt x="387" y="708"/>
                </a:lnTo>
                <a:lnTo>
                  <a:pt x="387" y="707"/>
                </a:lnTo>
                <a:lnTo>
                  <a:pt x="386" y="706"/>
                </a:lnTo>
                <a:lnTo>
                  <a:pt x="385" y="705"/>
                </a:lnTo>
                <a:lnTo>
                  <a:pt x="384" y="704"/>
                </a:lnTo>
                <a:lnTo>
                  <a:pt x="384" y="704"/>
                </a:lnTo>
                <a:lnTo>
                  <a:pt x="383" y="703"/>
                </a:lnTo>
                <a:lnTo>
                  <a:pt x="381" y="702"/>
                </a:lnTo>
                <a:lnTo>
                  <a:pt x="379" y="701"/>
                </a:lnTo>
                <a:lnTo>
                  <a:pt x="376" y="700"/>
                </a:lnTo>
                <a:lnTo>
                  <a:pt x="376" y="700"/>
                </a:lnTo>
                <a:lnTo>
                  <a:pt x="375" y="699"/>
                </a:lnTo>
                <a:lnTo>
                  <a:pt x="374" y="699"/>
                </a:lnTo>
                <a:lnTo>
                  <a:pt x="373" y="698"/>
                </a:lnTo>
                <a:lnTo>
                  <a:pt x="373" y="697"/>
                </a:lnTo>
                <a:lnTo>
                  <a:pt x="371" y="695"/>
                </a:lnTo>
                <a:lnTo>
                  <a:pt x="370" y="694"/>
                </a:lnTo>
                <a:lnTo>
                  <a:pt x="369" y="693"/>
                </a:lnTo>
                <a:lnTo>
                  <a:pt x="368" y="692"/>
                </a:lnTo>
                <a:lnTo>
                  <a:pt x="366" y="691"/>
                </a:lnTo>
                <a:lnTo>
                  <a:pt x="364" y="690"/>
                </a:lnTo>
                <a:lnTo>
                  <a:pt x="362" y="690"/>
                </a:lnTo>
                <a:lnTo>
                  <a:pt x="361" y="689"/>
                </a:lnTo>
                <a:lnTo>
                  <a:pt x="360" y="689"/>
                </a:lnTo>
                <a:lnTo>
                  <a:pt x="359" y="689"/>
                </a:lnTo>
                <a:lnTo>
                  <a:pt x="357" y="689"/>
                </a:lnTo>
                <a:lnTo>
                  <a:pt x="356" y="690"/>
                </a:lnTo>
                <a:lnTo>
                  <a:pt x="354" y="690"/>
                </a:lnTo>
                <a:lnTo>
                  <a:pt x="349" y="691"/>
                </a:lnTo>
                <a:lnTo>
                  <a:pt x="348" y="692"/>
                </a:lnTo>
                <a:lnTo>
                  <a:pt x="347" y="692"/>
                </a:lnTo>
                <a:lnTo>
                  <a:pt x="346" y="693"/>
                </a:lnTo>
                <a:lnTo>
                  <a:pt x="345" y="694"/>
                </a:lnTo>
                <a:lnTo>
                  <a:pt x="344" y="695"/>
                </a:lnTo>
                <a:lnTo>
                  <a:pt x="343" y="698"/>
                </a:lnTo>
                <a:lnTo>
                  <a:pt x="342" y="700"/>
                </a:lnTo>
                <a:lnTo>
                  <a:pt x="341" y="702"/>
                </a:lnTo>
                <a:lnTo>
                  <a:pt x="339" y="704"/>
                </a:lnTo>
                <a:lnTo>
                  <a:pt x="338" y="706"/>
                </a:lnTo>
                <a:lnTo>
                  <a:pt x="338" y="707"/>
                </a:lnTo>
                <a:lnTo>
                  <a:pt x="337" y="707"/>
                </a:lnTo>
                <a:lnTo>
                  <a:pt x="336" y="708"/>
                </a:lnTo>
                <a:lnTo>
                  <a:pt x="335" y="708"/>
                </a:lnTo>
                <a:lnTo>
                  <a:pt x="335" y="708"/>
                </a:lnTo>
                <a:lnTo>
                  <a:pt x="334" y="708"/>
                </a:lnTo>
                <a:lnTo>
                  <a:pt x="332" y="708"/>
                </a:lnTo>
                <a:lnTo>
                  <a:pt x="330" y="708"/>
                </a:lnTo>
                <a:lnTo>
                  <a:pt x="328" y="709"/>
                </a:lnTo>
                <a:lnTo>
                  <a:pt x="323" y="709"/>
                </a:lnTo>
                <a:lnTo>
                  <a:pt x="312" y="710"/>
                </a:lnTo>
                <a:lnTo>
                  <a:pt x="310" y="710"/>
                </a:lnTo>
                <a:lnTo>
                  <a:pt x="306" y="710"/>
                </a:lnTo>
                <a:lnTo>
                  <a:pt x="304" y="710"/>
                </a:lnTo>
                <a:lnTo>
                  <a:pt x="302" y="710"/>
                </a:lnTo>
                <a:lnTo>
                  <a:pt x="299" y="711"/>
                </a:lnTo>
                <a:lnTo>
                  <a:pt x="298" y="711"/>
                </a:lnTo>
                <a:lnTo>
                  <a:pt x="296" y="711"/>
                </a:lnTo>
                <a:lnTo>
                  <a:pt x="293" y="710"/>
                </a:lnTo>
                <a:lnTo>
                  <a:pt x="292" y="710"/>
                </a:lnTo>
                <a:lnTo>
                  <a:pt x="291" y="710"/>
                </a:lnTo>
                <a:lnTo>
                  <a:pt x="289" y="711"/>
                </a:lnTo>
                <a:lnTo>
                  <a:pt x="288" y="711"/>
                </a:lnTo>
                <a:lnTo>
                  <a:pt x="286" y="711"/>
                </a:lnTo>
                <a:lnTo>
                  <a:pt x="285" y="711"/>
                </a:lnTo>
                <a:lnTo>
                  <a:pt x="283" y="711"/>
                </a:lnTo>
                <a:lnTo>
                  <a:pt x="282" y="711"/>
                </a:lnTo>
                <a:lnTo>
                  <a:pt x="281" y="710"/>
                </a:lnTo>
                <a:lnTo>
                  <a:pt x="280" y="710"/>
                </a:lnTo>
                <a:lnTo>
                  <a:pt x="279" y="709"/>
                </a:lnTo>
                <a:lnTo>
                  <a:pt x="279" y="708"/>
                </a:lnTo>
                <a:lnTo>
                  <a:pt x="278" y="708"/>
                </a:lnTo>
                <a:lnTo>
                  <a:pt x="277" y="707"/>
                </a:lnTo>
                <a:lnTo>
                  <a:pt x="277" y="706"/>
                </a:lnTo>
                <a:lnTo>
                  <a:pt x="277" y="705"/>
                </a:lnTo>
                <a:lnTo>
                  <a:pt x="277" y="703"/>
                </a:lnTo>
                <a:lnTo>
                  <a:pt x="276" y="702"/>
                </a:lnTo>
                <a:lnTo>
                  <a:pt x="276" y="700"/>
                </a:ln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475" y="289"/>
                </a:moveTo>
                <a:lnTo>
                  <a:pt x="475" y="289"/>
                </a:lnTo>
                <a:lnTo>
                  <a:pt x="474" y="290"/>
                </a:lnTo>
                <a:lnTo>
                  <a:pt x="471" y="290"/>
                </a:lnTo>
                <a:lnTo>
                  <a:pt x="464" y="292"/>
                </a:lnTo>
                <a:lnTo>
                  <a:pt x="461" y="292"/>
                </a:lnTo>
                <a:lnTo>
                  <a:pt x="458" y="293"/>
                </a:lnTo>
                <a:lnTo>
                  <a:pt x="454" y="294"/>
                </a:lnTo>
                <a:lnTo>
                  <a:pt x="452" y="295"/>
                </a:lnTo>
                <a:lnTo>
                  <a:pt x="451" y="296"/>
                </a:lnTo>
                <a:lnTo>
                  <a:pt x="447" y="298"/>
                </a:lnTo>
                <a:lnTo>
                  <a:pt x="445" y="299"/>
                </a:lnTo>
                <a:lnTo>
                  <a:pt x="442" y="300"/>
                </a:lnTo>
                <a:lnTo>
                  <a:pt x="437" y="302"/>
                </a:lnTo>
                <a:lnTo>
                  <a:pt x="436" y="302"/>
                </a:lnTo>
                <a:lnTo>
                  <a:pt x="435" y="303"/>
                </a:lnTo>
                <a:lnTo>
                  <a:pt x="429" y="306"/>
                </a:lnTo>
                <a:lnTo>
                  <a:pt x="427" y="307"/>
                </a:lnTo>
                <a:lnTo>
                  <a:pt x="425" y="307"/>
                </a:lnTo>
                <a:lnTo>
                  <a:pt x="421" y="309"/>
                </a:lnTo>
                <a:lnTo>
                  <a:pt x="420" y="309"/>
                </a:lnTo>
                <a:lnTo>
                  <a:pt x="418" y="309"/>
                </a:lnTo>
                <a:lnTo>
                  <a:pt x="414" y="309"/>
                </a:lnTo>
                <a:lnTo>
                  <a:pt x="412" y="310"/>
                </a:lnTo>
                <a:lnTo>
                  <a:pt x="411" y="310"/>
                </a:lnTo>
                <a:lnTo>
                  <a:pt x="410" y="310"/>
                </a:lnTo>
                <a:lnTo>
                  <a:pt x="409" y="311"/>
                </a:lnTo>
                <a:lnTo>
                  <a:pt x="408" y="311"/>
                </a:lnTo>
                <a:lnTo>
                  <a:pt x="407" y="312"/>
                </a:lnTo>
                <a:lnTo>
                  <a:pt x="406" y="313"/>
                </a:lnTo>
                <a:lnTo>
                  <a:pt x="406" y="314"/>
                </a:lnTo>
                <a:lnTo>
                  <a:pt x="405" y="315"/>
                </a:lnTo>
                <a:lnTo>
                  <a:pt x="404" y="316"/>
                </a:lnTo>
                <a:lnTo>
                  <a:pt x="404" y="318"/>
                </a:lnTo>
                <a:lnTo>
                  <a:pt x="403" y="321"/>
                </a:lnTo>
                <a:lnTo>
                  <a:pt x="402" y="323"/>
                </a:lnTo>
                <a:lnTo>
                  <a:pt x="402" y="324"/>
                </a:lnTo>
                <a:lnTo>
                  <a:pt x="402" y="325"/>
                </a:lnTo>
                <a:lnTo>
                  <a:pt x="401" y="325"/>
                </a:lnTo>
                <a:lnTo>
                  <a:pt x="400" y="326"/>
                </a:lnTo>
                <a:lnTo>
                  <a:pt x="399" y="326"/>
                </a:lnTo>
                <a:lnTo>
                  <a:pt x="398" y="327"/>
                </a:lnTo>
                <a:lnTo>
                  <a:pt x="396" y="327"/>
                </a:lnTo>
                <a:lnTo>
                  <a:pt x="394" y="327"/>
                </a:lnTo>
                <a:lnTo>
                  <a:pt x="392" y="326"/>
                </a:lnTo>
                <a:lnTo>
                  <a:pt x="391" y="326"/>
                </a:lnTo>
                <a:lnTo>
                  <a:pt x="389" y="326"/>
                </a:lnTo>
                <a:lnTo>
                  <a:pt x="388" y="325"/>
                </a:lnTo>
                <a:lnTo>
                  <a:pt x="386" y="324"/>
                </a:lnTo>
                <a:lnTo>
                  <a:pt x="385" y="323"/>
                </a:lnTo>
                <a:lnTo>
                  <a:pt x="384" y="323"/>
                </a:lnTo>
                <a:lnTo>
                  <a:pt x="383" y="323"/>
                </a:lnTo>
                <a:lnTo>
                  <a:pt x="382" y="323"/>
                </a:lnTo>
                <a:lnTo>
                  <a:pt x="381" y="323"/>
                </a:lnTo>
                <a:lnTo>
                  <a:pt x="380" y="323"/>
                </a:lnTo>
                <a:lnTo>
                  <a:pt x="379" y="323"/>
                </a:lnTo>
                <a:lnTo>
                  <a:pt x="378" y="324"/>
                </a:lnTo>
                <a:lnTo>
                  <a:pt x="375" y="325"/>
                </a:lnTo>
                <a:lnTo>
                  <a:pt x="373" y="326"/>
                </a:lnTo>
                <a:lnTo>
                  <a:pt x="371" y="327"/>
                </a:lnTo>
                <a:lnTo>
                  <a:pt x="367" y="328"/>
                </a:lnTo>
                <a:lnTo>
                  <a:pt x="364" y="329"/>
                </a:lnTo>
                <a:lnTo>
                  <a:pt x="361" y="330"/>
                </a:lnTo>
                <a:lnTo>
                  <a:pt x="357" y="332"/>
                </a:lnTo>
                <a:lnTo>
                  <a:pt x="355" y="332"/>
                </a:lnTo>
                <a:lnTo>
                  <a:pt x="354" y="333"/>
                </a:lnTo>
                <a:lnTo>
                  <a:pt x="353" y="334"/>
                </a:lnTo>
                <a:lnTo>
                  <a:pt x="353" y="334"/>
                </a:lnTo>
                <a:lnTo>
                  <a:pt x="352" y="335"/>
                </a:lnTo>
                <a:lnTo>
                  <a:pt x="352" y="335"/>
                </a:lnTo>
                <a:lnTo>
                  <a:pt x="352" y="336"/>
                </a:lnTo>
                <a:lnTo>
                  <a:pt x="352" y="336"/>
                </a:lnTo>
                <a:lnTo>
                  <a:pt x="353" y="336"/>
                </a:lnTo>
                <a:lnTo>
                  <a:pt x="353" y="337"/>
                </a:lnTo>
                <a:lnTo>
                  <a:pt x="354" y="337"/>
                </a:lnTo>
                <a:lnTo>
                  <a:pt x="356" y="338"/>
                </a:lnTo>
                <a:lnTo>
                  <a:pt x="357" y="339"/>
                </a:lnTo>
                <a:lnTo>
                  <a:pt x="358" y="340"/>
                </a:lnTo>
                <a:lnTo>
                  <a:pt x="359" y="340"/>
                </a:lnTo>
                <a:lnTo>
                  <a:pt x="361" y="342"/>
                </a:lnTo>
                <a:lnTo>
                  <a:pt x="364" y="345"/>
                </a:lnTo>
                <a:lnTo>
                  <a:pt x="367" y="349"/>
                </a:lnTo>
                <a:lnTo>
                  <a:pt x="369" y="351"/>
                </a:lnTo>
                <a:lnTo>
                  <a:pt x="370" y="351"/>
                </a:lnTo>
                <a:lnTo>
                  <a:pt x="370" y="352"/>
                </a:lnTo>
                <a:lnTo>
                  <a:pt x="370" y="353"/>
                </a:lnTo>
                <a:lnTo>
                  <a:pt x="370" y="353"/>
                </a:lnTo>
                <a:lnTo>
                  <a:pt x="370" y="354"/>
                </a:lnTo>
                <a:lnTo>
                  <a:pt x="370" y="355"/>
                </a:lnTo>
                <a:lnTo>
                  <a:pt x="369" y="355"/>
                </a:lnTo>
                <a:lnTo>
                  <a:pt x="368" y="356"/>
                </a:lnTo>
                <a:lnTo>
                  <a:pt x="365" y="358"/>
                </a:lnTo>
                <a:lnTo>
                  <a:pt x="364" y="359"/>
                </a:lnTo>
                <a:lnTo>
                  <a:pt x="364" y="359"/>
                </a:lnTo>
                <a:lnTo>
                  <a:pt x="363" y="360"/>
                </a:lnTo>
                <a:lnTo>
                  <a:pt x="362" y="361"/>
                </a:lnTo>
                <a:lnTo>
                  <a:pt x="361" y="362"/>
                </a:lnTo>
                <a:lnTo>
                  <a:pt x="361" y="364"/>
                </a:lnTo>
                <a:lnTo>
                  <a:pt x="361" y="364"/>
                </a:lnTo>
                <a:lnTo>
                  <a:pt x="361" y="365"/>
                </a:lnTo>
                <a:lnTo>
                  <a:pt x="361" y="365"/>
                </a:lnTo>
                <a:lnTo>
                  <a:pt x="361" y="366"/>
                </a:lnTo>
                <a:lnTo>
                  <a:pt x="362" y="367"/>
                </a:lnTo>
                <a:lnTo>
                  <a:pt x="364" y="370"/>
                </a:lnTo>
                <a:lnTo>
                  <a:pt x="365" y="371"/>
                </a:lnTo>
                <a:lnTo>
                  <a:pt x="365" y="372"/>
                </a:lnTo>
                <a:lnTo>
                  <a:pt x="367" y="376"/>
                </a:lnTo>
                <a:lnTo>
                  <a:pt x="368" y="377"/>
                </a:lnTo>
                <a:lnTo>
                  <a:pt x="369" y="379"/>
                </a:lnTo>
                <a:lnTo>
                  <a:pt x="370" y="380"/>
                </a:lnTo>
                <a:lnTo>
                  <a:pt x="371" y="382"/>
                </a:lnTo>
                <a:lnTo>
                  <a:pt x="373" y="384"/>
                </a:lnTo>
                <a:lnTo>
                  <a:pt x="375" y="386"/>
                </a:lnTo>
                <a:lnTo>
                  <a:pt x="380" y="389"/>
                </a:lnTo>
                <a:lnTo>
                  <a:pt x="381" y="390"/>
                </a:lnTo>
                <a:lnTo>
                  <a:pt x="381" y="391"/>
                </a:lnTo>
                <a:lnTo>
                  <a:pt x="382" y="392"/>
                </a:lnTo>
                <a:lnTo>
                  <a:pt x="382" y="393"/>
                </a:lnTo>
                <a:lnTo>
                  <a:pt x="382" y="394"/>
                </a:lnTo>
                <a:lnTo>
                  <a:pt x="382" y="395"/>
                </a:lnTo>
                <a:lnTo>
                  <a:pt x="382" y="396"/>
                </a:lnTo>
                <a:lnTo>
                  <a:pt x="382" y="397"/>
                </a:lnTo>
                <a:lnTo>
                  <a:pt x="381" y="399"/>
                </a:lnTo>
                <a:lnTo>
                  <a:pt x="381" y="400"/>
                </a:lnTo>
                <a:lnTo>
                  <a:pt x="380" y="401"/>
                </a:lnTo>
                <a:lnTo>
                  <a:pt x="380" y="402"/>
                </a:lnTo>
                <a:lnTo>
                  <a:pt x="380" y="402"/>
                </a:lnTo>
                <a:lnTo>
                  <a:pt x="381" y="403"/>
                </a:lnTo>
                <a:lnTo>
                  <a:pt x="381" y="404"/>
                </a:lnTo>
                <a:lnTo>
                  <a:pt x="381" y="405"/>
                </a:lnTo>
                <a:lnTo>
                  <a:pt x="382" y="405"/>
                </a:lnTo>
                <a:lnTo>
                  <a:pt x="383" y="406"/>
                </a:lnTo>
                <a:lnTo>
                  <a:pt x="384" y="407"/>
                </a:lnTo>
                <a:lnTo>
                  <a:pt x="385" y="408"/>
                </a:lnTo>
                <a:lnTo>
                  <a:pt x="386" y="408"/>
                </a:lnTo>
                <a:lnTo>
                  <a:pt x="387" y="409"/>
                </a:lnTo>
                <a:lnTo>
                  <a:pt x="390" y="410"/>
                </a:lnTo>
                <a:lnTo>
                  <a:pt x="391" y="411"/>
                </a:lnTo>
                <a:lnTo>
                  <a:pt x="392" y="412"/>
                </a:lnTo>
                <a:lnTo>
                  <a:pt x="392" y="412"/>
                </a:lnTo>
                <a:lnTo>
                  <a:pt x="393" y="413"/>
                </a:lnTo>
                <a:lnTo>
                  <a:pt x="393" y="413"/>
                </a:lnTo>
                <a:lnTo>
                  <a:pt x="393" y="414"/>
                </a:lnTo>
                <a:lnTo>
                  <a:pt x="393" y="415"/>
                </a:lnTo>
                <a:lnTo>
                  <a:pt x="393" y="416"/>
                </a:lnTo>
                <a:lnTo>
                  <a:pt x="393" y="417"/>
                </a:lnTo>
                <a:lnTo>
                  <a:pt x="393" y="420"/>
                </a:lnTo>
                <a:lnTo>
                  <a:pt x="393" y="421"/>
                </a:lnTo>
                <a:lnTo>
                  <a:pt x="393" y="421"/>
                </a:lnTo>
                <a:lnTo>
                  <a:pt x="393" y="422"/>
                </a:lnTo>
                <a:lnTo>
                  <a:pt x="394" y="423"/>
                </a:lnTo>
                <a:lnTo>
                  <a:pt x="394" y="423"/>
                </a:lnTo>
                <a:lnTo>
                  <a:pt x="394" y="424"/>
                </a:lnTo>
                <a:lnTo>
                  <a:pt x="394" y="424"/>
                </a:lnTo>
                <a:lnTo>
                  <a:pt x="394" y="425"/>
                </a:lnTo>
                <a:lnTo>
                  <a:pt x="394" y="426"/>
                </a:lnTo>
                <a:lnTo>
                  <a:pt x="393" y="428"/>
                </a:lnTo>
                <a:lnTo>
                  <a:pt x="393" y="429"/>
                </a:lnTo>
                <a:lnTo>
                  <a:pt x="393" y="431"/>
                </a:lnTo>
                <a:lnTo>
                  <a:pt x="393" y="431"/>
                </a:lnTo>
                <a:lnTo>
                  <a:pt x="393" y="432"/>
                </a:lnTo>
                <a:lnTo>
                  <a:pt x="394" y="433"/>
                </a:lnTo>
                <a:lnTo>
                  <a:pt x="394" y="434"/>
                </a:lnTo>
                <a:lnTo>
                  <a:pt x="395" y="434"/>
                </a:lnTo>
                <a:lnTo>
                  <a:pt x="395" y="435"/>
                </a:lnTo>
                <a:lnTo>
                  <a:pt x="396" y="436"/>
                </a:lnTo>
                <a:lnTo>
                  <a:pt x="396" y="436"/>
                </a:lnTo>
                <a:lnTo>
                  <a:pt x="397" y="437"/>
                </a:lnTo>
                <a:lnTo>
                  <a:pt x="398" y="437"/>
                </a:lnTo>
                <a:lnTo>
                  <a:pt x="399" y="437"/>
                </a:lnTo>
                <a:lnTo>
                  <a:pt x="400" y="438"/>
                </a:lnTo>
                <a:lnTo>
                  <a:pt x="402" y="438"/>
                </a:lnTo>
                <a:lnTo>
                  <a:pt x="404" y="438"/>
                </a:lnTo>
                <a:lnTo>
                  <a:pt x="409" y="439"/>
                </a:lnTo>
                <a:lnTo>
                  <a:pt x="411" y="439"/>
                </a:lnTo>
                <a:lnTo>
                  <a:pt x="414" y="439"/>
                </a:lnTo>
                <a:lnTo>
                  <a:pt x="415" y="439"/>
                </a:lnTo>
                <a:lnTo>
                  <a:pt x="416" y="438"/>
                </a:lnTo>
                <a:lnTo>
                  <a:pt x="416" y="438"/>
                </a:lnTo>
                <a:lnTo>
                  <a:pt x="417" y="438"/>
                </a:lnTo>
                <a:lnTo>
                  <a:pt x="417" y="437"/>
                </a:lnTo>
                <a:lnTo>
                  <a:pt x="417" y="437"/>
                </a:lnTo>
                <a:lnTo>
                  <a:pt x="418" y="436"/>
                </a:lnTo>
                <a:lnTo>
                  <a:pt x="420" y="433"/>
                </a:lnTo>
                <a:lnTo>
                  <a:pt x="421" y="431"/>
                </a:lnTo>
                <a:lnTo>
                  <a:pt x="421" y="431"/>
                </a:lnTo>
                <a:lnTo>
                  <a:pt x="422" y="430"/>
                </a:lnTo>
                <a:lnTo>
                  <a:pt x="423" y="429"/>
                </a:lnTo>
                <a:lnTo>
                  <a:pt x="423" y="429"/>
                </a:lnTo>
                <a:lnTo>
                  <a:pt x="424" y="428"/>
                </a:lnTo>
                <a:lnTo>
                  <a:pt x="425" y="428"/>
                </a:lnTo>
                <a:lnTo>
                  <a:pt x="430" y="427"/>
                </a:lnTo>
                <a:lnTo>
                  <a:pt x="432" y="426"/>
                </a:lnTo>
                <a:lnTo>
                  <a:pt x="433" y="426"/>
                </a:lnTo>
                <a:lnTo>
                  <a:pt x="436" y="425"/>
                </a:lnTo>
                <a:lnTo>
                  <a:pt x="440" y="424"/>
                </a:lnTo>
                <a:lnTo>
                  <a:pt x="443" y="423"/>
                </a:lnTo>
                <a:lnTo>
                  <a:pt x="444" y="422"/>
                </a:lnTo>
                <a:lnTo>
                  <a:pt x="445" y="422"/>
                </a:lnTo>
                <a:lnTo>
                  <a:pt x="446" y="421"/>
                </a:lnTo>
                <a:lnTo>
                  <a:pt x="447" y="420"/>
                </a:lnTo>
                <a:lnTo>
                  <a:pt x="455" y="414"/>
                </a:lnTo>
                <a:lnTo>
                  <a:pt x="458" y="412"/>
                </a:lnTo>
                <a:lnTo>
                  <a:pt x="459" y="411"/>
                </a:lnTo>
                <a:lnTo>
                  <a:pt x="460" y="410"/>
                </a:lnTo>
                <a:lnTo>
                  <a:pt x="462" y="409"/>
                </a:lnTo>
                <a:lnTo>
                  <a:pt x="464" y="409"/>
                </a:lnTo>
                <a:lnTo>
                  <a:pt x="467" y="408"/>
                </a:lnTo>
                <a:lnTo>
                  <a:pt x="468" y="407"/>
                </a:lnTo>
                <a:lnTo>
                  <a:pt x="469" y="407"/>
                </a:lnTo>
                <a:lnTo>
                  <a:pt x="471" y="406"/>
                </a:lnTo>
                <a:lnTo>
                  <a:pt x="472" y="405"/>
                </a:lnTo>
                <a:lnTo>
                  <a:pt x="473" y="404"/>
                </a:lnTo>
                <a:lnTo>
                  <a:pt x="475" y="402"/>
                </a:lnTo>
                <a:lnTo>
                  <a:pt x="476" y="401"/>
                </a:lnTo>
                <a:lnTo>
                  <a:pt x="476" y="401"/>
                </a:lnTo>
                <a:lnTo>
                  <a:pt x="477" y="400"/>
                </a:lnTo>
                <a:lnTo>
                  <a:pt x="478" y="400"/>
                </a:lnTo>
                <a:lnTo>
                  <a:pt x="479" y="399"/>
                </a:lnTo>
                <a:lnTo>
                  <a:pt x="480" y="399"/>
                </a:lnTo>
                <a:lnTo>
                  <a:pt x="481" y="399"/>
                </a:lnTo>
                <a:lnTo>
                  <a:pt x="485" y="398"/>
                </a:lnTo>
                <a:lnTo>
                  <a:pt x="487" y="398"/>
                </a:lnTo>
                <a:lnTo>
                  <a:pt x="488" y="398"/>
                </a:lnTo>
                <a:lnTo>
                  <a:pt x="492" y="398"/>
                </a:lnTo>
                <a:lnTo>
                  <a:pt x="495" y="398"/>
                </a:lnTo>
                <a:lnTo>
                  <a:pt x="496" y="398"/>
                </a:lnTo>
                <a:lnTo>
                  <a:pt x="497" y="398"/>
                </a:lnTo>
                <a:lnTo>
                  <a:pt x="498" y="398"/>
                </a:lnTo>
                <a:lnTo>
                  <a:pt x="500" y="399"/>
                </a:lnTo>
                <a:lnTo>
                  <a:pt x="502" y="399"/>
                </a:lnTo>
                <a:lnTo>
                  <a:pt x="503" y="400"/>
                </a:lnTo>
                <a:lnTo>
                  <a:pt x="505" y="401"/>
                </a:lnTo>
                <a:lnTo>
                  <a:pt x="508" y="403"/>
                </a:lnTo>
                <a:lnTo>
                  <a:pt x="510" y="404"/>
                </a:lnTo>
                <a:lnTo>
                  <a:pt x="511" y="405"/>
                </a:lnTo>
                <a:lnTo>
                  <a:pt x="512" y="405"/>
                </a:lnTo>
                <a:lnTo>
                  <a:pt x="514" y="406"/>
                </a:lnTo>
                <a:lnTo>
                  <a:pt x="515" y="406"/>
                </a:lnTo>
                <a:lnTo>
                  <a:pt x="517" y="406"/>
                </a:lnTo>
                <a:lnTo>
                  <a:pt x="519" y="406"/>
                </a:lnTo>
                <a:lnTo>
                  <a:pt x="520" y="406"/>
                </a:lnTo>
                <a:lnTo>
                  <a:pt x="521" y="406"/>
                </a:lnTo>
                <a:lnTo>
                  <a:pt x="522" y="406"/>
                </a:lnTo>
                <a:lnTo>
                  <a:pt x="522" y="405"/>
                </a:lnTo>
                <a:lnTo>
                  <a:pt x="523" y="405"/>
                </a:lnTo>
                <a:lnTo>
                  <a:pt x="525" y="403"/>
                </a:lnTo>
                <a:lnTo>
                  <a:pt x="528" y="401"/>
                </a:lnTo>
                <a:lnTo>
                  <a:pt x="529" y="400"/>
                </a:lnTo>
                <a:lnTo>
                  <a:pt x="530" y="399"/>
                </a:lnTo>
                <a:lnTo>
                  <a:pt x="531" y="398"/>
                </a:lnTo>
                <a:lnTo>
                  <a:pt x="531" y="396"/>
                </a:lnTo>
                <a:lnTo>
                  <a:pt x="532" y="395"/>
                </a:lnTo>
                <a:lnTo>
                  <a:pt x="532" y="394"/>
                </a:lnTo>
                <a:lnTo>
                  <a:pt x="532" y="393"/>
                </a:lnTo>
                <a:lnTo>
                  <a:pt x="532" y="390"/>
                </a:lnTo>
                <a:lnTo>
                  <a:pt x="531" y="385"/>
                </a:lnTo>
                <a:lnTo>
                  <a:pt x="530" y="381"/>
                </a:lnTo>
                <a:lnTo>
                  <a:pt x="530" y="380"/>
                </a:lnTo>
                <a:lnTo>
                  <a:pt x="530" y="380"/>
                </a:lnTo>
                <a:lnTo>
                  <a:pt x="530" y="379"/>
                </a:lnTo>
                <a:lnTo>
                  <a:pt x="529" y="378"/>
                </a:lnTo>
                <a:lnTo>
                  <a:pt x="529" y="377"/>
                </a:lnTo>
                <a:lnTo>
                  <a:pt x="528" y="376"/>
                </a:lnTo>
                <a:lnTo>
                  <a:pt x="526" y="375"/>
                </a:lnTo>
                <a:lnTo>
                  <a:pt x="526" y="374"/>
                </a:lnTo>
                <a:lnTo>
                  <a:pt x="526" y="374"/>
                </a:lnTo>
                <a:lnTo>
                  <a:pt x="526" y="373"/>
                </a:lnTo>
                <a:lnTo>
                  <a:pt x="525" y="372"/>
                </a:lnTo>
                <a:lnTo>
                  <a:pt x="525" y="371"/>
                </a:lnTo>
                <a:lnTo>
                  <a:pt x="526" y="370"/>
                </a:lnTo>
                <a:lnTo>
                  <a:pt x="526" y="369"/>
                </a:lnTo>
                <a:lnTo>
                  <a:pt x="526" y="369"/>
                </a:lnTo>
                <a:lnTo>
                  <a:pt x="527" y="368"/>
                </a:lnTo>
                <a:lnTo>
                  <a:pt x="528" y="367"/>
                </a:lnTo>
                <a:lnTo>
                  <a:pt x="529" y="366"/>
                </a:lnTo>
                <a:lnTo>
                  <a:pt x="530" y="365"/>
                </a:lnTo>
                <a:lnTo>
                  <a:pt x="531" y="365"/>
                </a:lnTo>
                <a:lnTo>
                  <a:pt x="538" y="361"/>
                </a:lnTo>
                <a:lnTo>
                  <a:pt x="541" y="359"/>
                </a:lnTo>
                <a:lnTo>
                  <a:pt x="542" y="358"/>
                </a:lnTo>
                <a:lnTo>
                  <a:pt x="543" y="357"/>
                </a:lnTo>
                <a:lnTo>
                  <a:pt x="544" y="356"/>
                </a:lnTo>
                <a:lnTo>
                  <a:pt x="545" y="356"/>
                </a:lnTo>
                <a:lnTo>
                  <a:pt x="545" y="355"/>
                </a:lnTo>
                <a:lnTo>
                  <a:pt x="546" y="354"/>
                </a:lnTo>
                <a:lnTo>
                  <a:pt x="547" y="352"/>
                </a:lnTo>
                <a:lnTo>
                  <a:pt x="547" y="351"/>
                </a:lnTo>
                <a:lnTo>
                  <a:pt x="547" y="350"/>
                </a:lnTo>
                <a:lnTo>
                  <a:pt x="547" y="349"/>
                </a:lnTo>
                <a:lnTo>
                  <a:pt x="547" y="349"/>
                </a:lnTo>
                <a:lnTo>
                  <a:pt x="547" y="347"/>
                </a:lnTo>
                <a:lnTo>
                  <a:pt x="546" y="346"/>
                </a:lnTo>
                <a:lnTo>
                  <a:pt x="545" y="345"/>
                </a:lnTo>
                <a:lnTo>
                  <a:pt x="545" y="344"/>
                </a:lnTo>
                <a:lnTo>
                  <a:pt x="543" y="342"/>
                </a:lnTo>
                <a:lnTo>
                  <a:pt x="542" y="341"/>
                </a:lnTo>
                <a:lnTo>
                  <a:pt x="541" y="341"/>
                </a:lnTo>
                <a:lnTo>
                  <a:pt x="540" y="340"/>
                </a:lnTo>
                <a:lnTo>
                  <a:pt x="535" y="336"/>
                </a:lnTo>
                <a:lnTo>
                  <a:pt x="534" y="335"/>
                </a:lnTo>
                <a:lnTo>
                  <a:pt x="534" y="334"/>
                </a:lnTo>
                <a:lnTo>
                  <a:pt x="533" y="334"/>
                </a:lnTo>
                <a:lnTo>
                  <a:pt x="532" y="333"/>
                </a:lnTo>
                <a:lnTo>
                  <a:pt x="530" y="330"/>
                </a:lnTo>
                <a:lnTo>
                  <a:pt x="529" y="329"/>
                </a:lnTo>
                <a:lnTo>
                  <a:pt x="528" y="328"/>
                </a:lnTo>
                <a:lnTo>
                  <a:pt x="527" y="327"/>
                </a:lnTo>
                <a:lnTo>
                  <a:pt x="526" y="326"/>
                </a:lnTo>
                <a:lnTo>
                  <a:pt x="525" y="325"/>
                </a:lnTo>
                <a:lnTo>
                  <a:pt x="520" y="323"/>
                </a:lnTo>
                <a:lnTo>
                  <a:pt x="518" y="322"/>
                </a:lnTo>
                <a:lnTo>
                  <a:pt x="513" y="320"/>
                </a:lnTo>
                <a:lnTo>
                  <a:pt x="511" y="320"/>
                </a:lnTo>
                <a:lnTo>
                  <a:pt x="510" y="319"/>
                </a:lnTo>
                <a:lnTo>
                  <a:pt x="509" y="319"/>
                </a:lnTo>
                <a:lnTo>
                  <a:pt x="508" y="318"/>
                </a:lnTo>
                <a:lnTo>
                  <a:pt x="507" y="317"/>
                </a:lnTo>
                <a:lnTo>
                  <a:pt x="506" y="316"/>
                </a:lnTo>
                <a:lnTo>
                  <a:pt x="505" y="315"/>
                </a:lnTo>
                <a:lnTo>
                  <a:pt x="504" y="314"/>
                </a:lnTo>
                <a:lnTo>
                  <a:pt x="504" y="313"/>
                </a:lnTo>
                <a:lnTo>
                  <a:pt x="503" y="312"/>
                </a:lnTo>
                <a:lnTo>
                  <a:pt x="502" y="308"/>
                </a:lnTo>
                <a:lnTo>
                  <a:pt x="501" y="307"/>
                </a:lnTo>
                <a:lnTo>
                  <a:pt x="501" y="307"/>
                </a:lnTo>
                <a:lnTo>
                  <a:pt x="500" y="306"/>
                </a:lnTo>
                <a:lnTo>
                  <a:pt x="499" y="306"/>
                </a:lnTo>
                <a:lnTo>
                  <a:pt x="498" y="306"/>
                </a:lnTo>
                <a:lnTo>
                  <a:pt x="495" y="305"/>
                </a:lnTo>
                <a:lnTo>
                  <a:pt x="494" y="304"/>
                </a:lnTo>
                <a:lnTo>
                  <a:pt x="492" y="304"/>
                </a:lnTo>
                <a:lnTo>
                  <a:pt x="491" y="303"/>
                </a:lnTo>
                <a:lnTo>
                  <a:pt x="487" y="299"/>
                </a:lnTo>
                <a:lnTo>
                  <a:pt x="484" y="298"/>
                </a:lnTo>
                <a:lnTo>
                  <a:pt x="481" y="295"/>
                </a:lnTo>
                <a:lnTo>
                  <a:pt x="480" y="295"/>
                </a:lnTo>
                <a:lnTo>
                  <a:pt x="479" y="294"/>
                </a:lnTo>
                <a:lnTo>
                  <a:pt x="478" y="293"/>
                </a:lnTo>
                <a:lnTo>
                  <a:pt x="478" y="293"/>
                </a:lnTo>
                <a:lnTo>
                  <a:pt x="477" y="292"/>
                </a:lnTo>
                <a:lnTo>
                  <a:pt x="477" y="291"/>
                </a:lnTo>
                <a:lnTo>
                  <a:pt x="477" y="290"/>
                </a:lnTo>
                <a:lnTo>
                  <a:pt x="477" y="290"/>
                </a:lnTo>
                <a:lnTo>
                  <a:pt x="477" y="290"/>
                </a:lnTo>
                <a:lnTo>
                  <a:pt x="477" y="289"/>
                </a:lnTo>
                <a:lnTo>
                  <a:pt x="476" y="289"/>
                </a:lnTo>
                <a:lnTo>
                  <a:pt x="475" y="289"/>
                </a:lnTo>
                <a:lnTo>
                  <a:pt x="475" y="289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 261">
            <a:extLst>
              <a:ext uri="{FF2B5EF4-FFF2-40B4-BE49-F238E27FC236}">
                <a16:creationId xmlns:a16="http://schemas.microsoft.com/office/drawing/2014/main" id="{A6B15975-9BF5-497B-8828-F7F96DDB9678}"/>
              </a:ext>
            </a:extLst>
          </p:cNvPr>
          <p:cNvSpPr>
            <a:spLocks/>
          </p:cNvSpPr>
          <p:nvPr/>
        </p:nvSpPr>
        <p:spPr bwMode="auto">
          <a:xfrm>
            <a:off x="7964414" y="3585287"/>
            <a:ext cx="1182250" cy="1509751"/>
          </a:xfrm>
          <a:custGeom>
            <a:avLst/>
            <a:gdLst>
              <a:gd name="T0" fmla="*/ 382 w 622"/>
              <a:gd name="T1" fmla="*/ 15 h 726"/>
              <a:gd name="T2" fmla="*/ 401 w 622"/>
              <a:gd name="T3" fmla="*/ 14 h 726"/>
              <a:gd name="T4" fmla="*/ 434 w 622"/>
              <a:gd name="T5" fmla="*/ 42 h 726"/>
              <a:gd name="T6" fmla="*/ 459 w 622"/>
              <a:gd name="T7" fmla="*/ 64 h 726"/>
              <a:gd name="T8" fmla="*/ 455 w 622"/>
              <a:gd name="T9" fmla="*/ 93 h 726"/>
              <a:gd name="T10" fmla="*/ 463 w 622"/>
              <a:gd name="T11" fmla="*/ 127 h 726"/>
              <a:gd name="T12" fmla="*/ 450 w 622"/>
              <a:gd name="T13" fmla="*/ 153 h 726"/>
              <a:gd name="T14" fmla="*/ 451 w 622"/>
              <a:gd name="T15" fmla="*/ 173 h 726"/>
              <a:gd name="T16" fmla="*/ 471 w 622"/>
              <a:gd name="T17" fmla="*/ 182 h 726"/>
              <a:gd name="T18" fmla="*/ 486 w 622"/>
              <a:gd name="T19" fmla="*/ 204 h 726"/>
              <a:gd name="T20" fmla="*/ 499 w 622"/>
              <a:gd name="T21" fmla="*/ 216 h 726"/>
              <a:gd name="T22" fmla="*/ 544 w 622"/>
              <a:gd name="T23" fmla="*/ 212 h 726"/>
              <a:gd name="T24" fmla="*/ 557 w 622"/>
              <a:gd name="T25" fmla="*/ 230 h 726"/>
              <a:gd name="T26" fmla="*/ 563 w 622"/>
              <a:gd name="T27" fmla="*/ 267 h 726"/>
              <a:gd name="T28" fmla="*/ 553 w 622"/>
              <a:gd name="T29" fmla="*/ 294 h 726"/>
              <a:gd name="T30" fmla="*/ 558 w 622"/>
              <a:gd name="T31" fmla="*/ 312 h 726"/>
              <a:gd name="T32" fmla="*/ 583 w 622"/>
              <a:gd name="T33" fmla="*/ 326 h 726"/>
              <a:gd name="T34" fmla="*/ 572 w 622"/>
              <a:gd name="T35" fmla="*/ 339 h 726"/>
              <a:gd name="T36" fmla="*/ 572 w 622"/>
              <a:gd name="T37" fmla="*/ 350 h 726"/>
              <a:gd name="T38" fmla="*/ 562 w 622"/>
              <a:gd name="T39" fmla="*/ 369 h 726"/>
              <a:gd name="T40" fmla="*/ 556 w 622"/>
              <a:gd name="T41" fmla="*/ 379 h 726"/>
              <a:gd name="T42" fmla="*/ 572 w 622"/>
              <a:gd name="T43" fmla="*/ 393 h 726"/>
              <a:gd name="T44" fmla="*/ 592 w 622"/>
              <a:gd name="T45" fmla="*/ 402 h 726"/>
              <a:gd name="T46" fmla="*/ 601 w 622"/>
              <a:gd name="T47" fmla="*/ 418 h 726"/>
              <a:gd name="T48" fmla="*/ 621 w 622"/>
              <a:gd name="T49" fmla="*/ 438 h 726"/>
              <a:gd name="T50" fmla="*/ 615 w 622"/>
              <a:gd name="T51" fmla="*/ 469 h 726"/>
              <a:gd name="T52" fmla="*/ 605 w 622"/>
              <a:gd name="T53" fmla="*/ 500 h 726"/>
              <a:gd name="T54" fmla="*/ 581 w 622"/>
              <a:gd name="T55" fmla="*/ 514 h 726"/>
              <a:gd name="T56" fmla="*/ 581 w 622"/>
              <a:gd name="T57" fmla="*/ 533 h 726"/>
              <a:gd name="T58" fmla="*/ 563 w 622"/>
              <a:gd name="T59" fmla="*/ 539 h 726"/>
              <a:gd name="T60" fmla="*/ 537 w 622"/>
              <a:gd name="T61" fmla="*/ 556 h 726"/>
              <a:gd name="T62" fmla="*/ 506 w 622"/>
              <a:gd name="T63" fmla="*/ 565 h 726"/>
              <a:gd name="T64" fmla="*/ 492 w 622"/>
              <a:gd name="T65" fmla="*/ 574 h 726"/>
              <a:gd name="T66" fmla="*/ 475 w 622"/>
              <a:gd name="T67" fmla="*/ 610 h 726"/>
              <a:gd name="T68" fmla="*/ 496 w 622"/>
              <a:gd name="T69" fmla="*/ 629 h 726"/>
              <a:gd name="T70" fmla="*/ 500 w 622"/>
              <a:gd name="T71" fmla="*/ 651 h 726"/>
              <a:gd name="T72" fmla="*/ 477 w 622"/>
              <a:gd name="T73" fmla="*/ 658 h 726"/>
              <a:gd name="T74" fmla="*/ 465 w 622"/>
              <a:gd name="T75" fmla="*/ 671 h 726"/>
              <a:gd name="T76" fmla="*/ 436 w 622"/>
              <a:gd name="T77" fmla="*/ 667 h 726"/>
              <a:gd name="T78" fmla="*/ 396 w 622"/>
              <a:gd name="T79" fmla="*/ 665 h 726"/>
              <a:gd name="T80" fmla="*/ 390 w 622"/>
              <a:gd name="T81" fmla="*/ 677 h 726"/>
              <a:gd name="T82" fmla="*/ 373 w 622"/>
              <a:gd name="T83" fmla="*/ 688 h 726"/>
              <a:gd name="T84" fmla="*/ 360 w 622"/>
              <a:gd name="T85" fmla="*/ 702 h 726"/>
              <a:gd name="T86" fmla="*/ 343 w 622"/>
              <a:gd name="T87" fmla="*/ 677 h 726"/>
              <a:gd name="T88" fmla="*/ 326 w 622"/>
              <a:gd name="T89" fmla="*/ 676 h 726"/>
              <a:gd name="T90" fmla="*/ 296 w 622"/>
              <a:gd name="T91" fmla="*/ 659 h 726"/>
              <a:gd name="T92" fmla="*/ 282 w 622"/>
              <a:gd name="T93" fmla="*/ 679 h 726"/>
              <a:gd name="T94" fmla="*/ 279 w 622"/>
              <a:gd name="T95" fmla="*/ 703 h 726"/>
              <a:gd name="T96" fmla="*/ 248 w 622"/>
              <a:gd name="T97" fmla="*/ 726 h 726"/>
              <a:gd name="T98" fmla="*/ 224 w 622"/>
              <a:gd name="T99" fmla="*/ 719 h 726"/>
              <a:gd name="T100" fmla="*/ 220 w 622"/>
              <a:gd name="T101" fmla="*/ 708 h 726"/>
              <a:gd name="T102" fmla="*/ 185 w 622"/>
              <a:gd name="T103" fmla="*/ 706 h 726"/>
              <a:gd name="T104" fmla="*/ 160 w 622"/>
              <a:gd name="T105" fmla="*/ 704 h 726"/>
              <a:gd name="T106" fmla="*/ 145 w 622"/>
              <a:gd name="T107" fmla="*/ 705 h 726"/>
              <a:gd name="T108" fmla="*/ 127 w 622"/>
              <a:gd name="T109" fmla="*/ 713 h 726"/>
              <a:gd name="T110" fmla="*/ 108 w 622"/>
              <a:gd name="T111" fmla="*/ 704 h 726"/>
              <a:gd name="T112" fmla="*/ 86 w 622"/>
              <a:gd name="T113" fmla="*/ 690 h 726"/>
              <a:gd name="T114" fmla="*/ 62 w 622"/>
              <a:gd name="T115" fmla="*/ 706 h 726"/>
              <a:gd name="T116" fmla="*/ 22 w 622"/>
              <a:gd name="T117" fmla="*/ 711 h 726"/>
              <a:gd name="T118" fmla="*/ 1 w 622"/>
              <a:gd name="T119" fmla="*/ 706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2" h="726">
                <a:moveTo>
                  <a:pt x="363" y="0"/>
                </a:moveTo>
                <a:lnTo>
                  <a:pt x="364" y="1"/>
                </a:lnTo>
                <a:lnTo>
                  <a:pt x="365" y="1"/>
                </a:lnTo>
                <a:lnTo>
                  <a:pt x="366" y="2"/>
                </a:lnTo>
                <a:lnTo>
                  <a:pt x="366" y="2"/>
                </a:lnTo>
                <a:lnTo>
                  <a:pt x="369" y="5"/>
                </a:lnTo>
                <a:lnTo>
                  <a:pt x="370" y="6"/>
                </a:lnTo>
                <a:lnTo>
                  <a:pt x="372" y="7"/>
                </a:lnTo>
                <a:lnTo>
                  <a:pt x="375" y="9"/>
                </a:lnTo>
                <a:lnTo>
                  <a:pt x="376" y="10"/>
                </a:lnTo>
                <a:lnTo>
                  <a:pt x="377" y="11"/>
                </a:lnTo>
                <a:lnTo>
                  <a:pt x="378" y="13"/>
                </a:lnTo>
                <a:lnTo>
                  <a:pt x="378" y="13"/>
                </a:lnTo>
                <a:lnTo>
                  <a:pt x="379" y="14"/>
                </a:lnTo>
                <a:lnTo>
                  <a:pt x="380" y="14"/>
                </a:lnTo>
                <a:lnTo>
                  <a:pt x="381" y="15"/>
                </a:lnTo>
                <a:lnTo>
                  <a:pt x="382" y="15"/>
                </a:lnTo>
                <a:lnTo>
                  <a:pt x="382" y="15"/>
                </a:lnTo>
                <a:lnTo>
                  <a:pt x="383" y="14"/>
                </a:lnTo>
                <a:lnTo>
                  <a:pt x="384" y="14"/>
                </a:lnTo>
                <a:lnTo>
                  <a:pt x="384" y="14"/>
                </a:lnTo>
                <a:lnTo>
                  <a:pt x="386" y="13"/>
                </a:lnTo>
                <a:lnTo>
                  <a:pt x="387" y="12"/>
                </a:lnTo>
                <a:lnTo>
                  <a:pt x="388" y="11"/>
                </a:lnTo>
                <a:lnTo>
                  <a:pt x="389" y="11"/>
                </a:lnTo>
                <a:lnTo>
                  <a:pt x="390" y="11"/>
                </a:lnTo>
                <a:lnTo>
                  <a:pt x="391" y="11"/>
                </a:lnTo>
                <a:lnTo>
                  <a:pt x="392" y="11"/>
                </a:lnTo>
                <a:lnTo>
                  <a:pt x="396" y="12"/>
                </a:lnTo>
                <a:lnTo>
                  <a:pt x="397" y="12"/>
                </a:lnTo>
                <a:lnTo>
                  <a:pt x="398" y="12"/>
                </a:lnTo>
                <a:lnTo>
                  <a:pt x="399" y="13"/>
                </a:lnTo>
                <a:lnTo>
                  <a:pt x="400" y="13"/>
                </a:lnTo>
                <a:lnTo>
                  <a:pt x="401" y="14"/>
                </a:lnTo>
                <a:lnTo>
                  <a:pt x="402" y="16"/>
                </a:lnTo>
                <a:lnTo>
                  <a:pt x="406" y="20"/>
                </a:lnTo>
                <a:lnTo>
                  <a:pt x="412" y="27"/>
                </a:lnTo>
                <a:lnTo>
                  <a:pt x="415" y="30"/>
                </a:lnTo>
                <a:lnTo>
                  <a:pt x="416" y="30"/>
                </a:lnTo>
                <a:lnTo>
                  <a:pt x="416" y="31"/>
                </a:lnTo>
                <a:lnTo>
                  <a:pt x="417" y="32"/>
                </a:lnTo>
                <a:lnTo>
                  <a:pt x="419" y="32"/>
                </a:lnTo>
                <a:lnTo>
                  <a:pt x="420" y="33"/>
                </a:lnTo>
                <a:lnTo>
                  <a:pt x="423" y="34"/>
                </a:lnTo>
                <a:lnTo>
                  <a:pt x="424" y="34"/>
                </a:lnTo>
                <a:lnTo>
                  <a:pt x="425" y="35"/>
                </a:lnTo>
                <a:lnTo>
                  <a:pt x="427" y="36"/>
                </a:lnTo>
                <a:lnTo>
                  <a:pt x="429" y="38"/>
                </a:lnTo>
                <a:lnTo>
                  <a:pt x="432" y="40"/>
                </a:lnTo>
                <a:lnTo>
                  <a:pt x="433" y="41"/>
                </a:lnTo>
                <a:lnTo>
                  <a:pt x="434" y="42"/>
                </a:lnTo>
                <a:lnTo>
                  <a:pt x="435" y="43"/>
                </a:lnTo>
                <a:lnTo>
                  <a:pt x="436" y="45"/>
                </a:lnTo>
                <a:lnTo>
                  <a:pt x="437" y="46"/>
                </a:lnTo>
                <a:lnTo>
                  <a:pt x="439" y="50"/>
                </a:lnTo>
                <a:lnTo>
                  <a:pt x="440" y="52"/>
                </a:lnTo>
                <a:lnTo>
                  <a:pt x="441" y="53"/>
                </a:lnTo>
                <a:lnTo>
                  <a:pt x="442" y="53"/>
                </a:lnTo>
                <a:lnTo>
                  <a:pt x="443" y="55"/>
                </a:lnTo>
                <a:lnTo>
                  <a:pt x="444" y="55"/>
                </a:lnTo>
                <a:lnTo>
                  <a:pt x="445" y="56"/>
                </a:lnTo>
                <a:lnTo>
                  <a:pt x="446" y="57"/>
                </a:lnTo>
                <a:lnTo>
                  <a:pt x="448" y="58"/>
                </a:lnTo>
                <a:lnTo>
                  <a:pt x="451" y="59"/>
                </a:lnTo>
                <a:lnTo>
                  <a:pt x="457" y="62"/>
                </a:lnTo>
                <a:lnTo>
                  <a:pt x="458" y="62"/>
                </a:lnTo>
                <a:lnTo>
                  <a:pt x="460" y="63"/>
                </a:lnTo>
                <a:lnTo>
                  <a:pt x="459" y="64"/>
                </a:lnTo>
                <a:lnTo>
                  <a:pt x="457" y="66"/>
                </a:lnTo>
                <a:lnTo>
                  <a:pt x="454" y="69"/>
                </a:lnTo>
                <a:lnTo>
                  <a:pt x="452" y="71"/>
                </a:lnTo>
                <a:lnTo>
                  <a:pt x="451" y="72"/>
                </a:lnTo>
                <a:lnTo>
                  <a:pt x="450" y="73"/>
                </a:lnTo>
                <a:lnTo>
                  <a:pt x="450" y="74"/>
                </a:lnTo>
                <a:lnTo>
                  <a:pt x="450" y="75"/>
                </a:lnTo>
                <a:lnTo>
                  <a:pt x="449" y="76"/>
                </a:lnTo>
                <a:lnTo>
                  <a:pt x="449" y="77"/>
                </a:lnTo>
                <a:lnTo>
                  <a:pt x="449" y="78"/>
                </a:lnTo>
                <a:lnTo>
                  <a:pt x="450" y="79"/>
                </a:lnTo>
                <a:lnTo>
                  <a:pt x="450" y="80"/>
                </a:lnTo>
                <a:lnTo>
                  <a:pt x="452" y="83"/>
                </a:lnTo>
                <a:lnTo>
                  <a:pt x="453" y="85"/>
                </a:lnTo>
                <a:lnTo>
                  <a:pt x="453" y="87"/>
                </a:lnTo>
                <a:lnTo>
                  <a:pt x="454" y="90"/>
                </a:lnTo>
                <a:lnTo>
                  <a:pt x="455" y="93"/>
                </a:lnTo>
                <a:lnTo>
                  <a:pt x="456" y="94"/>
                </a:lnTo>
                <a:lnTo>
                  <a:pt x="456" y="95"/>
                </a:lnTo>
                <a:lnTo>
                  <a:pt x="456" y="96"/>
                </a:lnTo>
                <a:lnTo>
                  <a:pt x="456" y="99"/>
                </a:lnTo>
                <a:lnTo>
                  <a:pt x="456" y="105"/>
                </a:lnTo>
                <a:lnTo>
                  <a:pt x="456" y="107"/>
                </a:lnTo>
                <a:lnTo>
                  <a:pt x="456" y="109"/>
                </a:lnTo>
                <a:lnTo>
                  <a:pt x="456" y="110"/>
                </a:lnTo>
                <a:lnTo>
                  <a:pt x="457" y="111"/>
                </a:lnTo>
                <a:lnTo>
                  <a:pt x="458" y="112"/>
                </a:lnTo>
                <a:lnTo>
                  <a:pt x="459" y="114"/>
                </a:lnTo>
                <a:lnTo>
                  <a:pt x="460" y="115"/>
                </a:lnTo>
                <a:lnTo>
                  <a:pt x="460" y="117"/>
                </a:lnTo>
                <a:lnTo>
                  <a:pt x="461" y="118"/>
                </a:lnTo>
                <a:lnTo>
                  <a:pt x="462" y="119"/>
                </a:lnTo>
                <a:lnTo>
                  <a:pt x="463" y="125"/>
                </a:lnTo>
                <a:lnTo>
                  <a:pt x="463" y="127"/>
                </a:lnTo>
                <a:lnTo>
                  <a:pt x="463" y="128"/>
                </a:lnTo>
                <a:lnTo>
                  <a:pt x="463" y="130"/>
                </a:lnTo>
                <a:lnTo>
                  <a:pt x="463" y="132"/>
                </a:lnTo>
                <a:lnTo>
                  <a:pt x="463" y="134"/>
                </a:lnTo>
                <a:lnTo>
                  <a:pt x="462" y="136"/>
                </a:lnTo>
                <a:lnTo>
                  <a:pt x="462" y="137"/>
                </a:lnTo>
                <a:lnTo>
                  <a:pt x="461" y="138"/>
                </a:lnTo>
                <a:lnTo>
                  <a:pt x="459" y="142"/>
                </a:lnTo>
                <a:lnTo>
                  <a:pt x="458" y="143"/>
                </a:lnTo>
                <a:lnTo>
                  <a:pt x="458" y="144"/>
                </a:lnTo>
                <a:lnTo>
                  <a:pt x="456" y="148"/>
                </a:lnTo>
                <a:lnTo>
                  <a:pt x="456" y="149"/>
                </a:lnTo>
                <a:lnTo>
                  <a:pt x="455" y="150"/>
                </a:lnTo>
                <a:lnTo>
                  <a:pt x="455" y="150"/>
                </a:lnTo>
                <a:lnTo>
                  <a:pt x="454" y="151"/>
                </a:lnTo>
                <a:lnTo>
                  <a:pt x="453" y="152"/>
                </a:lnTo>
                <a:lnTo>
                  <a:pt x="450" y="153"/>
                </a:lnTo>
                <a:lnTo>
                  <a:pt x="449" y="154"/>
                </a:lnTo>
                <a:lnTo>
                  <a:pt x="448" y="154"/>
                </a:lnTo>
                <a:lnTo>
                  <a:pt x="448" y="155"/>
                </a:lnTo>
                <a:lnTo>
                  <a:pt x="447" y="156"/>
                </a:lnTo>
                <a:lnTo>
                  <a:pt x="446" y="157"/>
                </a:lnTo>
                <a:lnTo>
                  <a:pt x="446" y="158"/>
                </a:lnTo>
                <a:lnTo>
                  <a:pt x="446" y="159"/>
                </a:lnTo>
                <a:lnTo>
                  <a:pt x="446" y="160"/>
                </a:lnTo>
                <a:lnTo>
                  <a:pt x="446" y="161"/>
                </a:lnTo>
                <a:lnTo>
                  <a:pt x="446" y="162"/>
                </a:lnTo>
                <a:lnTo>
                  <a:pt x="447" y="163"/>
                </a:lnTo>
                <a:lnTo>
                  <a:pt x="447" y="164"/>
                </a:lnTo>
                <a:lnTo>
                  <a:pt x="449" y="167"/>
                </a:lnTo>
                <a:lnTo>
                  <a:pt x="450" y="168"/>
                </a:lnTo>
                <a:lnTo>
                  <a:pt x="450" y="169"/>
                </a:lnTo>
                <a:lnTo>
                  <a:pt x="451" y="171"/>
                </a:lnTo>
                <a:lnTo>
                  <a:pt x="451" y="173"/>
                </a:lnTo>
                <a:lnTo>
                  <a:pt x="452" y="174"/>
                </a:lnTo>
                <a:lnTo>
                  <a:pt x="452" y="175"/>
                </a:lnTo>
                <a:lnTo>
                  <a:pt x="453" y="176"/>
                </a:lnTo>
                <a:lnTo>
                  <a:pt x="454" y="177"/>
                </a:lnTo>
                <a:lnTo>
                  <a:pt x="455" y="177"/>
                </a:lnTo>
                <a:lnTo>
                  <a:pt x="456" y="178"/>
                </a:lnTo>
                <a:lnTo>
                  <a:pt x="457" y="179"/>
                </a:lnTo>
                <a:lnTo>
                  <a:pt x="458" y="179"/>
                </a:lnTo>
                <a:lnTo>
                  <a:pt x="459" y="180"/>
                </a:lnTo>
                <a:lnTo>
                  <a:pt x="460" y="180"/>
                </a:lnTo>
                <a:lnTo>
                  <a:pt x="461" y="180"/>
                </a:lnTo>
                <a:lnTo>
                  <a:pt x="462" y="181"/>
                </a:lnTo>
                <a:lnTo>
                  <a:pt x="463" y="181"/>
                </a:lnTo>
                <a:lnTo>
                  <a:pt x="467" y="181"/>
                </a:lnTo>
                <a:lnTo>
                  <a:pt x="468" y="181"/>
                </a:lnTo>
                <a:lnTo>
                  <a:pt x="469" y="182"/>
                </a:lnTo>
                <a:lnTo>
                  <a:pt x="471" y="182"/>
                </a:lnTo>
                <a:lnTo>
                  <a:pt x="472" y="183"/>
                </a:lnTo>
                <a:lnTo>
                  <a:pt x="473" y="184"/>
                </a:lnTo>
                <a:lnTo>
                  <a:pt x="474" y="184"/>
                </a:lnTo>
                <a:lnTo>
                  <a:pt x="475" y="185"/>
                </a:lnTo>
                <a:lnTo>
                  <a:pt x="476" y="187"/>
                </a:lnTo>
                <a:lnTo>
                  <a:pt x="477" y="188"/>
                </a:lnTo>
                <a:lnTo>
                  <a:pt x="478" y="189"/>
                </a:lnTo>
                <a:lnTo>
                  <a:pt x="480" y="191"/>
                </a:lnTo>
                <a:lnTo>
                  <a:pt x="482" y="192"/>
                </a:lnTo>
                <a:lnTo>
                  <a:pt x="484" y="194"/>
                </a:lnTo>
                <a:lnTo>
                  <a:pt x="484" y="195"/>
                </a:lnTo>
                <a:lnTo>
                  <a:pt x="485" y="196"/>
                </a:lnTo>
                <a:lnTo>
                  <a:pt x="486" y="197"/>
                </a:lnTo>
                <a:lnTo>
                  <a:pt x="486" y="198"/>
                </a:lnTo>
                <a:lnTo>
                  <a:pt x="486" y="199"/>
                </a:lnTo>
                <a:lnTo>
                  <a:pt x="486" y="202"/>
                </a:lnTo>
                <a:lnTo>
                  <a:pt x="486" y="204"/>
                </a:lnTo>
                <a:lnTo>
                  <a:pt x="486" y="205"/>
                </a:lnTo>
                <a:lnTo>
                  <a:pt x="487" y="207"/>
                </a:lnTo>
                <a:lnTo>
                  <a:pt x="487" y="208"/>
                </a:lnTo>
                <a:lnTo>
                  <a:pt x="488" y="209"/>
                </a:lnTo>
                <a:lnTo>
                  <a:pt x="488" y="210"/>
                </a:lnTo>
                <a:lnTo>
                  <a:pt x="488" y="211"/>
                </a:lnTo>
                <a:lnTo>
                  <a:pt x="489" y="211"/>
                </a:lnTo>
                <a:lnTo>
                  <a:pt x="490" y="212"/>
                </a:lnTo>
                <a:lnTo>
                  <a:pt x="491" y="213"/>
                </a:lnTo>
                <a:lnTo>
                  <a:pt x="492" y="214"/>
                </a:lnTo>
                <a:lnTo>
                  <a:pt x="493" y="214"/>
                </a:lnTo>
                <a:lnTo>
                  <a:pt x="494" y="215"/>
                </a:lnTo>
                <a:lnTo>
                  <a:pt x="495" y="215"/>
                </a:lnTo>
                <a:lnTo>
                  <a:pt x="496" y="216"/>
                </a:lnTo>
                <a:lnTo>
                  <a:pt x="497" y="216"/>
                </a:lnTo>
                <a:lnTo>
                  <a:pt x="498" y="216"/>
                </a:lnTo>
                <a:lnTo>
                  <a:pt x="499" y="216"/>
                </a:lnTo>
                <a:lnTo>
                  <a:pt x="500" y="216"/>
                </a:lnTo>
                <a:lnTo>
                  <a:pt x="507" y="215"/>
                </a:lnTo>
                <a:lnTo>
                  <a:pt x="508" y="215"/>
                </a:lnTo>
                <a:lnTo>
                  <a:pt x="510" y="215"/>
                </a:lnTo>
                <a:lnTo>
                  <a:pt x="516" y="216"/>
                </a:lnTo>
                <a:lnTo>
                  <a:pt x="519" y="216"/>
                </a:lnTo>
                <a:lnTo>
                  <a:pt x="524" y="217"/>
                </a:lnTo>
                <a:lnTo>
                  <a:pt x="525" y="217"/>
                </a:lnTo>
                <a:lnTo>
                  <a:pt x="527" y="217"/>
                </a:lnTo>
                <a:lnTo>
                  <a:pt x="528" y="217"/>
                </a:lnTo>
                <a:lnTo>
                  <a:pt x="530" y="216"/>
                </a:lnTo>
                <a:lnTo>
                  <a:pt x="535" y="215"/>
                </a:lnTo>
                <a:lnTo>
                  <a:pt x="538" y="213"/>
                </a:lnTo>
                <a:lnTo>
                  <a:pt x="540" y="213"/>
                </a:lnTo>
                <a:lnTo>
                  <a:pt x="541" y="212"/>
                </a:lnTo>
                <a:lnTo>
                  <a:pt x="543" y="212"/>
                </a:lnTo>
                <a:lnTo>
                  <a:pt x="544" y="212"/>
                </a:lnTo>
                <a:lnTo>
                  <a:pt x="545" y="212"/>
                </a:lnTo>
                <a:lnTo>
                  <a:pt x="545" y="212"/>
                </a:lnTo>
                <a:lnTo>
                  <a:pt x="546" y="212"/>
                </a:lnTo>
                <a:lnTo>
                  <a:pt x="547" y="213"/>
                </a:lnTo>
                <a:lnTo>
                  <a:pt x="548" y="213"/>
                </a:lnTo>
                <a:lnTo>
                  <a:pt x="550" y="215"/>
                </a:lnTo>
                <a:lnTo>
                  <a:pt x="551" y="216"/>
                </a:lnTo>
                <a:lnTo>
                  <a:pt x="553" y="217"/>
                </a:lnTo>
                <a:lnTo>
                  <a:pt x="553" y="218"/>
                </a:lnTo>
                <a:lnTo>
                  <a:pt x="554" y="219"/>
                </a:lnTo>
                <a:lnTo>
                  <a:pt x="555" y="220"/>
                </a:lnTo>
                <a:lnTo>
                  <a:pt x="555" y="221"/>
                </a:lnTo>
                <a:lnTo>
                  <a:pt x="556" y="222"/>
                </a:lnTo>
                <a:lnTo>
                  <a:pt x="556" y="224"/>
                </a:lnTo>
                <a:lnTo>
                  <a:pt x="557" y="225"/>
                </a:lnTo>
                <a:lnTo>
                  <a:pt x="557" y="227"/>
                </a:lnTo>
                <a:lnTo>
                  <a:pt x="557" y="230"/>
                </a:lnTo>
                <a:lnTo>
                  <a:pt x="557" y="234"/>
                </a:lnTo>
                <a:lnTo>
                  <a:pt x="557" y="237"/>
                </a:lnTo>
                <a:lnTo>
                  <a:pt x="557" y="239"/>
                </a:lnTo>
                <a:lnTo>
                  <a:pt x="556" y="243"/>
                </a:lnTo>
                <a:lnTo>
                  <a:pt x="556" y="244"/>
                </a:lnTo>
                <a:lnTo>
                  <a:pt x="556" y="245"/>
                </a:lnTo>
                <a:lnTo>
                  <a:pt x="556" y="248"/>
                </a:lnTo>
                <a:lnTo>
                  <a:pt x="556" y="250"/>
                </a:lnTo>
                <a:lnTo>
                  <a:pt x="556" y="252"/>
                </a:lnTo>
                <a:lnTo>
                  <a:pt x="557" y="254"/>
                </a:lnTo>
                <a:lnTo>
                  <a:pt x="557" y="255"/>
                </a:lnTo>
                <a:lnTo>
                  <a:pt x="557" y="256"/>
                </a:lnTo>
                <a:lnTo>
                  <a:pt x="558" y="258"/>
                </a:lnTo>
                <a:lnTo>
                  <a:pt x="559" y="260"/>
                </a:lnTo>
                <a:lnTo>
                  <a:pt x="561" y="263"/>
                </a:lnTo>
                <a:lnTo>
                  <a:pt x="562" y="265"/>
                </a:lnTo>
                <a:lnTo>
                  <a:pt x="563" y="267"/>
                </a:lnTo>
                <a:lnTo>
                  <a:pt x="563" y="268"/>
                </a:lnTo>
                <a:lnTo>
                  <a:pt x="564" y="271"/>
                </a:lnTo>
                <a:lnTo>
                  <a:pt x="564" y="271"/>
                </a:lnTo>
                <a:lnTo>
                  <a:pt x="564" y="272"/>
                </a:lnTo>
                <a:lnTo>
                  <a:pt x="564" y="273"/>
                </a:lnTo>
                <a:lnTo>
                  <a:pt x="564" y="275"/>
                </a:lnTo>
                <a:lnTo>
                  <a:pt x="564" y="276"/>
                </a:lnTo>
                <a:lnTo>
                  <a:pt x="564" y="277"/>
                </a:lnTo>
                <a:lnTo>
                  <a:pt x="563" y="279"/>
                </a:lnTo>
                <a:lnTo>
                  <a:pt x="562" y="281"/>
                </a:lnTo>
                <a:lnTo>
                  <a:pt x="562" y="283"/>
                </a:lnTo>
                <a:lnTo>
                  <a:pt x="561" y="284"/>
                </a:lnTo>
                <a:lnTo>
                  <a:pt x="560" y="286"/>
                </a:lnTo>
                <a:lnTo>
                  <a:pt x="558" y="289"/>
                </a:lnTo>
                <a:lnTo>
                  <a:pt x="557" y="290"/>
                </a:lnTo>
                <a:lnTo>
                  <a:pt x="555" y="292"/>
                </a:lnTo>
                <a:lnTo>
                  <a:pt x="553" y="294"/>
                </a:lnTo>
                <a:lnTo>
                  <a:pt x="552" y="296"/>
                </a:lnTo>
                <a:lnTo>
                  <a:pt x="551" y="297"/>
                </a:lnTo>
                <a:lnTo>
                  <a:pt x="551" y="298"/>
                </a:lnTo>
                <a:lnTo>
                  <a:pt x="551" y="299"/>
                </a:lnTo>
                <a:lnTo>
                  <a:pt x="551" y="299"/>
                </a:lnTo>
                <a:lnTo>
                  <a:pt x="552" y="301"/>
                </a:lnTo>
                <a:lnTo>
                  <a:pt x="552" y="303"/>
                </a:lnTo>
                <a:lnTo>
                  <a:pt x="552" y="303"/>
                </a:lnTo>
                <a:lnTo>
                  <a:pt x="552" y="304"/>
                </a:lnTo>
                <a:lnTo>
                  <a:pt x="550" y="308"/>
                </a:lnTo>
                <a:lnTo>
                  <a:pt x="550" y="308"/>
                </a:lnTo>
                <a:lnTo>
                  <a:pt x="550" y="309"/>
                </a:lnTo>
                <a:lnTo>
                  <a:pt x="551" y="309"/>
                </a:lnTo>
                <a:lnTo>
                  <a:pt x="551" y="309"/>
                </a:lnTo>
                <a:lnTo>
                  <a:pt x="552" y="310"/>
                </a:lnTo>
                <a:lnTo>
                  <a:pt x="553" y="310"/>
                </a:lnTo>
                <a:lnTo>
                  <a:pt x="558" y="312"/>
                </a:lnTo>
                <a:lnTo>
                  <a:pt x="563" y="313"/>
                </a:lnTo>
                <a:lnTo>
                  <a:pt x="564" y="314"/>
                </a:lnTo>
                <a:lnTo>
                  <a:pt x="566" y="315"/>
                </a:lnTo>
                <a:lnTo>
                  <a:pt x="569" y="315"/>
                </a:lnTo>
                <a:lnTo>
                  <a:pt x="571" y="315"/>
                </a:lnTo>
                <a:lnTo>
                  <a:pt x="572" y="316"/>
                </a:lnTo>
                <a:lnTo>
                  <a:pt x="573" y="316"/>
                </a:lnTo>
                <a:lnTo>
                  <a:pt x="574" y="317"/>
                </a:lnTo>
                <a:lnTo>
                  <a:pt x="578" y="319"/>
                </a:lnTo>
                <a:lnTo>
                  <a:pt x="579" y="320"/>
                </a:lnTo>
                <a:lnTo>
                  <a:pt x="581" y="322"/>
                </a:lnTo>
                <a:lnTo>
                  <a:pt x="581" y="322"/>
                </a:lnTo>
                <a:lnTo>
                  <a:pt x="582" y="323"/>
                </a:lnTo>
                <a:lnTo>
                  <a:pt x="582" y="324"/>
                </a:lnTo>
                <a:lnTo>
                  <a:pt x="583" y="324"/>
                </a:lnTo>
                <a:lnTo>
                  <a:pt x="583" y="325"/>
                </a:lnTo>
                <a:lnTo>
                  <a:pt x="583" y="326"/>
                </a:lnTo>
                <a:lnTo>
                  <a:pt x="583" y="327"/>
                </a:lnTo>
                <a:lnTo>
                  <a:pt x="584" y="327"/>
                </a:lnTo>
                <a:lnTo>
                  <a:pt x="583" y="329"/>
                </a:lnTo>
                <a:lnTo>
                  <a:pt x="583" y="331"/>
                </a:lnTo>
                <a:lnTo>
                  <a:pt x="583" y="333"/>
                </a:lnTo>
                <a:lnTo>
                  <a:pt x="582" y="333"/>
                </a:lnTo>
                <a:lnTo>
                  <a:pt x="582" y="334"/>
                </a:lnTo>
                <a:lnTo>
                  <a:pt x="581" y="334"/>
                </a:lnTo>
                <a:lnTo>
                  <a:pt x="581" y="335"/>
                </a:lnTo>
                <a:lnTo>
                  <a:pt x="580" y="335"/>
                </a:lnTo>
                <a:lnTo>
                  <a:pt x="579" y="336"/>
                </a:lnTo>
                <a:lnTo>
                  <a:pt x="578" y="336"/>
                </a:lnTo>
                <a:lnTo>
                  <a:pt x="577" y="337"/>
                </a:lnTo>
                <a:lnTo>
                  <a:pt x="575" y="337"/>
                </a:lnTo>
                <a:lnTo>
                  <a:pt x="573" y="338"/>
                </a:lnTo>
                <a:lnTo>
                  <a:pt x="572" y="338"/>
                </a:lnTo>
                <a:lnTo>
                  <a:pt x="572" y="339"/>
                </a:lnTo>
                <a:lnTo>
                  <a:pt x="571" y="339"/>
                </a:lnTo>
                <a:lnTo>
                  <a:pt x="571" y="340"/>
                </a:lnTo>
                <a:lnTo>
                  <a:pt x="570" y="340"/>
                </a:lnTo>
                <a:lnTo>
                  <a:pt x="570" y="341"/>
                </a:lnTo>
                <a:lnTo>
                  <a:pt x="570" y="341"/>
                </a:lnTo>
                <a:lnTo>
                  <a:pt x="570" y="342"/>
                </a:lnTo>
                <a:lnTo>
                  <a:pt x="570" y="342"/>
                </a:lnTo>
                <a:lnTo>
                  <a:pt x="571" y="343"/>
                </a:lnTo>
                <a:lnTo>
                  <a:pt x="571" y="344"/>
                </a:lnTo>
                <a:lnTo>
                  <a:pt x="573" y="345"/>
                </a:lnTo>
                <a:lnTo>
                  <a:pt x="573" y="346"/>
                </a:lnTo>
                <a:lnTo>
                  <a:pt x="573" y="346"/>
                </a:lnTo>
                <a:lnTo>
                  <a:pt x="574" y="347"/>
                </a:lnTo>
                <a:lnTo>
                  <a:pt x="574" y="347"/>
                </a:lnTo>
                <a:lnTo>
                  <a:pt x="573" y="348"/>
                </a:lnTo>
                <a:lnTo>
                  <a:pt x="572" y="350"/>
                </a:lnTo>
                <a:lnTo>
                  <a:pt x="572" y="350"/>
                </a:lnTo>
                <a:lnTo>
                  <a:pt x="571" y="351"/>
                </a:lnTo>
                <a:lnTo>
                  <a:pt x="571" y="353"/>
                </a:lnTo>
                <a:lnTo>
                  <a:pt x="571" y="357"/>
                </a:lnTo>
                <a:lnTo>
                  <a:pt x="570" y="358"/>
                </a:lnTo>
                <a:lnTo>
                  <a:pt x="570" y="359"/>
                </a:lnTo>
                <a:lnTo>
                  <a:pt x="570" y="360"/>
                </a:lnTo>
                <a:lnTo>
                  <a:pt x="569" y="361"/>
                </a:lnTo>
                <a:lnTo>
                  <a:pt x="569" y="362"/>
                </a:lnTo>
                <a:lnTo>
                  <a:pt x="568" y="362"/>
                </a:lnTo>
                <a:lnTo>
                  <a:pt x="567" y="363"/>
                </a:lnTo>
                <a:lnTo>
                  <a:pt x="566" y="364"/>
                </a:lnTo>
                <a:lnTo>
                  <a:pt x="563" y="366"/>
                </a:lnTo>
                <a:lnTo>
                  <a:pt x="562" y="367"/>
                </a:lnTo>
                <a:lnTo>
                  <a:pt x="562" y="368"/>
                </a:lnTo>
                <a:lnTo>
                  <a:pt x="562" y="368"/>
                </a:lnTo>
                <a:lnTo>
                  <a:pt x="562" y="369"/>
                </a:lnTo>
                <a:lnTo>
                  <a:pt x="562" y="369"/>
                </a:lnTo>
                <a:lnTo>
                  <a:pt x="562" y="369"/>
                </a:lnTo>
                <a:lnTo>
                  <a:pt x="562" y="370"/>
                </a:lnTo>
                <a:lnTo>
                  <a:pt x="562" y="370"/>
                </a:lnTo>
                <a:lnTo>
                  <a:pt x="563" y="372"/>
                </a:lnTo>
                <a:lnTo>
                  <a:pt x="564" y="372"/>
                </a:lnTo>
                <a:lnTo>
                  <a:pt x="564" y="373"/>
                </a:lnTo>
                <a:lnTo>
                  <a:pt x="564" y="373"/>
                </a:lnTo>
                <a:lnTo>
                  <a:pt x="564" y="373"/>
                </a:lnTo>
                <a:lnTo>
                  <a:pt x="563" y="374"/>
                </a:lnTo>
                <a:lnTo>
                  <a:pt x="563" y="374"/>
                </a:lnTo>
                <a:lnTo>
                  <a:pt x="561" y="375"/>
                </a:lnTo>
                <a:lnTo>
                  <a:pt x="560" y="376"/>
                </a:lnTo>
                <a:lnTo>
                  <a:pt x="559" y="376"/>
                </a:lnTo>
                <a:lnTo>
                  <a:pt x="558" y="377"/>
                </a:lnTo>
                <a:lnTo>
                  <a:pt x="557" y="377"/>
                </a:lnTo>
                <a:lnTo>
                  <a:pt x="557" y="378"/>
                </a:lnTo>
                <a:lnTo>
                  <a:pt x="556" y="379"/>
                </a:lnTo>
                <a:lnTo>
                  <a:pt x="556" y="379"/>
                </a:lnTo>
                <a:lnTo>
                  <a:pt x="556" y="380"/>
                </a:lnTo>
                <a:lnTo>
                  <a:pt x="556" y="380"/>
                </a:lnTo>
                <a:lnTo>
                  <a:pt x="556" y="381"/>
                </a:lnTo>
                <a:lnTo>
                  <a:pt x="556" y="382"/>
                </a:lnTo>
                <a:lnTo>
                  <a:pt x="557" y="383"/>
                </a:lnTo>
                <a:lnTo>
                  <a:pt x="557" y="385"/>
                </a:lnTo>
                <a:lnTo>
                  <a:pt x="558" y="386"/>
                </a:lnTo>
                <a:lnTo>
                  <a:pt x="559" y="387"/>
                </a:lnTo>
                <a:lnTo>
                  <a:pt x="560" y="388"/>
                </a:lnTo>
                <a:lnTo>
                  <a:pt x="561" y="388"/>
                </a:lnTo>
                <a:lnTo>
                  <a:pt x="563" y="389"/>
                </a:lnTo>
                <a:lnTo>
                  <a:pt x="564" y="390"/>
                </a:lnTo>
                <a:lnTo>
                  <a:pt x="566" y="391"/>
                </a:lnTo>
                <a:lnTo>
                  <a:pt x="568" y="391"/>
                </a:lnTo>
                <a:lnTo>
                  <a:pt x="571" y="392"/>
                </a:lnTo>
                <a:lnTo>
                  <a:pt x="572" y="393"/>
                </a:lnTo>
                <a:lnTo>
                  <a:pt x="573" y="393"/>
                </a:lnTo>
                <a:lnTo>
                  <a:pt x="575" y="394"/>
                </a:lnTo>
                <a:lnTo>
                  <a:pt x="576" y="395"/>
                </a:lnTo>
                <a:lnTo>
                  <a:pt x="577" y="395"/>
                </a:lnTo>
                <a:lnTo>
                  <a:pt x="578" y="397"/>
                </a:lnTo>
                <a:lnTo>
                  <a:pt x="579" y="397"/>
                </a:lnTo>
                <a:lnTo>
                  <a:pt x="579" y="398"/>
                </a:lnTo>
                <a:lnTo>
                  <a:pt x="580" y="398"/>
                </a:lnTo>
                <a:lnTo>
                  <a:pt x="582" y="399"/>
                </a:lnTo>
                <a:lnTo>
                  <a:pt x="585" y="399"/>
                </a:lnTo>
                <a:lnTo>
                  <a:pt x="586" y="400"/>
                </a:lnTo>
                <a:lnTo>
                  <a:pt x="588" y="400"/>
                </a:lnTo>
                <a:lnTo>
                  <a:pt x="589" y="400"/>
                </a:lnTo>
                <a:lnTo>
                  <a:pt x="590" y="400"/>
                </a:lnTo>
                <a:lnTo>
                  <a:pt x="590" y="401"/>
                </a:lnTo>
                <a:lnTo>
                  <a:pt x="591" y="401"/>
                </a:lnTo>
                <a:lnTo>
                  <a:pt x="592" y="402"/>
                </a:lnTo>
                <a:lnTo>
                  <a:pt x="593" y="403"/>
                </a:lnTo>
                <a:lnTo>
                  <a:pt x="593" y="403"/>
                </a:lnTo>
                <a:lnTo>
                  <a:pt x="595" y="404"/>
                </a:lnTo>
                <a:lnTo>
                  <a:pt x="595" y="404"/>
                </a:lnTo>
                <a:lnTo>
                  <a:pt x="596" y="404"/>
                </a:lnTo>
                <a:lnTo>
                  <a:pt x="596" y="405"/>
                </a:lnTo>
                <a:lnTo>
                  <a:pt x="596" y="406"/>
                </a:lnTo>
                <a:lnTo>
                  <a:pt x="596" y="406"/>
                </a:lnTo>
                <a:lnTo>
                  <a:pt x="597" y="408"/>
                </a:lnTo>
                <a:lnTo>
                  <a:pt x="597" y="411"/>
                </a:lnTo>
                <a:lnTo>
                  <a:pt x="597" y="412"/>
                </a:lnTo>
                <a:lnTo>
                  <a:pt x="597" y="413"/>
                </a:lnTo>
                <a:lnTo>
                  <a:pt x="598" y="414"/>
                </a:lnTo>
                <a:lnTo>
                  <a:pt x="598" y="415"/>
                </a:lnTo>
                <a:lnTo>
                  <a:pt x="599" y="415"/>
                </a:lnTo>
                <a:lnTo>
                  <a:pt x="599" y="416"/>
                </a:lnTo>
                <a:lnTo>
                  <a:pt x="601" y="418"/>
                </a:lnTo>
                <a:lnTo>
                  <a:pt x="602" y="419"/>
                </a:lnTo>
                <a:lnTo>
                  <a:pt x="604" y="420"/>
                </a:lnTo>
                <a:lnTo>
                  <a:pt x="606" y="422"/>
                </a:lnTo>
                <a:lnTo>
                  <a:pt x="609" y="424"/>
                </a:lnTo>
                <a:lnTo>
                  <a:pt x="610" y="424"/>
                </a:lnTo>
                <a:lnTo>
                  <a:pt x="614" y="426"/>
                </a:lnTo>
                <a:lnTo>
                  <a:pt x="615" y="427"/>
                </a:lnTo>
                <a:lnTo>
                  <a:pt x="617" y="428"/>
                </a:lnTo>
                <a:lnTo>
                  <a:pt x="618" y="429"/>
                </a:lnTo>
                <a:lnTo>
                  <a:pt x="619" y="430"/>
                </a:lnTo>
                <a:lnTo>
                  <a:pt x="620" y="431"/>
                </a:lnTo>
                <a:lnTo>
                  <a:pt x="621" y="432"/>
                </a:lnTo>
                <a:lnTo>
                  <a:pt x="621" y="433"/>
                </a:lnTo>
                <a:lnTo>
                  <a:pt x="621" y="434"/>
                </a:lnTo>
                <a:lnTo>
                  <a:pt x="621" y="435"/>
                </a:lnTo>
                <a:lnTo>
                  <a:pt x="621" y="436"/>
                </a:lnTo>
                <a:lnTo>
                  <a:pt x="621" y="438"/>
                </a:lnTo>
                <a:lnTo>
                  <a:pt x="621" y="441"/>
                </a:lnTo>
                <a:lnTo>
                  <a:pt x="620" y="442"/>
                </a:lnTo>
                <a:lnTo>
                  <a:pt x="620" y="443"/>
                </a:lnTo>
                <a:lnTo>
                  <a:pt x="620" y="444"/>
                </a:lnTo>
                <a:lnTo>
                  <a:pt x="620" y="445"/>
                </a:lnTo>
                <a:lnTo>
                  <a:pt x="621" y="446"/>
                </a:lnTo>
                <a:lnTo>
                  <a:pt x="621" y="450"/>
                </a:lnTo>
                <a:lnTo>
                  <a:pt x="622" y="451"/>
                </a:lnTo>
                <a:lnTo>
                  <a:pt x="622" y="453"/>
                </a:lnTo>
                <a:lnTo>
                  <a:pt x="622" y="454"/>
                </a:lnTo>
                <a:lnTo>
                  <a:pt x="621" y="455"/>
                </a:lnTo>
                <a:lnTo>
                  <a:pt x="621" y="457"/>
                </a:lnTo>
                <a:lnTo>
                  <a:pt x="620" y="459"/>
                </a:lnTo>
                <a:lnTo>
                  <a:pt x="619" y="462"/>
                </a:lnTo>
                <a:lnTo>
                  <a:pt x="617" y="467"/>
                </a:lnTo>
                <a:lnTo>
                  <a:pt x="616" y="468"/>
                </a:lnTo>
                <a:lnTo>
                  <a:pt x="615" y="469"/>
                </a:lnTo>
                <a:lnTo>
                  <a:pt x="613" y="472"/>
                </a:lnTo>
                <a:lnTo>
                  <a:pt x="612" y="473"/>
                </a:lnTo>
                <a:lnTo>
                  <a:pt x="612" y="474"/>
                </a:lnTo>
                <a:lnTo>
                  <a:pt x="612" y="475"/>
                </a:lnTo>
                <a:lnTo>
                  <a:pt x="611" y="476"/>
                </a:lnTo>
                <a:lnTo>
                  <a:pt x="611" y="477"/>
                </a:lnTo>
                <a:lnTo>
                  <a:pt x="611" y="482"/>
                </a:lnTo>
                <a:lnTo>
                  <a:pt x="610" y="487"/>
                </a:lnTo>
                <a:lnTo>
                  <a:pt x="609" y="492"/>
                </a:lnTo>
                <a:lnTo>
                  <a:pt x="609" y="495"/>
                </a:lnTo>
                <a:lnTo>
                  <a:pt x="609" y="496"/>
                </a:lnTo>
                <a:lnTo>
                  <a:pt x="609" y="496"/>
                </a:lnTo>
                <a:lnTo>
                  <a:pt x="609" y="497"/>
                </a:lnTo>
                <a:lnTo>
                  <a:pt x="608" y="498"/>
                </a:lnTo>
                <a:lnTo>
                  <a:pt x="607" y="499"/>
                </a:lnTo>
                <a:lnTo>
                  <a:pt x="606" y="499"/>
                </a:lnTo>
                <a:lnTo>
                  <a:pt x="605" y="500"/>
                </a:lnTo>
                <a:lnTo>
                  <a:pt x="602" y="503"/>
                </a:lnTo>
                <a:lnTo>
                  <a:pt x="599" y="505"/>
                </a:lnTo>
                <a:lnTo>
                  <a:pt x="598" y="506"/>
                </a:lnTo>
                <a:lnTo>
                  <a:pt x="597" y="506"/>
                </a:lnTo>
                <a:lnTo>
                  <a:pt x="596" y="507"/>
                </a:lnTo>
                <a:lnTo>
                  <a:pt x="595" y="507"/>
                </a:lnTo>
                <a:lnTo>
                  <a:pt x="594" y="508"/>
                </a:lnTo>
                <a:lnTo>
                  <a:pt x="593" y="508"/>
                </a:lnTo>
                <a:lnTo>
                  <a:pt x="590" y="508"/>
                </a:lnTo>
                <a:lnTo>
                  <a:pt x="589" y="508"/>
                </a:lnTo>
                <a:lnTo>
                  <a:pt x="588" y="509"/>
                </a:lnTo>
                <a:lnTo>
                  <a:pt x="586" y="510"/>
                </a:lnTo>
                <a:lnTo>
                  <a:pt x="585" y="510"/>
                </a:lnTo>
                <a:lnTo>
                  <a:pt x="584" y="511"/>
                </a:lnTo>
                <a:lnTo>
                  <a:pt x="583" y="511"/>
                </a:lnTo>
                <a:lnTo>
                  <a:pt x="582" y="512"/>
                </a:lnTo>
                <a:lnTo>
                  <a:pt x="581" y="514"/>
                </a:lnTo>
                <a:lnTo>
                  <a:pt x="579" y="515"/>
                </a:lnTo>
                <a:lnTo>
                  <a:pt x="579" y="516"/>
                </a:lnTo>
                <a:lnTo>
                  <a:pt x="578" y="517"/>
                </a:lnTo>
                <a:lnTo>
                  <a:pt x="578" y="518"/>
                </a:lnTo>
                <a:lnTo>
                  <a:pt x="578" y="518"/>
                </a:lnTo>
                <a:lnTo>
                  <a:pt x="577" y="519"/>
                </a:lnTo>
                <a:lnTo>
                  <a:pt x="577" y="520"/>
                </a:lnTo>
                <a:lnTo>
                  <a:pt x="577" y="521"/>
                </a:lnTo>
                <a:lnTo>
                  <a:pt x="577" y="522"/>
                </a:lnTo>
                <a:lnTo>
                  <a:pt x="577" y="523"/>
                </a:lnTo>
                <a:lnTo>
                  <a:pt x="578" y="524"/>
                </a:lnTo>
                <a:lnTo>
                  <a:pt x="579" y="528"/>
                </a:lnTo>
                <a:lnTo>
                  <a:pt x="580" y="530"/>
                </a:lnTo>
                <a:lnTo>
                  <a:pt x="580" y="531"/>
                </a:lnTo>
                <a:lnTo>
                  <a:pt x="580" y="532"/>
                </a:lnTo>
                <a:lnTo>
                  <a:pt x="581" y="533"/>
                </a:lnTo>
                <a:lnTo>
                  <a:pt x="581" y="533"/>
                </a:lnTo>
                <a:lnTo>
                  <a:pt x="581" y="534"/>
                </a:lnTo>
                <a:lnTo>
                  <a:pt x="580" y="535"/>
                </a:lnTo>
                <a:lnTo>
                  <a:pt x="580" y="536"/>
                </a:lnTo>
                <a:lnTo>
                  <a:pt x="580" y="536"/>
                </a:lnTo>
                <a:lnTo>
                  <a:pt x="579" y="536"/>
                </a:lnTo>
                <a:lnTo>
                  <a:pt x="579" y="537"/>
                </a:lnTo>
                <a:lnTo>
                  <a:pt x="578" y="538"/>
                </a:lnTo>
                <a:lnTo>
                  <a:pt x="578" y="538"/>
                </a:lnTo>
                <a:lnTo>
                  <a:pt x="577" y="539"/>
                </a:lnTo>
                <a:lnTo>
                  <a:pt x="576" y="539"/>
                </a:lnTo>
                <a:lnTo>
                  <a:pt x="574" y="539"/>
                </a:lnTo>
                <a:lnTo>
                  <a:pt x="573" y="539"/>
                </a:lnTo>
                <a:lnTo>
                  <a:pt x="572" y="539"/>
                </a:lnTo>
                <a:lnTo>
                  <a:pt x="570" y="539"/>
                </a:lnTo>
                <a:lnTo>
                  <a:pt x="566" y="539"/>
                </a:lnTo>
                <a:lnTo>
                  <a:pt x="563" y="539"/>
                </a:lnTo>
                <a:lnTo>
                  <a:pt x="563" y="539"/>
                </a:lnTo>
                <a:lnTo>
                  <a:pt x="562" y="539"/>
                </a:lnTo>
                <a:lnTo>
                  <a:pt x="561" y="540"/>
                </a:lnTo>
                <a:lnTo>
                  <a:pt x="560" y="540"/>
                </a:lnTo>
                <a:lnTo>
                  <a:pt x="559" y="541"/>
                </a:lnTo>
                <a:lnTo>
                  <a:pt x="558" y="542"/>
                </a:lnTo>
                <a:lnTo>
                  <a:pt x="557" y="544"/>
                </a:lnTo>
                <a:lnTo>
                  <a:pt x="554" y="547"/>
                </a:lnTo>
                <a:lnTo>
                  <a:pt x="553" y="548"/>
                </a:lnTo>
                <a:lnTo>
                  <a:pt x="553" y="549"/>
                </a:lnTo>
                <a:lnTo>
                  <a:pt x="551" y="550"/>
                </a:lnTo>
                <a:lnTo>
                  <a:pt x="549" y="552"/>
                </a:lnTo>
                <a:lnTo>
                  <a:pt x="547" y="553"/>
                </a:lnTo>
                <a:lnTo>
                  <a:pt x="546" y="553"/>
                </a:lnTo>
                <a:lnTo>
                  <a:pt x="544" y="554"/>
                </a:lnTo>
                <a:lnTo>
                  <a:pt x="541" y="555"/>
                </a:lnTo>
                <a:lnTo>
                  <a:pt x="539" y="555"/>
                </a:lnTo>
                <a:lnTo>
                  <a:pt x="537" y="556"/>
                </a:lnTo>
                <a:lnTo>
                  <a:pt x="532" y="557"/>
                </a:lnTo>
                <a:lnTo>
                  <a:pt x="530" y="558"/>
                </a:lnTo>
                <a:lnTo>
                  <a:pt x="527" y="559"/>
                </a:lnTo>
                <a:lnTo>
                  <a:pt x="525" y="559"/>
                </a:lnTo>
                <a:lnTo>
                  <a:pt x="523" y="560"/>
                </a:lnTo>
                <a:lnTo>
                  <a:pt x="521" y="561"/>
                </a:lnTo>
                <a:lnTo>
                  <a:pt x="516" y="564"/>
                </a:lnTo>
                <a:lnTo>
                  <a:pt x="515" y="564"/>
                </a:lnTo>
                <a:lnTo>
                  <a:pt x="514" y="565"/>
                </a:lnTo>
                <a:lnTo>
                  <a:pt x="512" y="565"/>
                </a:lnTo>
                <a:lnTo>
                  <a:pt x="511" y="566"/>
                </a:lnTo>
                <a:lnTo>
                  <a:pt x="510" y="566"/>
                </a:lnTo>
                <a:lnTo>
                  <a:pt x="509" y="566"/>
                </a:lnTo>
                <a:lnTo>
                  <a:pt x="508" y="565"/>
                </a:lnTo>
                <a:lnTo>
                  <a:pt x="507" y="565"/>
                </a:lnTo>
                <a:lnTo>
                  <a:pt x="507" y="565"/>
                </a:lnTo>
                <a:lnTo>
                  <a:pt x="506" y="565"/>
                </a:lnTo>
                <a:lnTo>
                  <a:pt x="504" y="564"/>
                </a:lnTo>
                <a:lnTo>
                  <a:pt x="504" y="564"/>
                </a:lnTo>
                <a:lnTo>
                  <a:pt x="503" y="563"/>
                </a:lnTo>
                <a:lnTo>
                  <a:pt x="502" y="564"/>
                </a:lnTo>
                <a:lnTo>
                  <a:pt x="501" y="564"/>
                </a:lnTo>
                <a:lnTo>
                  <a:pt x="500" y="564"/>
                </a:lnTo>
                <a:lnTo>
                  <a:pt x="498" y="565"/>
                </a:lnTo>
                <a:lnTo>
                  <a:pt x="497" y="565"/>
                </a:lnTo>
                <a:lnTo>
                  <a:pt x="497" y="566"/>
                </a:lnTo>
                <a:lnTo>
                  <a:pt x="496" y="566"/>
                </a:lnTo>
                <a:lnTo>
                  <a:pt x="495" y="567"/>
                </a:lnTo>
                <a:lnTo>
                  <a:pt x="495" y="568"/>
                </a:lnTo>
                <a:lnTo>
                  <a:pt x="494" y="569"/>
                </a:lnTo>
                <a:lnTo>
                  <a:pt x="494" y="570"/>
                </a:lnTo>
                <a:lnTo>
                  <a:pt x="493" y="570"/>
                </a:lnTo>
                <a:lnTo>
                  <a:pt x="492" y="573"/>
                </a:lnTo>
                <a:lnTo>
                  <a:pt x="492" y="574"/>
                </a:lnTo>
                <a:lnTo>
                  <a:pt x="490" y="577"/>
                </a:lnTo>
                <a:lnTo>
                  <a:pt x="489" y="581"/>
                </a:lnTo>
                <a:lnTo>
                  <a:pt x="488" y="583"/>
                </a:lnTo>
                <a:lnTo>
                  <a:pt x="487" y="584"/>
                </a:lnTo>
                <a:lnTo>
                  <a:pt x="486" y="585"/>
                </a:lnTo>
                <a:lnTo>
                  <a:pt x="478" y="595"/>
                </a:lnTo>
                <a:lnTo>
                  <a:pt x="477" y="596"/>
                </a:lnTo>
                <a:lnTo>
                  <a:pt x="477" y="597"/>
                </a:lnTo>
                <a:lnTo>
                  <a:pt x="476" y="599"/>
                </a:lnTo>
                <a:lnTo>
                  <a:pt x="476" y="600"/>
                </a:lnTo>
                <a:lnTo>
                  <a:pt x="475" y="602"/>
                </a:lnTo>
                <a:lnTo>
                  <a:pt x="475" y="603"/>
                </a:lnTo>
                <a:lnTo>
                  <a:pt x="475" y="604"/>
                </a:lnTo>
                <a:lnTo>
                  <a:pt x="475" y="606"/>
                </a:lnTo>
                <a:lnTo>
                  <a:pt x="474" y="607"/>
                </a:lnTo>
                <a:lnTo>
                  <a:pt x="475" y="609"/>
                </a:lnTo>
                <a:lnTo>
                  <a:pt x="475" y="610"/>
                </a:lnTo>
                <a:lnTo>
                  <a:pt x="475" y="612"/>
                </a:lnTo>
                <a:lnTo>
                  <a:pt x="475" y="614"/>
                </a:lnTo>
                <a:lnTo>
                  <a:pt x="476" y="615"/>
                </a:lnTo>
                <a:lnTo>
                  <a:pt x="476" y="617"/>
                </a:lnTo>
                <a:lnTo>
                  <a:pt x="477" y="618"/>
                </a:lnTo>
                <a:lnTo>
                  <a:pt x="477" y="619"/>
                </a:lnTo>
                <a:lnTo>
                  <a:pt x="478" y="620"/>
                </a:lnTo>
                <a:lnTo>
                  <a:pt x="479" y="621"/>
                </a:lnTo>
                <a:lnTo>
                  <a:pt x="480" y="621"/>
                </a:lnTo>
                <a:lnTo>
                  <a:pt x="485" y="624"/>
                </a:lnTo>
                <a:lnTo>
                  <a:pt x="487" y="625"/>
                </a:lnTo>
                <a:lnTo>
                  <a:pt x="491" y="626"/>
                </a:lnTo>
                <a:lnTo>
                  <a:pt x="492" y="626"/>
                </a:lnTo>
                <a:lnTo>
                  <a:pt x="494" y="627"/>
                </a:lnTo>
                <a:lnTo>
                  <a:pt x="495" y="628"/>
                </a:lnTo>
                <a:lnTo>
                  <a:pt x="496" y="628"/>
                </a:lnTo>
                <a:lnTo>
                  <a:pt x="496" y="629"/>
                </a:lnTo>
                <a:lnTo>
                  <a:pt x="497" y="630"/>
                </a:lnTo>
                <a:lnTo>
                  <a:pt x="498" y="630"/>
                </a:lnTo>
                <a:lnTo>
                  <a:pt x="499" y="633"/>
                </a:lnTo>
                <a:lnTo>
                  <a:pt x="501" y="635"/>
                </a:lnTo>
                <a:lnTo>
                  <a:pt x="501" y="636"/>
                </a:lnTo>
                <a:lnTo>
                  <a:pt x="502" y="638"/>
                </a:lnTo>
                <a:lnTo>
                  <a:pt x="502" y="639"/>
                </a:lnTo>
                <a:lnTo>
                  <a:pt x="503" y="640"/>
                </a:lnTo>
                <a:lnTo>
                  <a:pt x="503" y="642"/>
                </a:lnTo>
                <a:lnTo>
                  <a:pt x="503" y="643"/>
                </a:lnTo>
                <a:lnTo>
                  <a:pt x="503" y="645"/>
                </a:lnTo>
                <a:lnTo>
                  <a:pt x="503" y="646"/>
                </a:lnTo>
                <a:lnTo>
                  <a:pt x="502" y="647"/>
                </a:lnTo>
                <a:lnTo>
                  <a:pt x="502" y="648"/>
                </a:lnTo>
                <a:lnTo>
                  <a:pt x="502" y="650"/>
                </a:lnTo>
                <a:lnTo>
                  <a:pt x="501" y="651"/>
                </a:lnTo>
                <a:lnTo>
                  <a:pt x="500" y="651"/>
                </a:lnTo>
                <a:lnTo>
                  <a:pt x="500" y="652"/>
                </a:lnTo>
                <a:lnTo>
                  <a:pt x="499" y="653"/>
                </a:lnTo>
                <a:lnTo>
                  <a:pt x="498" y="654"/>
                </a:lnTo>
                <a:lnTo>
                  <a:pt x="496" y="656"/>
                </a:lnTo>
                <a:lnTo>
                  <a:pt x="494" y="657"/>
                </a:lnTo>
                <a:lnTo>
                  <a:pt x="493" y="657"/>
                </a:lnTo>
                <a:lnTo>
                  <a:pt x="492" y="658"/>
                </a:lnTo>
                <a:lnTo>
                  <a:pt x="490" y="658"/>
                </a:lnTo>
                <a:lnTo>
                  <a:pt x="489" y="658"/>
                </a:lnTo>
                <a:lnTo>
                  <a:pt x="488" y="658"/>
                </a:lnTo>
                <a:lnTo>
                  <a:pt x="485" y="658"/>
                </a:lnTo>
                <a:lnTo>
                  <a:pt x="484" y="658"/>
                </a:lnTo>
                <a:lnTo>
                  <a:pt x="481" y="658"/>
                </a:lnTo>
                <a:lnTo>
                  <a:pt x="479" y="657"/>
                </a:lnTo>
                <a:lnTo>
                  <a:pt x="478" y="657"/>
                </a:lnTo>
                <a:lnTo>
                  <a:pt x="478" y="658"/>
                </a:lnTo>
                <a:lnTo>
                  <a:pt x="477" y="658"/>
                </a:lnTo>
                <a:lnTo>
                  <a:pt x="476" y="658"/>
                </a:lnTo>
                <a:lnTo>
                  <a:pt x="475" y="659"/>
                </a:lnTo>
                <a:lnTo>
                  <a:pt x="473" y="660"/>
                </a:lnTo>
                <a:lnTo>
                  <a:pt x="473" y="661"/>
                </a:lnTo>
                <a:lnTo>
                  <a:pt x="472" y="661"/>
                </a:lnTo>
                <a:lnTo>
                  <a:pt x="472" y="662"/>
                </a:lnTo>
                <a:lnTo>
                  <a:pt x="471" y="662"/>
                </a:lnTo>
                <a:lnTo>
                  <a:pt x="470" y="665"/>
                </a:lnTo>
                <a:lnTo>
                  <a:pt x="470" y="667"/>
                </a:lnTo>
                <a:lnTo>
                  <a:pt x="469" y="668"/>
                </a:lnTo>
                <a:lnTo>
                  <a:pt x="468" y="670"/>
                </a:lnTo>
                <a:lnTo>
                  <a:pt x="467" y="670"/>
                </a:lnTo>
                <a:lnTo>
                  <a:pt x="467" y="671"/>
                </a:lnTo>
                <a:lnTo>
                  <a:pt x="466" y="671"/>
                </a:lnTo>
                <a:lnTo>
                  <a:pt x="466" y="671"/>
                </a:lnTo>
                <a:lnTo>
                  <a:pt x="465" y="671"/>
                </a:lnTo>
                <a:lnTo>
                  <a:pt x="465" y="671"/>
                </a:lnTo>
                <a:lnTo>
                  <a:pt x="464" y="671"/>
                </a:lnTo>
                <a:lnTo>
                  <a:pt x="463" y="670"/>
                </a:lnTo>
                <a:lnTo>
                  <a:pt x="461" y="668"/>
                </a:lnTo>
                <a:lnTo>
                  <a:pt x="459" y="668"/>
                </a:lnTo>
                <a:lnTo>
                  <a:pt x="459" y="667"/>
                </a:lnTo>
                <a:lnTo>
                  <a:pt x="457" y="667"/>
                </a:lnTo>
                <a:lnTo>
                  <a:pt x="454" y="666"/>
                </a:lnTo>
                <a:lnTo>
                  <a:pt x="453" y="666"/>
                </a:lnTo>
                <a:lnTo>
                  <a:pt x="451" y="665"/>
                </a:lnTo>
                <a:lnTo>
                  <a:pt x="447" y="664"/>
                </a:lnTo>
                <a:lnTo>
                  <a:pt x="447" y="663"/>
                </a:lnTo>
                <a:lnTo>
                  <a:pt x="446" y="663"/>
                </a:lnTo>
                <a:lnTo>
                  <a:pt x="446" y="663"/>
                </a:lnTo>
                <a:lnTo>
                  <a:pt x="445" y="663"/>
                </a:lnTo>
                <a:lnTo>
                  <a:pt x="443" y="664"/>
                </a:lnTo>
                <a:lnTo>
                  <a:pt x="441" y="665"/>
                </a:lnTo>
                <a:lnTo>
                  <a:pt x="436" y="667"/>
                </a:lnTo>
                <a:lnTo>
                  <a:pt x="433" y="668"/>
                </a:lnTo>
                <a:lnTo>
                  <a:pt x="432" y="668"/>
                </a:lnTo>
                <a:lnTo>
                  <a:pt x="430" y="669"/>
                </a:lnTo>
                <a:lnTo>
                  <a:pt x="428" y="669"/>
                </a:lnTo>
                <a:lnTo>
                  <a:pt x="426" y="669"/>
                </a:lnTo>
                <a:lnTo>
                  <a:pt x="424" y="669"/>
                </a:lnTo>
                <a:lnTo>
                  <a:pt x="422" y="669"/>
                </a:lnTo>
                <a:lnTo>
                  <a:pt x="421" y="669"/>
                </a:lnTo>
                <a:lnTo>
                  <a:pt x="415" y="668"/>
                </a:lnTo>
                <a:lnTo>
                  <a:pt x="413" y="668"/>
                </a:lnTo>
                <a:lnTo>
                  <a:pt x="409" y="668"/>
                </a:lnTo>
                <a:lnTo>
                  <a:pt x="408" y="667"/>
                </a:lnTo>
                <a:lnTo>
                  <a:pt x="406" y="667"/>
                </a:lnTo>
                <a:lnTo>
                  <a:pt x="404" y="667"/>
                </a:lnTo>
                <a:lnTo>
                  <a:pt x="399" y="665"/>
                </a:lnTo>
                <a:lnTo>
                  <a:pt x="398" y="665"/>
                </a:lnTo>
                <a:lnTo>
                  <a:pt x="396" y="665"/>
                </a:lnTo>
                <a:lnTo>
                  <a:pt x="395" y="665"/>
                </a:lnTo>
                <a:lnTo>
                  <a:pt x="394" y="665"/>
                </a:lnTo>
                <a:lnTo>
                  <a:pt x="393" y="666"/>
                </a:lnTo>
                <a:lnTo>
                  <a:pt x="392" y="666"/>
                </a:lnTo>
                <a:lnTo>
                  <a:pt x="392" y="666"/>
                </a:lnTo>
                <a:lnTo>
                  <a:pt x="391" y="667"/>
                </a:lnTo>
                <a:lnTo>
                  <a:pt x="390" y="667"/>
                </a:lnTo>
                <a:lnTo>
                  <a:pt x="390" y="668"/>
                </a:lnTo>
                <a:lnTo>
                  <a:pt x="389" y="669"/>
                </a:lnTo>
                <a:lnTo>
                  <a:pt x="389" y="669"/>
                </a:lnTo>
                <a:lnTo>
                  <a:pt x="389" y="670"/>
                </a:lnTo>
                <a:lnTo>
                  <a:pt x="389" y="671"/>
                </a:lnTo>
                <a:lnTo>
                  <a:pt x="389" y="672"/>
                </a:lnTo>
                <a:lnTo>
                  <a:pt x="390" y="675"/>
                </a:lnTo>
                <a:lnTo>
                  <a:pt x="390" y="676"/>
                </a:lnTo>
                <a:lnTo>
                  <a:pt x="390" y="677"/>
                </a:lnTo>
                <a:lnTo>
                  <a:pt x="390" y="677"/>
                </a:lnTo>
                <a:lnTo>
                  <a:pt x="390" y="678"/>
                </a:lnTo>
                <a:lnTo>
                  <a:pt x="390" y="678"/>
                </a:lnTo>
                <a:lnTo>
                  <a:pt x="389" y="679"/>
                </a:lnTo>
                <a:lnTo>
                  <a:pt x="389" y="679"/>
                </a:lnTo>
                <a:lnTo>
                  <a:pt x="388" y="680"/>
                </a:lnTo>
                <a:lnTo>
                  <a:pt x="387" y="680"/>
                </a:lnTo>
                <a:lnTo>
                  <a:pt x="386" y="681"/>
                </a:lnTo>
                <a:lnTo>
                  <a:pt x="384" y="681"/>
                </a:lnTo>
                <a:lnTo>
                  <a:pt x="378" y="683"/>
                </a:lnTo>
                <a:lnTo>
                  <a:pt x="376" y="683"/>
                </a:lnTo>
                <a:lnTo>
                  <a:pt x="376" y="684"/>
                </a:lnTo>
                <a:lnTo>
                  <a:pt x="375" y="684"/>
                </a:lnTo>
                <a:lnTo>
                  <a:pt x="375" y="684"/>
                </a:lnTo>
                <a:lnTo>
                  <a:pt x="374" y="685"/>
                </a:lnTo>
                <a:lnTo>
                  <a:pt x="374" y="686"/>
                </a:lnTo>
                <a:lnTo>
                  <a:pt x="373" y="687"/>
                </a:lnTo>
                <a:lnTo>
                  <a:pt x="373" y="688"/>
                </a:lnTo>
                <a:lnTo>
                  <a:pt x="373" y="689"/>
                </a:lnTo>
                <a:lnTo>
                  <a:pt x="372" y="690"/>
                </a:lnTo>
                <a:lnTo>
                  <a:pt x="372" y="694"/>
                </a:lnTo>
                <a:lnTo>
                  <a:pt x="371" y="696"/>
                </a:lnTo>
                <a:lnTo>
                  <a:pt x="371" y="697"/>
                </a:lnTo>
                <a:lnTo>
                  <a:pt x="369" y="700"/>
                </a:lnTo>
                <a:lnTo>
                  <a:pt x="369" y="701"/>
                </a:lnTo>
                <a:lnTo>
                  <a:pt x="368" y="701"/>
                </a:lnTo>
                <a:lnTo>
                  <a:pt x="367" y="702"/>
                </a:lnTo>
                <a:lnTo>
                  <a:pt x="367" y="702"/>
                </a:lnTo>
                <a:lnTo>
                  <a:pt x="366" y="702"/>
                </a:lnTo>
                <a:lnTo>
                  <a:pt x="365" y="702"/>
                </a:lnTo>
                <a:lnTo>
                  <a:pt x="364" y="702"/>
                </a:lnTo>
                <a:lnTo>
                  <a:pt x="363" y="702"/>
                </a:lnTo>
                <a:lnTo>
                  <a:pt x="362" y="702"/>
                </a:lnTo>
                <a:lnTo>
                  <a:pt x="361" y="702"/>
                </a:lnTo>
                <a:lnTo>
                  <a:pt x="360" y="702"/>
                </a:lnTo>
                <a:lnTo>
                  <a:pt x="359" y="701"/>
                </a:lnTo>
                <a:lnTo>
                  <a:pt x="358" y="701"/>
                </a:lnTo>
                <a:lnTo>
                  <a:pt x="357" y="700"/>
                </a:lnTo>
                <a:lnTo>
                  <a:pt x="355" y="699"/>
                </a:lnTo>
                <a:lnTo>
                  <a:pt x="355" y="698"/>
                </a:lnTo>
                <a:lnTo>
                  <a:pt x="354" y="697"/>
                </a:lnTo>
                <a:lnTo>
                  <a:pt x="353" y="696"/>
                </a:lnTo>
                <a:lnTo>
                  <a:pt x="352" y="694"/>
                </a:lnTo>
                <a:lnTo>
                  <a:pt x="350" y="690"/>
                </a:lnTo>
                <a:lnTo>
                  <a:pt x="348" y="686"/>
                </a:lnTo>
                <a:lnTo>
                  <a:pt x="347" y="684"/>
                </a:lnTo>
                <a:lnTo>
                  <a:pt x="346" y="682"/>
                </a:lnTo>
                <a:lnTo>
                  <a:pt x="345" y="680"/>
                </a:lnTo>
                <a:lnTo>
                  <a:pt x="344" y="678"/>
                </a:lnTo>
                <a:lnTo>
                  <a:pt x="344" y="677"/>
                </a:lnTo>
                <a:lnTo>
                  <a:pt x="343" y="677"/>
                </a:lnTo>
                <a:lnTo>
                  <a:pt x="343" y="677"/>
                </a:lnTo>
                <a:lnTo>
                  <a:pt x="342" y="676"/>
                </a:lnTo>
                <a:lnTo>
                  <a:pt x="342" y="676"/>
                </a:lnTo>
                <a:lnTo>
                  <a:pt x="341" y="676"/>
                </a:lnTo>
                <a:lnTo>
                  <a:pt x="341" y="676"/>
                </a:lnTo>
                <a:lnTo>
                  <a:pt x="339" y="677"/>
                </a:lnTo>
                <a:lnTo>
                  <a:pt x="338" y="677"/>
                </a:lnTo>
                <a:lnTo>
                  <a:pt x="337" y="678"/>
                </a:lnTo>
                <a:lnTo>
                  <a:pt x="335" y="679"/>
                </a:lnTo>
                <a:lnTo>
                  <a:pt x="334" y="679"/>
                </a:lnTo>
                <a:lnTo>
                  <a:pt x="333" y="680"/>
                </a:lnTo>
                <a:lnTo>
                  <a:pt x="333" y="680"/>
                </a:lnTo>
                <a:lnTo>
                  <a:pt x="332" y="679"/>
                </a:lnTo>
                <a:lnTo>
                  <a:pt x="332" y="679"/>
                </a:lnTo>
                <a:lnTo>
                  <a:pt x="330" y="679"/>
                </a:lnTo>
                <a:lnTo>
                  <a:pt x="329" y="678"/>
                </a:lnTo>
                <a:lnTo>
                  <a:pt x="328" y="677"/>
                </a:lnTo>
                <a:lnTo>
                  <a:pt x="326" y="676"/>
                </a:lnTo>
                <a:lnTo>
                  <a:pt x="324" y="674"/>
                </a:lnTo>
                <a:lnTo>
                  <a:pt x="319" y="670"/>
                </a:lnTo>
                <a:lnTo>
                  <a:pt x="318" y="669"/>
                </a:lnTo>
                <a:lnTo>
                  <a:pt x="317" y="668"/>
                </a:lnTo>
                <a:lnTo>
                  <a:pt x="316" y="667"/>
                </a:lnTo>
                <a:lnTo>
                  <a:pt x="314" y="667"/>
                </a:lnTo>
                <a:lnTo>
                  <a:pt x="309" y="664"/>
                </a:lnTo>
                <a:lnTo>
                  <a:pt x="306" y="663"/>
                </a:lnTo>
                <a:lnTo>
                  <a:pt x="305" y="662"/>
                </a:lnTo>
                <a:lnTo>
                  <a:pt x="302" y="660"/>
                </a:lnTo>
                <a:lnTo>
                  <a:pt x="301" y="659"/>
                </a:lnTo>
                <a:lnTo>
                  <a:pt x="300" y="659"/>
                </a:lnTo>
                <a:lnTo>
                  <a:pt x="299" y="659"/>
                </a:lnTo>
                <a:lnTo>
                  <a:pt x="298" y="659"/>
                </a:lnTo>
                <a:lnTo>
                  <a:pt x="298" y="659"/>
                </a:lnTo>
                <a:lnTo>
                  <a:pt x="297" y="659"/>
                </a:lnTo>
                <a:lnTo>
                  <a:pt x="296" y="659"/>
                </a:lnTo>
                <a:lnTo>
                  <a:pt x="294" y="661"/>
                </a:lnTo>
                <a:lnTo>
                  <a:pt x="291" y="663"/>
                </a:lnTo>
                <a:lnTo>
                  <a:pt x="290" y="664"/>
                </a:lnTo>
                <a:lnTo>
                  <a:pt x="290" y="665"/>
                </a:lnTo>
                <a:lnTo>
                  <a:pt x="289" y="666"/>
                </a:lnTo>
                <a:lnTo>
                  <a:pt x="288" y="667"/>
                </a:lnTo>
                <a:lnTo>
                  <a:pt x="287" y="668"/>
                </a:lnTo>
                <a:lnTo>
                  <a:pt x="287" y="669"/>
                </a:lnTo>
                <a:lnTo>
                  <a:pt x="285" y="670"/>
                </a:lnTo>
                <a:lnTo>
                  <a:pt x="284" y="671"/>
                </a:lnTo>
                <a:lnTo>
                  <a:pt x="284" y="672"/>
                </a:lnTo>
                <a:lnTo>
                  <a:pt x="283" y="673"/>
                </a:lnTo>
                <a:lnTo>
                  <a:pt x="283" y="673"/>
                </a:lnTo>
                <a:lnTo>
                  <a:pt x="283" y="674"/>
                </a:lnTo>
                <a:lnTo>
                  <a:pt x="283" y="676"/>
                </a:lnTo>
                <a:lnTo>
                  <a:pt x="283" y="678"/>
                </a:lnTo>
                <a:lnTo>
                  <a:pt x="282" y="679"/>
                </a:lnTo>
                <a:lnTo>
                  <a:pt x="281" y="683"/>
                </a:lnTo>
                <a:lnTo>
                  <a:pt x="281" y="684"/>
                </a:lnTo>
                <a:lnTo>
                  <a:pt x="281" y="686"/>
                </a:lnTo>
                <a:lnTo>
                  <a:pt x="281" y="687"/>
                </a:lnTo>
                <a:lnTo>
                  <a:pt x="281" y="688"/>
                </a:lnTo>
                <a:lnTo>
                  <a:pt x="282" y="690"/>
                </a:lnTo>
                <a:lnTo>
                  <a:pt x="283" y="693"/>
                </a:lnTo>
                <a:lnTo>
                  <a:pt x="283" y="696"/>
                </a:lnTo>
                <a:lnTo>
                  <a:pt x="284" y="697"/>
                </a:lnTo>
                <a:lnTo>
                  <a:pt x="284" y="698"/>
                </a:lnTo>
                <a:lnTo>
                  <a:pt x="284" y="699"/>
                </a:lnTo>
                <a:lnTo>
                  <a:pt x="283" y="700"/>
                </a:lnTo>
                <a:lnTo>
                  <a:pt x="283" y="701"/>
                </a:lnTo>
                <a:lnTo>
                  <a:pt x="282" y="701"/>
                </a:lnTo>
                <a:lnTo>
                  <a:pt x="282" y="702"/>
                </a:lnTo>
                <a:lnTo>
                  <a:pt x="280" y="702"/>
                </a:lnTo>
                <a:lnTo>
                  <a:pt x="279" y="703"/>
                </a:lnTo>
                <a:lnTo>
                  <a:pt x="277" y="704"/>
                </a:lnTo>
                <a:lnTo>
                  <a:pt x="276" y="704"/>
                </a:lnTo>
                <a:lnTo>
                  <a:pt x="271" y="706"/>
                </a:lnTo>
                <a:lnTo>
                  <a:pt x="269" y="706"/>
                </a:lnTo>
                <a:lnTo>
                  <a:pt x="268" y="707"/>
                </a:lnTo>
                <a:lnTo>
                  <a:pt x="267" y="707"/>
                </a:lnTo>
                <a:lnTo>
                  <a:pt x="264" y="709"/>
                </a:lnTo>
                <a:lnTo>
                  <a:pt x="262" y="711"/>
                </a:lnTo>
                <a:lnTo>
                  <a:pt x="258" y="715"/>
                </a:lnTo>
                <a:lnTo>
                  <a:pt x="256" y="717"/>
                </a:lnTo>
                <a:lnTo>
                  <a:pt x="254" y="718"/>
                </a:lnTo>
                <a:lnTo>
                  <a:pt x="252" y="720"/>
                </a:lnTo>
                <a:lnTo>
                  <a:pt x="251" y="721"/>
                </a:lnTo>
                <a:lnTo>
                  <a:pt x="250" y="724"/>
                </a:lnTo>
                <a:lnTo>
                  <a:pt x="249" y="725"/>
                </a:lnTo>
                <a:lnTo>
                  <a:pt x="249" y="726"/>
                </a:lnTo>
                <a:lnTo>
                  <a:pt x="248" y="726"/>
                </a:lnTo>
                <a:lnTo>
                  <a:pt x="247" y="726"/>
                </a:lnTo>
                <a:lnTo>
                  <a:pt x="247" y="726"/>
                </a:lnTo>
                <a:lnTo>
                  <a:pt x="246" y="726"/>
                </a:lnTo>
                <a:lnTo>
                  <a:pt x="246" y="726"/>
                </a:lnTo>
                <a:lnTo>
                  <a:pt x="245" y="726"/>
                </a:lnTo>
                <a:lnTo>
                  <a:pt x="245" y="726"/>
                </a:lnTo>
                <a:lnTo>
                  <a:pt x="244" y="725"/>
                </a:lnTo>
                <a:lnTo>
                  <a:pt x="241" y="724"/>
                </a:lnTo>
                <a:lnTo>
                  <a:pt x="240" y="723"/>
                </a:lnTo>
                <a:lnTo>
                  <a:pt x="239" y="722"/>
                </a:lnTo>
                <a:lnTo>
                  <a:pt x="237" y="721"/>
                </a:lnTo>
                <a:lnTo>
                  <a:pt x="234" y="721"/>
                </a:lnTo>
                <a:lnTo>
                  <a:pt x="232" y="720"/>
                </a:lnTo>
                <a:lnTo>
                  <a:pt x="230" y="720"/>
                </a:lnTo>
                <a:lnTo>
                  <a:pt x="227" y="719"/>
                </a:lnTo>
                <a:lnTo>
                  <a:pt x="225" y="719"/>
                </a:lnTo>
                <a:lnTo>
                  <a:pt x="224" y="719"/>
                </a:lnTo>
                <a:lnTo>
                  <a:pt x="223" y="719"/>
                </a:lnTo>
                <a:lnTo>
                  <a:pt x="223" y="718"/>
                </a:lnTo>
                <a:lnTo>
                  <a:pt x="222" y="718"/>
                </a:lnTo>
                <a:lnTo>
                  <a:pt x="221" y="717"/>
                </a:lnTo>
                <a:lnTo>
                  <a:pt x="221" y="717"/>
                </a:lnTo>
                <a:lnTo>
                  <a:pt x="221" y="716"/>
                </a:lnTo>
                <a:lnTo>
                  <a:pt x="220" y="716"/>
                </a:lnTo>
                <a:lnTo>
                  <a:pt x="220" y="715"/>
                </a:lnTo>
                <a:lnTo>
                  <a:pt x="221" y="714"/>
                </a:lnTo>
                <a:lnTo>
                  <a:pt x="221" y="711"/>
                </a:lnTo>
                <a:lnTo>
                  <a:pt x="221" y="710"/>
                </a:lnTo>
                <a:lnTo>
                  <a:pt x="221" y="709"/>
                </a:lnTo>
                <a:lnTo>
                  <a:pt x="221" y="708"/>
                </a:lnTo>
                <a:lnTo>
                  <a:pt x="221" y="708"/>
                </a:lnTo>
                <a:lnTo>
                  <a:pt x="221" y="708"/>
                </a:lnTo>
                <a:lnTo>
                  <a:pt x="220" y="708"/>
                </a:lnTo>
                <a:lnTo>
                  <a:pt x="220" y="708"/>
                </a:lnTo>
                <a:lnTo>
                  <a:pt x="217" y="709"/>
                </a:lnTo>
                <a:lnTo>
                  <a:pt x="215" y="709"/>
                </a:lnTo>
                <a:lnTo>
                  <a:pt x="213" y="710"/>
                </a:lnTo>
                <a:lnTo>
                  <a:pt x="210" y="710"/>
                </a:lnTo>
                <a:lnTo>
                  <a:pt x="209" y="710"/>
                </a:lnTo>
                <a:lnTo>
                  <a:pt x="208" y="711"/>
                </a:lnTo>
                <a:lnTo>
                  <a:pt x="205" y="710"/>
                </a:lnTo>
                <a:lnTo>
                  <a:pt x="203" y="710"/>
                </a:lnTo>
                <a:lnTo>
                  <a:pt x="198" y="710"/>
                </a:lnTo>
                <a:lnTo>
                  <a:pt x="195" y="709"/>
                </a:lnTo>
                <a:lnTo>
                  <a:pt x="194" y="709"/>
                </a:lnTo>
                <a:lnTo>
                  <a:pt x="192" y="708"/>
                </a:lnTo>
                <a:lnTo>
                  <a:pt x="191" y="708"/>
                </a:lnTo>
                <a:lnTo>
                  <a:pt x="188" y="706"/>
                </a:lnTo>
                <a:lnTo>
                  <a:pt x="187" y="706"/>
                </a:lnTo>
                <a:lnTo>
                  <a:pt x="186" y="706"/>
                </a:lnTo>
                <a:lnTo>
                  <a:pt x="185" y="706"/>
                </a:lnTo>
                <a:lnTo>
                  <a:pt x="184" y="705"/>
                </a:lnTo>
                <a:lnTo>
                  <a:pt x="181" y="705"/>
                </a:lnTo>
                <a:lnTo>
                  <a:pt x="180" y="705"/>
                </a:lnTo>
                <a:lnTo>
                  <a:pt x="178" y="705"/>
                </a:lnTo>
                <a:lnTo>
                  <a:pt x="177" y="705"/>
                </a:lnTo>
                <a:lnTo>
                  <a:pt x="177" y="706"/>
                </a:lnTo>
                <a:lnTo>
                  <a:pt x="175" y="706"/>
                </a:lnTo>
                <a:lnTo>
                  <a:pt x="173" y="707"/>
                </a:lnTo>
                <a:lnTo>
                  <a:pt x="171" y="709"/>
                </a:lnTo>
                <a:lnTo>
                  <a:pt x="171" y="709"/>
                </a:lnTo>
                <a:lnTo>
                  <a:pt x="170" y="709"/>
                </a:lnTo>
                <a:lnTo>
                  <a:pt x="170" y="709"/>
                </a:lnTo>
                <a:lnTo>
                  <a:pt x="169" y="709"/>
                </a:lnTo>
                <a:lnTo>
                  <a:pt x="168" y="709"/>
                </a:lnTo>
                <a:lnTo>
                  <a:pt x="166" y="708"/>
                </a:lnTo>
                <a:lnTo>
                  <a:pt x="165" y="707"/>
                </a:lnTo>
                <a:lnTo>
                  <a:pt x="160" y="704"/>
                </a:lnTo>
                <a:lnTo>
                  <a:pt x="159" y="703"/>
                </a:lnTo>
                <a:lnTo>
                  <a:pt x="158" y="703"/>
                </a:lnTo>
                <a:lnTo>
                  <a:pt x="155" y="702"/>
                </a:lnTo>
                <a:lnTo>
                  <a:pt x="154" y="701"/>
                </a:lnTo>
                <a:lnTo>
                  <a:pt x="153" y="700"/>
                </a:lnTo>
                <a:lnTo>
                  <a:pt x="149" y="698"/>
                </a:lnTo>
                <a:lnTo>
                  <a:pt x="148" y="698"/>
                </a:lnTo>
                <a:lnTo>
                  <a:pt x="147" y="697"/>
                </a:lnTo>
                <a:lnTo>
                  <a:pt x="147" y="698"/>
                </a:lnTo>
                <a:lnTo>
                  <a:pt x="146" y="698"/>
                </a:lnTo>
                <a:lnTo>
                  <a:pt x="146" y="698"/>
                </a:lnTo>
                <a:lnTo>
                  <a:pt x="145" y="699"/>
                </a:lnTo>
                <a:lnTo>
                  <a:pt x="145" y="699"/>
                </a:lnTo>
                <a:lnTo>
                  <a:pt x="145" y="699"/>
                </a:lnTo>
                <a:lnTo>
                  <a:pt x="145" y="700"/>
                </a:lnTo>
                <a:lnTo>
                  <a:pt x="145" y="703"/>
                </a:lnTo>
                <a:lnTo>
                  <a:pt x="145" y="705"/>
                </a:lnTo>
                <a:lnTo>
                  <a:pt x="145" y="705"/>
                </a:lnTo>
                <a:lnTo>
                  <a:pt x="145" y="706"/>
                </a:lnTo>
                <a:lnTo>
                  <a:pt x="145" y="706"/>
                </a:lnTo>
                <a:lnTo>
                  <a:pt x="144" y="706"/>
                </a:lnTo>
                <a:lnTo>
                  <a:pt x="144" y="706"/>
                </a:lnTo>
                <a:lnTo>
                  <a:pt x="143" y="706"/>
                </a:lnTo>
                <a:lnTo>
                  <a:pt x="141" y="706"/>
                </a:lnTo>
                <a:lnTo>
                  <a:pt x="139" y="706"/>
                </a:lnTo>
                <a:lnTo>
                  <a:pt x="138" y="706"/>
                </a:lnTo>
                <a:lnTo>
                  <a:pt x="137" y="707"/>
                </a:lnTo>
                <a:lnTo>
                  <a:pt x="135" y="707"/>
                </a:lnTo>
                <a:lnTo>
                  <a:pt x="134" y="708"/>
                </a:lnTo>
                <a:lnTo>
                  <a:pt x="133" y="709"/>
                </a:lnTo>
                <a:lnTo>
                  <a:pt x="129" y="712"/>
                </a:lnTo>
                <a:lnTo>
                  <a:pt x="128" y="712"/>
                </a:lnTo>
                <a:lnTo>
                  <a:pt x="127" y="713"/>
                </a:lnTo>
                <a:lnTo>
                  <a:pt x="127" y="713"/>
                </a:lnTo>
                <a:lnTo>
                  <a:pt x="124" y="714"/>
                </a:lnTo>
                <a:lnTo>
                  <a:pt x="123" y="714"/>
                </a:lnTo>
                <a:lnTo>
                  <a:pt x="122" y="714"/>
                </a:lnTo>
                <a:lnTo>
                  <a:pt x="120" y="713"/>
                </a:lnTo>
                <a:lnTo>
                  <a:pt x="118" y="713"/>
                </a:lnTo>
                <a:lnTo>
                  <a:pt x="115" y="713"/>
                </a:lnTo>
                <a:lnTo>
                  <a:pt x="114" y="712"/>
                </a:lnTo>
                <a:lnTo>
                  <a:pt x="114" y="712"/>
                </a:lnTo>
                <a:lnTo>
                  <a:pt x="114" y="712"/>
                </a:lnTo>
                <a:lnTo>
                  <a:pt x="113" y="712"/>
                </a:lnTo>
                <a:lnTo>
                  <a:pt x="113" y="711"/>
                </a:lnTo>
                <a:lnTo>
                  <a:pt x="112" y="708"/>
                </a:lnTo>
                <a:lnTo>
                  <a:pt x="111" y="708"/>
                </a:lnTo>
                <a:lnTo>
                  <a:pt x="111" y="707"/>
                </a:lnTo>
                <a:lnTo>
                  <a:pt x="110" y="706"/>
                </a:lnTo>
                <a:lnTo>
                  <a:pt x="109" y="705"/>
                </a:lnTo>
                <a:lnTo>
                  <a:pt x="108" y="704"/>
                </a:lnTo>
                <a:lnTo>
                  <a:pt x="108" y="704"/>
                </a:lnTo>
                <a:lnTo>
                  <a:pt x="107" y="703"/>
                </a:lnTo>
                <a:lnTo>
                  <a:pt x="105" y="702"/>
                </a:lnTo>
                <a:lnTo>
                  <a:pt x="103" y="701"/>
                </a:lnTo>
                <a:lnTo>
                  <a:pt x="100" y="700"/>
                </a:lnTo>
                <a:lnTo>
                  <a:pt x="100" y="700"/>
                </a:lnTo>
                <a:lnTo>
                  <a:pt x="99" y="699"/>
                </a:lnTo>
                <a:lnTo>
                  <a:pt x="98" y="699"/>
                </a:lnTo>
                <a:lnTo>
                  <a:pt x="97" y="698"/>
                </a:lnTo>
                <a:lnTo>
                  <a:pt x="97" y="697"/>
                </a:lnTo>
                <a:lnTo>
                  <a:pt x="95" y="695"/>
                </a:lnTo>
                <a:lnTo>
                  <a:pt x="94" y="694"/>
                </a:lnTo>
                <a:lnTo>
                  <a:pt x="93" y="693"/>
                </a:lnTo>
                <a:lnTo>
                  <a:pt x="92" y="692"/>
                </a:lnTo>
                <a:lnTo>
                  <a:pt x="90" y="691"/>
                </a:lnTo>
                <a:lnTo>
                  <a:pt x="88" y="690"/>
                </a:lnTo>
                <a:lnTo>
                  <a:pt x="86" y="690"/>
                </a:lnTo>
                <a:lnTo>
                  <a:pt x="85" y="689"/>
                </a:lnTo>
                <a:lnTo>
                  <a:pt x="84" y="689"/>
                </a:lnTo>
                <a:lnTo>
                  <a:pt x="83" y="689"/>
                </a:lnTo>
                <a:lnTo>
                  <a:pt x="81" y="689"/>
                </a:lnTo>
                <a:lnTo>
                  <a:pt x="80" y="690"/>
                </a:lnTo>
                <a:lnTo>
                  <a:pt x="78" y="690"/>
                </a:lnTo>
                <a:lnTo>
                  <a:pt x="73" y="691"/>
                </a:lnTo>
                <a:lnTo>
                  <a:pt x="72" y="692"/>
                </a:lnTo>
                <a:lnTo>
                  <a:pt x="71" y="692"/>
                </a:lnTo>
                <a:lnTo>
                  <a:pt x="70" y="693"/>
                </a:lnTo>
                <a:lnTo>
                  <a:pt x="69" y="694"/>
                </a:lnTo>
                <a:lnTo>
                  <a:pt x="68" y="695"/>
                </a:lnTo>
                <a:lnTo>
                  <a:pt x="67" y="698"/>
                </a:lnTo>
                <a:lnTo>
                  <a:pt x="66" y="700"/>
                </a:lnTo>
                <a:lnTo>
                  <a:pt x="65" y="702"/>
                </a:lnTo>
                <a:lnTo>
                  <a:pt x="63" y="704"/>
                </a:lnTo>
                <a:lnTo>
                  <a:pt x="62" y="706"/>
                </a:lnTo>
                <a:lnTo>
                  <a:pt x="62" y="707"/>
                </a:lnTo>
                <a:lnTo>
                  <a:pt x="61" y="707"/>
                </a:lnTo>
                <a:lnTo>
                  <a:pt x="60" y="708"/>
                </a:lnTo>
                <a:lnTo>
                  <a:pt x="59" y="708"/>
                </a:lnTo>
                <a:lnTo>
                  <a:pt x="59" y="708"/>
                </a:lnTo>
                <a:lnTo>
                  <a:pt x="58" y="708"/>
                </a:lnTo>
                <a:lnTo>
                  <a:pt x="56" y="708"/>
                </a:lnTo>
                <a:lnTo>
                  <a:pt x="54" y="708"/>
                </a:lnTo>
                <a:lnTo>
                  <a:pt x="52" y="709"/>
                </a:lnTo>
                <a:lnTo>
                  <a:pt x="47" y="709"/>
                </a:lnTo>
                <a:lnTo>
                  <a:pt x="36" y="710"/>
                </a:lnTo>
                <a:lnTo>
                  <a:pt x="34" y="710"/>
                </a:lnTo>
                <a:lnTo>
                  <a:pt x="30" y="710"/>
                </a:lnTo>
                <a:lnTo>
                  <a:pt x="28" y="710"/>
                </a:lnTo>
                <a:lnTo>
                  <a:pt x="26" y="710"/>
                </a:lnTo>
                <a:lnTo>
                  <a:pt x="23" y="711"/>
                </a:lnTo>
                <a:lnTo>
                  <a:pt x="22" y="711"/>
                </a:lnTo>
                <a:lnTo>
                  <a:pt x="20" y="711"/>
                </a:lnTo>
                <a:lnTo>
                  <a:pt x="17" y="710"/>
                </a:lnTo>
                <a:lnTo>
                  <a:pt x="16" y="710"/>
                </a:lnTo>
                <a:lnTo>
                  <a:pt x="15" y="710"/>
                </a:lnTo>
                <a:lnTo>
                  <a:pt x="13" y="711"/>
                </a:lnTo>
                <a:lnTo>
                  <a:pt x="12" y="711"/>
                </a:lnTo>
                <a:lnTo>
                  <a:pt x="10" y="711"/>
                </a:lnTo>
                <a:lnTo>
                  <a:pt x="9" y="711"/>
                </a:lnTo>
                <a:lnTo>
                  <a:pt x="7" y="711"/>
                </a:lnTo>
                <a:lnTo>
                  <a:pt x="6" y="711"/>
                </a:lnTo>
                <a:lnTo>
                  <a:pt x="5" y="710"/>
                </a:lnTo>
                <a:lnTo>
                  <a:pt x="4" y="710"/>
                </a:lnTo>
                <a:lnTo>
                  <a:pt x="3" y="709"/>
                </a:lnTo>
                <a:lnTo>
                  <a:pt x="3" y="708"/>
                </a:lnTo>
                <a:lnTo>
                  <a:pt x="2" y="708"/>
                </a:lnTo>
                <a:lnTo>
                  <a:pt x="1" y="707"/>
                </a:lnTo>
                <a:lnTo>
                  <a:pt x="1" y="706"/>
                </a:lnTo>
                <a:lnTo>
                  <a:pt x="1" y="705"/>
                </a:lnTo>
                <a:lnTo>
                  <a:pt x="1" y="703"/>
                </a:lnTo>
                <a:lnTo>
                  <a:pt x="0" y="702"/>
                </a:lnTo>
                <a:lnTo>
                  <a:pt x="0" y="70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 262">
            <a:extLst>
              <a:ext uri="{FF2B5EF4-FFF2-40B4-BE49-F238E27FC236}">
                <a16:creationId xmlns:a16="http://schemas.microsoft.com/office/drawing/2014/main" id="{D6FE1D06-324E-4538-B42F-50E43DF47E8D}"/>
              </a:ext>
            </a:extLst>
          </p:cNvPr>
          <p:cNvSpPr>
            <a:spLocks/>
          </p:cNvSpPr>
          <p:nvPr/>
        </p:nvSpPr>
        <p:spPr bwMode="auto">
          <a:xfrm>
            <a:off x="7439814" y="3585287"/>
            <a:ext cx="1214561" cy="1511831"/>
          </a:xfrm>
          <a:custGeom>
            <a:avLst/>
            <a:gdLst>
              <a:gd name="T0" fmla="*/ 255 w 639"/>
              <a:gd name="T1" fmla="*/ 699 h 727"/>
              <a:gd name="T2" fmla="*/ 242 w 639"/>
              <a:gd name="T3" fmla="*/ 716 h 727"/>
              <a:gd name="T4" fmla="*/ 217 w 639"/>
              <a:gd name="T5" fmla="*/ 726 h 727"/>
              <a:gd name="T6" fmla="*/ 198 w 639"/>
              <a:gd name="T7" fmla="*/ 720 h 727"/>
              <a:gd name="T8" fmla="*/ 178 w 639"/>
              <a:gd name="T9" fmla="*/ 720 h 727"/>
              <a:gd name="T10" fmla="*/ 151 w 639"/>
              <a:gd name="T11" fmla="*/ 721 h 727"/>
              <a:gd name="T12" fmla="*/ 146 w 639"/>
              <a:gd name="T13" fmla="*/ 702 h 727"/>
              <a:gd name="T14" fmla="*/ 138 w 639"/>
              <a:gd name="T15" fmla="*/ 677 h 727"/>
              <a:gd name="T16" fmla="*/ 137 w 639"/>
              <a:gd name="T17" fmla="*/ 648 h 727"/>
              <a:gd name="T18" fmla="*/ 123 w 639"/>
              <a:gd name="T19" fmla="*/ 643 h 727"/>
              <a:gd name="T20" fmla="*/ 120 w 639"/>
              <a:gd name="T21" fmla="*/ 634 h 727"/>
              <a:gd name="T22" fmla="*/ 119 w 639"/>
              <a:gd name="T23" fmla="*/ 622 h 727"/>
              <a:gd name="T24" fmla="*/ 128 w 639"/>
              <a:gd name="T25" fmla="*/ 611 h 727"/>
              <a:gd name="T26" fmla="*/ 112 w 639"/>
              <a:gd name="T27" fmla="*/ 608 h 727"/>
              <a:gd name="T28" fmla="*/ 124 w 639"/>
              <a:gd name="T29" fmla="*/ 584 h 727"/>
              <a:gd name="T30" fmla="*/ 146 w 639"/>
              <a:gd name="T31" fmla="*/ 582 h 727"/>
              <a:gd name="T32" fmla="*/ 166 w 639"/>
              <a:gd name="T33" fmla="*/ 566 h 727"/>
              <a:gd name="T34" fmla="*/ 161 w 639"/>
              <a:gd name="T35" fmla="*/ 553 h 727"/>
              <a:gd name="T36" fmla="*/ 166 w 639"/>
              <a:gd name="T37" fmla="*/ 524 h 727"/>
              <a:gd name="T38" fmla="*/ 173 w 639"/>
              <a:gd name="T39" fmla="*/ 490 h 727"/>
              <a:gd name="T40" fmla="*/ 176 w 639"/>
              <a:gd name="T41" fmla="*/ 451 h 727"/>
              <a:gd name="T42" fmla="*/ 145 w 639"/>
              <a:gd name="T43" fmla="*/ 437 h 727"/>
              <a:gd name="T44" fmla="*/ 129 w 639"/>
              <a:gd name="T45" fmla="*/ 423 h 727"/>
              <a:gd name="T46" fmla="*/ 102 w 639"/>
              <a:gd name="T47" fmla="*/ 401 h 727"/>
              <a:gd name="T48" fmla="*/ 72 w 639"/>
              <a:gd name="T49" fmla="*/ 402 h 727"/>
              <a:gd name="T50" fmla="*/ 46 w 639"/>
              <a:gd name="T51" fmla="*/ 384 h 727"/>
              <a:gd name="T52" fmla="*/ 48 w 639"/>
              <a:gd name="T53" fmla="*/ 375 h 727"/>
              <a:gd name="T54" fmla="*/ 20 w 639"/>
              <a:gd name="T55" fmla="*/ 374 h 727"/>
              <a:gd name="T56" fmla="*/ 0 w 639"/>
              <a:gd name="T57" fmla="*/ 373 h 727"/>
              <a:gd name="T58" fmla="*/ 9 w 639"/>
              <a:gd name="T59" fmla="*/ 352 h 727"/>
              <a:gd name="T60" fmla="*/ 8 w 639"/>
              <a:gd name="T61" fmla="*/ 333 h 727"/>
              <a:gd name="T62" fmla="*/ 27 w 639"/>
              <a:gd name="T63" fmla="*/ 324 h 727"/>
              <a:gd name="T64" fmla="*/ 37 w 639"/>
              <a:gd name="T65" fmla="*/ 309 h 727"/>
              <a:gd name="T66" fmla="*/ 48 w 639"/>
              <a:gd name="T67" fmla="*/ 286 h 727"/>
              <a:gd name="T68" fmla="*/ 79 w 639"/>
              <a:gd name="T69" fmla="*/ 275 h 727"/>
              <a:gd name="T70" fmla="*/ 111 w 639"/>
              <a:gd name="T71" fmla="*/ 251 h 727"/>
              <a:gd name="T72" fmla="*/ 129 w 639"/>
              <a:gd name="T73" fmla="*/ 254 h 727"/>
              <a:gd name="T74" fmla="*/ 158 w 639"/>
              <a:gd name="T75" fmla="*/ 246 h 727"/>
              <a:gd name="T76" fmla="*/ 182 w 639"/>
              <a:gd name="T77" fmla="*/ 235 h 727"/>
              <a:gd name="T78" fmla="*/ 200 w 639"/>
              <a:gd name="T79" fmla="*/ 233 h 727"/>
              <a:gd name="T80" fmla="*/ 227 w 639"/>
              <a:gd name="T81" fmla="*/ 218 h 727"/>
              <a:gd name="T82" fmla="*/ 243 w 639"/>
              <a:gd name="T83" fmla="*/ 204 h 727"/>
              <a:gd name="T84" fmla="*/ 249 w 639"/>
              <a:gd name="T85" fmla="*/ 187 h 727"/>
              <a:gd name="T86" fmla="*/ 271 w 639"/>
              <a:gd name="T87" fmla="*/ 178 h 727"/>
              <a:gd name="T88" fmla="*/ 329 w 639"/>
              <a:gd name="T89" fmla="*/ 183 h 727"/>
              <a:gd name="T90" fmla="*/ 360 w 639"/>
              <a:gd name="T91" fmla="*/ 184 h 727"/>
              <a:gd name="T92" fmla="*/ 395 w 639"/>
              <a:gd name="T93" fmla="*/ 172 h 727"/>
              <a:gd name="T94" fmla="*/ 411 w 639"/>
              <a:gd name="T95" fmla="*/ 160 h 727"/>
              <a:gd name="T96" fmla="*/ 410 w 639"/>
              <a:gd name="T97" fmla="*/ 130 h 727"/>
              <a:gd name="T98" fmla="*/ 424 w 639"/>
              <a:gd name="T99" fmla="*/ 126 h 727"/>
              <a:gd name="T100" fmla="*/ 436 w 639"/>
              <a:gd name="T101" fmla="*/ 112 h 727"/>
              <a:gd name="T102" fmla="*/ 453 w 639"/>
              <a:gd name="T103" fmla="*/ 100 h 727"/>
              <a:gd name="T104" fmla="*/ 455 w 639"/>
              <a:gd name="T105" fmla="*/ 75 h 727"/>
              <a:gd name="T106" fmla="*/ 464 w 639"/>
              <a:gd name="T107" fmla="*/ 77 h 727"/>
              <a:gd name="T108" fmla="*/ 485 w 639"/>
              <a:gd name="T109" fmla="*/ 76 h 727"/>
              <a:gd name="T110" fmla="*/ 499 w 639"/>
              <a:gd name="T111" fmla="*/ 82 h 727"/>
              <a:gd name="T112" fmla="*/ 510 w 639"/>
              <a:gd name="T113" fmla="*/ 93 h 727"/>
              <a:gd name="T114" fmla="*/ 544 w 639"/>
              <a:gd name="T115" fmla="*/ 86 h 727"/>
              <a:gd name="T116" fmla="*/ 569 w 639"/>
              <a:gd name="T117" fmla="*/ 62 h 727"/>
              <a:gd name="T118" fmla="*/ 582 w 639"/>
              <a:gd name="T119" fmla="*/ 44 h 727"/>
              <a:gd name="T120" fmla="*/ 609 w 639"/>
              <a:gd name="T121" fmla="*/ 44 h 727"/>
              <a:gd name="T122" fmla="*/ 620 w 639"/>
              <a:gd name="T123" fmla="*/ 28 h 727"/>
              <a:gd name="T124" fmla="*/ 638 w 639"/>
              <a:gd name="T125" fmla="*/ 3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9" h="727">
                <a:moveTo>
                  <a:pt x="276" y="700"/>
                </a:moveTo>
                <a:lnTo>
                  <a:pt x="276" y="694"/>
                </a:lnTo>
                <a:lnTo>
                  <a:pt x="276" y="692"/>
                </a:lnTo>
                <a:lnTo>
                  <a:pt x="276" y="692"/>
                </a:lnTo>
                <a:lnTo>
                  <a:pt x="276" y="691"/>
                </a:lnTo>
                <a:lnTo>
                  <a:pt x="275" y="690"/>
                </a:lnTo>
                <a:lnTo>
                  <a:pt x="275" y="690"/>
                </a:lnTo>
                <a:lnTo>
                  <a:pt x="275" y="690"/>
                </a:lnTo>
                <a:lnTo>
                  <a:pt x="272" y="691"/>
                </a:lnTo>
                <a:lnTo>
                  <a:pt x="270" y="692"/>
                </a:lnTo>
                <a:lnTo>
                  <a:pt x="268" y="692"/>
                </a:lnTo>
                <a:lnTo>
                  <a:pt x="266" y="693"/>
                </a:lnTo>
                <a:lnTo>
                  <a:pt x="263" y="695"/>
                </a:lnTo>
                <a:lnTo>
                  <a:pt x="258" y="697"/>
                </a:lnTo>
                <a:lnTo>
                  <a:pt x="256" y="698"/>
                </a:lnTo>
                <a:lnTo>
                  <a:pt x="255" y="699"/>
                </a:lnTo>
                <a:lnTo>
                  <a:pt x="255" y="699"/>
                </a:lnTo>
                <a:lnTo>
                  <a:pt x="254" y="700"/>
                </a:lnTo>
                <a:lnTo>
                  <a:pt x="254" y="701"/>
                </a:lnTo>
                <a:lnTo>
                  <a:pt x="253" y="702"/>
                </a:lnTo>
                <a:lnTo>
                  <a:pt x="252" y="705"/>
                </a:lnTo>
                <a:lnTo>
                  <a:pt x="251" y="708"/>
                </a:lnTo>
                <a:lnTo>
                  <a:pt x="250" y="709"/>
                </a:lnTo>
                <a:lnTo>
                  <a:pt x="250" y="710"/>
                </a:lnTo>
                <a:lnTo>
                  <a:pt x="249" y="712"/>
                </a:lnTo>
                <a:lnTo>
                  <a:pt x="248" y="714"/>
                </a:lnTo>
                <a:lnTo>
                  <a:pt x="247" y="714"/>
                </a:lnTo>
                <a:lnTo>
                  <a:pt x="246" y="715"/>
                </a:lnTo>
                <a:lnTo>
                  <a:pt x="246" y="715"/>
                </a:lnTo>
                <a:lnTo>
                  <a:pt x="246" y="715"/>
                </a:lnTo>
                <a:lnTo>
                  <a:pt x="243" y="716"/>
                </a:lnTo>
                <a:lnTo>
                  <a:pt x="242" y="716"/>
                </a:lnTo>
                <a:lnTo>
                  <a:pt x="241" y="717"/>
                </a:lnTo>
                <a:lnTo>
                  <a:pt x="239" y="718"/>
                </a:lnTo>
                <a:lnTo>
                  <a:pt x="237" y="719"/>
                </a:lnTo>
                <a:lnTo>
                  <a:pt x="236" y="720"/>
                </a:lnTo>
                <a:lnTo>
                  <a:pt x="235" y="720"/>
                </a:lnTo>
                <a:lnTo>
                  <a:pt x="234" y="721"/>
                </a:lnTo>
                <a:lnTo>
                  <a:pt x="233" y="721"/>
                </a:lnTo>
                <a:lnTo>
                  <a:pt x="228" y="721"/>
                </a:lnTo>
                <a:lnTo>
                  <a:pt x="227" y="722"/>
                </a:lnTo>
                <a:lnTo>
                  <a:pt x="225" y="722"/>
                </a:lnTo>
                <a:lnTo>
                  <a:pt x="224" y="723"/>
                </a:lnTo>
                <a:lnTo>
                  <a:pt x="223" y="723"/>
                </a:lnTo>
                <a:lnTo>
                  <a:pt x="221" y="725"/>
                </a:lnTo>
                <a:lnTo>
                  <a:pt x="220" y="725"/>
                </a:lnTo>
                <a:lnTo>
                  <a:pt x="219" y="726"/>
                </a:lnTo>
                <a:lnTo>
                  <a:pt x="217" y="726"/>
                </a:lnTo>
                <a:lnTo>
                  <a:pt x="216" y="727"/>
                </a:lnTo>
                <a:lnTo>
                  <a:pt x="215" y="727"/>
                </a:lnTo>
                <a:lnTo>
                  <a:pt x="213" y="727"/>
                </a:lnTo>
                <a:lnTo>
                  <a:pt x="212" y="727"/>
                </a:lnTo>
                <a:lnTo>
                  <a:pt x="211" y="726"/>
                </a:lnTo>
                <a:lnTo>
                  <a:pt x="209" y="726"/>
                </a:lnTo>
                <a:lnTo>
                  <a:pt x="208" y="725"/>
                </a:lnTo>
                <a:lnTo>
                  <a:pt x="206" y="724"/>
                </a:lnTo>
                <a:lnTo>
                  <a:pt x="205" y="724"/>
                </a:lnTo>
                <a:lnTo>
                  <a:pt x="204" y="724"/>
                </a:lnTo>
                <a:lnTo>
                  <a:pt x="204" y="723"/>
                </a:lnTo>
                <a:lnTo>
                  <a:pt x="203" y="722"/>
                </a:lnTo>
                <a:lnTo>
                  <a:pt x="202" y="722"/>
                </a:lnTo>
                <a:lnTo>
                  <a:pt x="201" y="721"/>
                </a:lnTo>
                <a:lnTo>
                  <a:pt x="199" y="720"/>
                </a:lnTo>
                <a:lnTo>
                  <a:pt x="198" y="720"/>
                </a:lnTo>
                <a:lnTo>
                  <a:pt x="195" y="717"/>
                </a:lnTo>
                <a:lnTo>
                  <a:pt x="194" y="717"/>
                </a:lnTo>
                <a:lnTo>
                  <a:pt x="193" y="716"/>
                </a:lnTo>
                <a:lnTo>
                  <a:pt x="193" y="716"/>
                </a:lnTo>
                <a:lnTo>
                  <a:pt x="192" y="716"/>
                </a:lnTo>
                <a:lnTo>
                  <a:pt x="191" y="716"/>
                </a:lnTo>
                <a:lnTo>
                  <a:pt x="189" y="716"/>
                </a:lnTo>
                <a:lnTo>
                  <a:pt x="188" y="717"/>
                </a:lnTo>
                <a:lnTo>
                  <a:pt x="185" y="719"/>
                </a:lnTo>
                <a:lnTo>
                  <a:pt x="183" y="719"/>
                </a:lnTo>
                <a:lnTo>
                  <a:pt x="182" y="719"/>
                </a:lnTo>
                <a:lnTo>
                  <a:pt x="181" y="720"/>
                </a:lnTo>
                <a:lnTo>
                  <a:pt x="181" y="720"/>
                </a:lnTo>
                <a:lnTo>
                  <a:pt x="180" y="720"/>
                </a:lnTo>
                <a:lnTo>
                  <a:pt x="179" y="720"/>
                </a:lnTo>
                <a:lnTo>
                  <a:pt x="178" y="720"/>
                </a:lnTo>
                <a:lnTo>
                  <a:pt x="178" y="719"/>
                </a:lnTo>
                <a:lnTo>
                  <a:pt x="177" y="719"/>
                </a:lnTo>
                <a:lnTo>
                  <a:pt x="174" y="716"/>
                </a:lnTo>
                <a:lnTo>
                  <a:pt x="173" y="715"/>
                </a:lnTo>
                <a:lnTo>
                  <a:pt x="172" y="715"/>
                </a:lnTo>
                <a:lnTo>
                  <a:pt x="172" y="715"/>
                </a:lnTo>
                <a:lnTo>
                  <a:pt x="171" y="715"/>
                </a:lnTo>
                <a:lnTo>
                  <a:pt x="170" y="715"/>
                </a:lnTo>
                <a:lnTo>
                  <a:pt x="170" y="715"/>
                </a:lnTo>
                <a:lnTo>
                  <a:pt x="169" y="715"/>
                </a:lnTo>
                <a:lnTo>
                  <a:pt x="166" y="716"/>
                </a:lnTo>
                <a:lnTo>
                  <a:pt x="164" y="717"/>
                </a:lnTo>
                <a:lnTo>
                  <a:pt x="158" y="719"/>
                </a:lnTo>
                <a:lnTo>
                  <a:pt x="154" y="720"/>
                </a:lnTo>
                <a:lnTo>
                  <a:pt x="153" y="720"/>
                </a:lnTo>
                <a:lnTo>
                  <a:pt x="151" y="721"/>
                </a:lnTo>
                <a:lnTo>
                  <a:pt x="149" y="721"/>
                </a:lnTo>
                <a:lnTo>
                  <a:pt x="149" y="720"/>
                </a:lnTo>
                <a:lnTo>
                  <a:pt x="148" y="720"/>
                </a:lnTo>
                <a:lnTo>
                  <a:pt x="148" y="720"/>
                </a:lnTo>
                <a:lnTo>
                  <a:pt x="147" y="720"/>
                </a:lnTo>
                <a:lnTo>
                  <a:pt x="148" y="720"/>
                </a:lnTo>
                <a:lnTo>
                  <a:pt x="148" y="718"/>
                </a:lnTo>
                <a:lnTo>
                  <a:pt x="148" y="716"/>
                </a:lnTo>
                <a:lnTo>
                  <a:pt x="148" y="714"/>
                </a:lnTo>
                <a:lnTo>
                  <a:pt x="148" y="712"/>
                </a:lnTo>
                <a:lnTo>
                  <a:pt x="148" y="710"/>
                </a:lnTo>
                <a:lnTo>
                  <a:pt x="148" y="709"/>
                </a:lnTo>
                <a:lnTo>
                  <a:pt x="147" y="707"/>
                </a:lnTo>
                <a:lnTo>
                  <a:pt x="147" y="705"/>
                </a:lnTo>
                <a:lnTo>
                  <a:pt x="146" y="703"/>
                </a:lnTo>
                <a:lnTo>
                  <a:pt x="146" y="702"/>
                </a:lnTo>
                <a:lnTo>
                  <a:pt x="145" y="701"/>
                </a:lnTo>
                <a:lnTo>
                  <a:pt x="144" y="700"/>
                </a:lnTo>
                <a:lnTo>
                  <a:pt x="143" y="699"/>
                </a:lnTo>
                <a:lnTo>
                  <a:pt x="142" y="698"/>
                </a:lnTo>
                <a:lnTo>
                  <a:pt x="141" y="698"/>
                </a:lnTo>
                <a:lnTo>
                  <a:pt x="139" y="697"/>
                </a:lnTo>
                <a:lnTo>
                  <a:pt x="139" y="696"/>
                </a:lnTo>
                <a:lnTo>
                  <a:pt x="138" y="696"/>
                </a:lnTo>
                <a:lnTo>
                  <a:pt x="138" y="695"/>
                </a:lnTo>
                <a:lnTo>
                  <a:pt x="138" y="695"/>
                </a:lnTo>
                <a:lnTo>
                  <a:pt x="138" y="694"/>
                </a:lnTo>
                <a:lnTo>
                  <a:pt x="138" y="693"/>
                </a:lnTo>
                <a:lnTo>
                  <a:pt x="138" y="687"/>
                </a:lnTo>
                <a:lnTo>
                  <a:pt x="138" y="686"/>
                </a:lnTo>
                <a:lnTo>
                  <a:pt x="138" y="682"/>
                </a:lnTo>
                <a:lnTo>
                  <a:pt x="138" y="677"/>
                </a:lnTo>
                <a:lnTo>
                  <a:pt x="139" y="675"/>
                </a:lnTo>
                <a:lnTo>
                  <a:pt x="139" y="673"/>
                </a:lnTo>
                <a:lnTo>
                  <a:pt x="140" y="667"/>
                </a:lnTo>
                <a:lnTo>
                  <a:pt x="141" y="665"/>
                </a:lnTo>
                <a:lnTo>
                  <a:pt x="141" y="664"/>
                </a:lnTo>
                <a:lnTo>
                  <a:pt x="141" y="661"/>
                </a:lnTo>
                <a:lnTo>
                  <a:pt x="141" y="659"/>
                </a:lnTo>
                <a:lnTo>
                  <a:pt x="141" y="656"/>
                </a:lnTo>
                <a:lnTo>
                  <a:pt x="141" y="654"/>
                </a:lnTo>
                <a:lnTo>
                  <a:pt x="141" y="652"/>
                </a:lnTo>
                <a:lnTo>
                  <a:pt x="140" y="652"/>
                </a:lnTo>
                <a:lnTo>
                  <a:pt x="140" y="651"/>
                </a:lnTo>
                <a:lnTo>
                  <a:pt x="139" y="650"/>
                </a:lnTo>
                <a:lnTo>
                  <a:pt x="139" y="650"/>
                </a:lnTo>
                <a:lnTo>
                  <a:pt x="138" y="649"/>
                </a:lnTo>
                <a:lnTo>
                  <a:pt x="137" y="648"/>
                </a:lnTo>
                <a:lnTo>
                  <a:pt x="135" y="648"/>
                </a:lnTo>
                <a:lnTo>
                  <a:pt x="134" y="647"/>
                </a:lnTo>
                <a:lnTo>
                  <a:pt x="132" y="647"/>
                </a:lnTo>
                <a:lnTo>
                  <a:pt x="131" y="646"/>
                </a:lnTo>
                <a:lnTo>
                  <a:pt x="129" y="646"/>
                </a:lnTo>
                <a:lnTo>
                  <a:pt x="126" y="646"/>
                </a:lnTo>
                <a:lnTo>
                  <a:pt x="125" y="646"/>
                </a:lnTo>
                <a:lnTo>
                  <a:pt x="124" y="646"/>
                </a:lnTo>
                <a:lnTo>
                  <a:pt x="124" y="646"/>
                </a:lnTo>
                <a:lnTo>
                  <a:pt x="123" y="646"/>
                </a:lnTo>
                <a:lnTo>
                  <a:pt x="123" y="645"/>
                </a:lnTo>
                <a:lnTo>
                  <a:pt x="122" y="645"/>
                </a:lnTo>
                <a:lnTo>
                  <a:pt x="122" y="645"/>
                </a:lnTo>
                <a:lnTo>
                  <a:pt x="122" y="644"/>
                </a:lnTo>
                <a:lnTo>
                  <a:pt x="122" y="644"/>
                </a:lnTo>
                <a:lnTo>
                  <a:pt x="123" y="643"/>
                </a:lnTo>
                <a:lnTo>
                  <a:pt x="123" y="642"/>
                </a:lnTo>
                <a:lnTo>
                  <a:pt x="123" y="641"/>
                </a:lnTo>
                <a:lnTo>
                  <a:pt x="122" y="640"/>
                </a:lnTo>
                <a:lnTo>
                  <a:pt x="122" y="640"/>
                </a:lnTo>
                <a:lnTo>
                  <a:pt x="121" y="639"/>
                </a:lnTo>
                <a:lnTo>
                  <a:pt x="120" y="638"/>
                </a:lnTo>
                <a:lnTo>
                  <a:pt x="118" y="637"/>
                </a:lnTo>
                <a:lnTo>
                  <a:pt x="117" y="636"/>
                </a:lnTo>
                <a:lnTo>
                  <a:pt x="116" y="636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6" y="635"/>
                </a:lnTo>
                <a:lnTo>
                  <a:pt x="117" y="635"/>
                </a:lnTo>
                <a:lnTo>
                  <a:pt x="118" y="634"/>
                </a:lnTo>
                <a:lnTo>
                  <a:pt x="120" y="634"/>
                </a:lnTo>
                <a:lnTo>
                  <a:pt x="121" y="634"/>
                </a:lnTo>
                <a:lnTo>
                  <a:pt x="122" y="634"/>
                </a:lnTo>
                <a:lnTo>
                  <a:pt x="123" y="633"/>
                </a:lnTo>
                <a:lnTo>
                  <a:pt x="124" y="633"/>
                </a:lnTo>
                <a:lnTo>
                  <a:pt x="124" y="632"/>
                </a:lnTo>
                <a:lnTo>
                  <a:pt x="124" y="632"/>
                </a:lnTo>
                <a:lnTo>
                  <a:pt x="125" y="631"/>
                </a:lnTo>
                <a:lnTo>
                  <a:pt x="125" y="631"/>
                </a:lnTo>
                <a:lnTo>
                  <a:pt x="124" y="630"/>
                </a:lnTo>
                <a:lnTo>
                  <a:pt x="124" y="629"/>
                </a:lnTo>
                <a:lnTo>
                  <a:pt x="123" y="628"/>
                </a:lnTo>
                <a:lnTo>
                  <a:pt x="123" y="627"/>
                </a:lnTo>
                <a:lnTo>
                  <a:pt x="122" y="626"/>
                </a:lnTo>
                <a:lnTo>
                  <a:pt x="120" y="624"/>
                </a:lnTo>
                <a:lnTo>
                  <a:pt x="120" y="623"/>
                </a:lnTo>
                <a:lnTo>
                  <a:pt x="119" y="622"/>
                </a:lnTo>
                <a:lnTo>
                  <a:pt x="119" y="622"/>
                </a:lnTo>
                <a:lnTo>
                  <a:pt x="119" y="621"/>
                </a:lnTo>
                <a:lnTo>
                  <a:pt x="119" y="620"/>
                </a:lnTo>
                <a:lnTo>
                  <a:pt x="119" y="619"/>
                </a:lnTo>
                <a:lnTo>
                  <a:pt x="119" y="619"/>
                </a:lnTo>
                <a:lnTo>
                  <a:pt x="119" y="618"/>
                </a:lnTo>
                <a:lnTo>
                  <a:pt x="119" y="618"/>
                </a:lnTo>
                <a:lnTo>
                  <a:pt x="120" y="618"/>
                </a:lnTo>
                <a:lnTo>
                  <a:pt x="125" y="615"/>
                </a:lnTo>
                <a:lnTo>
                  <a:pt x="127" y="614"/>
                </a:lnTo>
                <a:lnTo>
                  <a:pt x="127" y="614"/>
                </a:lnTo>
                <a:lnTo>
                  <a:pt x="128" y="613"/>
                </a:lnTo>
                <a:lnTo>
                  <a:pt x="128" y="613"/>
                </a:lnTo>
                <a:lnTo>
                  <a:pt x="129" y="612"/>
                </a:lnTo>
                <a:lnTo>
                  <a:pt x="128" y="612"/>
                </a:lnTo>
                <a:lnTo>
                  <a:pt x="128" y="611"/>
                </a:lnTo>
                <a:lnTo>
                  <a:pt x="128" y="611"/>
                </a:lnTo>
                <a:lnTo>
                  <a:pt x="127" y="610"/>
                </a:lnTo>
                <a:lnTo>
                  <a:pt x="127" y="610"/>
                </a:lnTo>
                <a:lnTo>
                  <a:pt x="126" y="609"/>
                </a:lnTo>
                <a:lnTo>
                  <a:pt x="125" y="609"/>
                </a:lnTo>
                <a:lnTo>
                  <a:pt x="123" y="609"/>
                </a:lnTo>
                <a:lnTo>
                  <a:pt x="122" y="609"/>
                </a:lnTo>
                <a:lnTo>
                  <a:pt x="120" y="609"/>
                </a:lnTo>
                <a:lnTo>
                  <a:pt x="118" y="609"/>
                </a:lnTo>
                <a:lnTo>
                  <a:pt x="116" y="609"/>
                </a:lnTo>
                <a:lnTo>
                  <a:pt x="115" y="609"/>
                </a:lnTo>
                <a:lnTo>
                  <a:pt x="114" y="609"/>
                </a:lnTo>
                <a:lnTo>
                  <a:pt x="113" y="609"/>
                </a:lnTo>
                <a:lnTo>
                  <a:pt x="113" y="609"/>
                </a:lnTo>
                <a:lnTo>
                  <a:pt x="112" y="608"/>
                </a:lnTo>
                <a:lnTo>
                  <a:pt x="112" y="608"/>
                </a:lnTo>
                <a:lnTo>
                  <a:pt x="111" y="607"/>
                </a:lnTo>
                <a:lnTo>
                  <a:pt x="111" y="606"/>
                </a:lnTo>
                <a:lnTo>
                  <a:pt x="111" y="605"/>
                </a:lnTo>
                <a:lnTo>
                  <a:pt x="111" y="604"/>
                </a:lnTo>
                <a:lnTo>
                  <a:pt x="111" y="603"/>
                </a:lnTo>
                <a:lnTo>
                  <a:pt x="111" y="601"/>
                </a:lnTo>
                <a:lnTo>
                  <a:pt x="112" y="600"/>
                </a:lnTo>
                <a:lnTo>
                  <a:pt x="112" y="599"/>
                </a:lnTo>
                <a:lnTo>
                  <a:pt x="113" y="598"/>
                </a:lnTo>
                <a:lnTo>
                  <a:pt x="114" y="596"/>
                </a:lnTo>
                <a:lnTo>
                  <a:pt x="118" y="591"/>
                </a:lnTo>
                <a:lnTo>
                  <a:pt x="119" y="589"/>
                </a:lnTo>
                <a:lnTo>
                  <a:pt x="120" y="588"/>
                </a:lnTo>
                <a:lnTo>
                  <a:pt x="122" y="587"/>
                </a:lnTo>
                <a:lnTo>
                  <a:pt x="123" y="586"/>
                </a:lnTo>
                <a:lnTo>
                  <a:pt x="124" y="584"/>
                </a:lnTo>
                <a:lnTo>
                  <a:pt x="125" y="584"/>
                </a:lnTo>
                <a:lnTo>
                  <a:pt x="127" y="582"/>
                </a:lnTo>
                <a:lnTo>
                  <a:pt x="128" y="581"/>
                </a:lnTo>
                <a:lnTo>
                  <a:pt x="130" y="581"/>
                </a:lnTo>
                <a:lnTo>
                  <a:pt x="132" y="580"/>
                </a:lnTo>
                <a:lnTo>
                  <a:pt x="133" y="579"/>
                </a:lnTo>
                <a:lnTo>
                  <a:pt x="134" y="579"/>
                </a:lnTo>
                <a:lnTo>
                  <a:pt x="135" y="578"/>
                </a:lnTo>
                <a:lnTo>
                  <a:pt x="137" y="578"/>
                </a:lnTo>
                <a:lnTo>
                  <a:pt x="138" y="578"/>
                </a:lnTo>
                <a:lnTo>
                  <a:pt x="139" y="578"/>
                </a:lnTo>
                <a:lnTo>
                  <a:pt x="139" y="579"/>
                </a:lnTo>
                <a:lnTo>
                  <a:pt x="140" y="579"/>
                </a:lnTo>
                <a:lnTo>
                  <a:pt x="144" y="581"/>
                </a:lnTo>
                <a:lnTo>
                  <a:pt x="145" y="582"/>
                </a:lnTo>
                <a:lnTo>
                  <a:pt x="146" y="582"/>
                </a:lnTo>
                <a:lnTo>
                  <a:pt x="147" y="582"/>
                </a:lnTo>
                <a:lnTo>
                  <a:pt x="147" y="582"/>
                </a:lnTo>
                <a:lnTo>
                  <a:pt x="148" y="582"/>
                </a:lnTo>
                <a:lnTo>
                  <a:pt x="149" y="582"/>
                </a:lnTo>
                <a:lnTo>
                  <a:pt x="150" y="582"/>
                </a:lnTo>
                <a:lnTo>
                  <a:pt x="150" y="581"/>
                </a:lnTo>
                <a:lnTo>
                  <a:pt x="151" y="581"/>
                </a:lnTo>
                <a:lnTo>
                  <a:pt x="152" y="580"/>
                </a:lnTo>
                <a:lnTo>
                  <a:pt x="153" y="579"/>
                </a:lnTo>
                <a:lnTo>
                  <a:pt x="155" y="575"/>
                </a:lnTo>
                <a:lnTo>
                  <a:pt x="156" y="574"/>
                </a:lnTo>
                <a:lnTo>
                  <a:pt x="158" y="573"/>
                </a:lnTo>
                <a:lnTo>
                  <a:pt x="159" y="571"/>
                </a:lnTo>
                <a:lnTo>
                  <a:pt x="163" y="568"/>
                </a:lnTo>
                <a:lnTo>
                  <a:pt x="165" y="566"/>
                </a:lnTo>
                <a:lnTo>
                  <a:pt x="166" y="566"/>
                </a:lnTo>
                <a:lnTo>
                  <a:pt x="166" y="565"/>
                </a:lnTo>
                <a:lnTo>
                  <a:pt x="167" y="564"/>
                </a:lnTo>
                <a:lnTo>
                  <a:pt x="167" y="563"/>
                </a:lnTo>
                <a:lnTo>
                  <a:pt x="167" y="563"/>
                </a:lnTo>
                <a:lnTo>
                  <a:pt x="167" y="562"/>
                </a:lnTo>
                <a:lnTo>
                  <a:pt x="167" y="561"/>
                </a:lnTo>
                <a:lnTo>
                  <a:pt x="167" y="560"/>
                </a:lnTo>
                <a:lnTo>
                  <a:pt x="166" y="559"/>
                </a:lnTo>
                <a:lnTo>
                  <a:pt x="165" y="558"/>
                </a:lnTo>
                <a:lnTo>
                  <a:pt x="164" y="558"/>
                </a:lnTo>
                <a:lnTo>
                  <a:pt x="162" y="557"/>
                </a:lnTo>
                <a:lnTo>
                  <a:pt x="162" y="556"/>
                </a:lnTo>
                <a:lnTo>
                  <a:pt x="161" y="556"/>
                </a:lnTo>
                <a:lnTo>
                  <a:pt x="161" y="555"/>
                </a:lnTo>
                <a:lnTo>
                  <a:pt x="161" y="554"/>
                </a:lnTo>
                <a:lnTo>
                  <a:pt x="161" y="553"/>
                </a:lnTo>
                <a:lnTo>
                  <a:pt x="162" y="551"/>
                </a:lnTo>
                <a:lnTo>
                  <a:pt x="162" y="549"/>
                </a:lnTo>
                <a:lnTo>
                  <a:pt x="162" y="548"/>
                </a:lnTo>
                <a:lnTo>
                  <a:pt x="163" y="546"/>
                </a:lnTo>
                <a:lnTo>
                  <a:pt x="163" y="545"/>
                </a:lnTo>
                <a:lnTo>
                  <a:pt x="163" y="543"/>
                </a:lnTo>
                <a:lnTo>
                  <a:pt x="163" y="539"/>
                </a:lnTo>
                <a:lnTo>
                  <a:pt x="163" y="537"/>
                </a:lnTo>
                <a:lnTo>
                  <a:pt x="163" y="536"/>
                </a:lnTo>
                <a:lnTo>
                  <a:pt x="163" y="535"/>
                </a:lnTo>
                <a:lnTo>
                  <a:pt x="163" y="534"/>
                </a:lnTo>
                <a:lnTo>
                  <a:pt x="164" y="533"/>
                </a:lnTo>
                <a:lnTo>
                  <a:pt x="165" y="529"/>
                </a:lnTo>
                <a:lnTo>
                  <a:pt x="166" y="527"/>
                </a:lnTo>
                <a:lnTo>
                  <a:pt x="166" y="525"/>
                </a:lnTo>
                <a:lnTo>
                  <a:pt x="166" y="524"/>
                </a:lnTo>
                <a:lnTo>
                  <a:pt x="167" y="522"/>
                </a:lnTo>
                <a:lnTo>
                  <a:pt x="167" y="521"/>
                </a:lnTo>
                <a:lnTo>
                  <a:pt x="167" y="519"/>
                </a:lnTo>
                <a:lnTo>
                  <a:pt x="166" y="516"/>
                </a:lnTo>
                <a:lnTo>
                  <a:pt x="166" y="513"/>
                </a:lnTo>
                <a:lnTo>
                  <a:pt x="166" y="512"/>
                </a:lnTo>
                <a:lnTo>
                  <a:pt x="167" y="506"/>
                </a:lnTo>
                <a:lnTo>
                  <a:pt x="167" y="504"/>
                </a:lnTo>
                <a:lnTo>
                  <a:pt x="168" y="502"/>
                </a:lnTo>
                <a:lnTo>
                  <a:pt x="169" y="498"/>
                </a:lnTo>
                <a:lnTo>
                  <a:pt x="170" y="495"/>
                </a:lnTo>
                <a:lnTo>
                  <a:pt x="171" y="493"/>
                </a:lnTo>
                <a:lnTo>
                  <a:pt x="171" y="492"/>
                </a:lnTo>
                <a:lnTo>
                  <a:pt x="172" y="491"/>
                </a:lnTo>
                <a:lnTo>
                  <a:pt x="173" y="490"/>
                </a:lnTo>
                <a:lnTo>
                  <a:pt x="173" y="490"/>
                </a:lnTo>
                <a:lnTo>
                  <a:pt x="176" y="488"/>
                </a:lnTo>
                <a:lnTo>
                  <a:pt x="177" y="487"/>
                </a:lnTo>
                <a:lnTo>
                  <a:pt x="177" y="486"/>
                </a:lnTo>
                <a:lnTo>
                  <a:pt x="177" y="485"/>
                </a:lnTo>
                <a:lnTo>
                  <a:pt x="178" y="484"/>
                </a:lnTo>
                <a:lnTo>
                  <a:pt x="178" y="483"/>
                </a:lnTo>
                <a:lnTo>
                  <a:pt x="178" y="482"/>
                </a:lnTo>
                <a:lnTo>
                  <a:pt x="178" y="480"/>
                </a:lnTo>
                <a:lnTo>
                  <a:pt x="178" y="475"/>
                </a:lnTo>
                <a:lnTo>
                  <a:pt x="177" y="473"/>
                </a:lnTo>
                <a:lnTo>
                  <a:pt x="177" y="467"/>
                </a:lnTo>
                <a:lnTo>
                  <a:pt x="176" y="462"/>
                </a:lnTo>
                <a:lnTo>
                  <a:pt x="176" y="460"/>
                </a:lnTo>
                <a:lnTo>
                  <a:pt x="176" y="453"/>
                </a:lnTo>
                <a:lnTo>
                  <a:pt x="176" y="452"/>
                </a:lnTo>
                <a:lnTo>
                  <a:pt x="176" y="451"/>
                </a:lnTo>
                <a:lnTo>
                  <a:pt x="175" y="451"/>
                </a:lnTo>
                <a:lnTo>
                  <a:pt x="175" y="450"/>
                </a:lnTo>
                <a:lnTo>
                  <a:pt x="174" y="450"/>
                </a:lnTo>
                <a:lnTo>
                  <a:pt x="173" y="449"/>
                </a:lnTo>
                <a:lnTo>
                  <a:pt x="164" y="444"/>
                </a:lnTo>
                <a:lnTo>
                  <a:pt x="161" y="443"/>
                </a:lnTo>
                <a:lnTo>
                  <a:pt x="159" y="442"/>
                </a:lnTo>
                <a:lnTo>
                  <a:pt x="156" y="441"/>
                </a:lnTo>
                <a:lnTo>
                  <a:pt x="152" y="440"/>
                </a:lnTo>
                <a:lnTo>
                  <a:pt x="148" y="439"/>
                </a:lnTo>
                <a:lnTo>
                  <a:pt x="147" y="439"/>
                </a:lnTo>
                <a:lnTo>
                  <a:pt x="147" y="438"/>
                </a:lnTo>
                <a:lnTo>
                  <a:pt x="146" y="438"/>
                </a:lnTo>
                <a:lnTo>
                  <a:pt x="146" y="438"/>
                </a:lnTo>
                <a:lnTo>
                  <a:pt x="146" y="437"/>
                </a:lnTo>
                <a:lnTo>
                  <a:pt x="145" y="437"/>
                </a:lnTo>
                <a:lnTo>
                  <a:pt x="145" y="436"/>
                </a:lnTo>
                <a:lnTo>
                  <a:pt x="144" y="432"/>
                </a:lnTo>
                <a:lnTo>
                  <a:pt x="144" y="431"/>
                </a:lnTo>
                <a:lnTo>
                  <a:pt x="144" y="430"/>
                </a:lnTo>
                <a:lnTo>
                  <a:pt x="144" y="429"/>
                </a:lnTo>
                <a:lnTo>
                  <a:pt x="143" y="429"/>
                </a:lnTo>
                <a:lnTo>
                  <a:pt x="143" y="428"/>
                </a:lnTo>
                <a:lnTo>
                  <a:pt x="142" y="427"/>
                </a:lnTo>
                <a:lnTo>
                  <a:pt x="141" y="427"/>
                </a:lnTo>
                <a:lnTo>
                  <a:pt x="140" y="426"/>
                </a:lnTo>
                <a:lnTo>
                  <a:pt x="139" y="425"/>
                </a:lnTo>
                <a:lnTo>
                  <a:pt x="137" y="425"/>
                </a:lnTo>
                <a:lnTo>
                  <a:pt x="136" y="424"/>
                </a:lnTo>
                <a:lnTo>
                  <a:pt x="135" y="424"/>
                </a:lnTo>
                <a:lnTo>
                  <a:pt x="130" y="423"/>
                </a:lnTo>
                <a:lnTo>
                  <a:pt x="129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1" y="417"/>
                </a:lnTo>
                <a:lnTo>
                  <a:pt x="118" y="414"/>
                </a:lnTo>
                <a:lnTo>
                  <a:pt x="117" y="413"/>
                </a:lnTo>
                <a:lnTo>
                  <a:pt x="115" y="411"/>
                </a:lnTo>
                <a:lnTo>
                  <a:pt x="111" y="407"/>
                </a:lnTo>
                <a:lnTo>
                  <a:pt x="110" y="405"/>
                </a:lnTo>
                <a:lnTo>
                  <a:pt x="109" y="404"/>
                </a:lnTo>
                <a:lnTo>
                  <a:pt x="108" y="404"/>
                </a:lnTo>
                <a:lnTo>
                  <a:pt x="107" y="403"/>
                </a:lnTo>
                <a:lnTo>
                  <a:pt x="106" y="402"/>
                </a:lnTo>
                <a:lnTo>
                  <a:pt x="105" y="402"/>
                </a:lnTo>
                <a:lnTo>
                  <a:pt x="103" y="402"/>
                </a:lnTo>
                <a:lnTo>
                  <a:pt x="102" y="401"/>
                </a:lnTo>
                <a:lnTo>
                  <a:pt x="100" y="401"/>
                </a:lnTo>
                <a:lnTo>
                  <a:pt x="99" y="402"/>
                </a:lnTo>
                <a:lnTo>
                  <a:pt x="97" y="402"/>
                </a:lnTo>
                <a:lnTo>
                  <a:pt x="92" y="403"/>
                </a:lnTo>
                <a:lnTo>
                  <a:pt x="91" y="403"/>
                </a:lnTo>
                <a:lnTo>
                  <a:pt x="89" y="404"/>
                </a:lnTo>
                <a:lnTo>
                  <a:pt x="87" y="404"/>
                </a:lnTo>
                <a:lnTo>
                  <a:pt x="86" y="404"/>
                </a:lnTo>
                <a:lnTo>
                  <a:pt x="84" y="404"/>
                </a:lnTo>
                <a:lnTo>
                  <a:pt x="82" y="404"/>
                </a:lnTo>
                <a:lnTo>
                  <a:pt x="80" y="404"/>
                </a:lnTo>
                <a:lnTo>
                  <a:pt x="78" y="404"/>
                </a:lnTo>
                <a:lnTo>
                  <a:pt x="76" y="403"/>
                </a:lnTo>
                <a:lnTo>
                  <a:pt x="75" y="403"/>
                </a:lnTo>
                <a:lnTo>
                  <a:pt x="73" y="402"/>
                </a:lnTo>
                <a:lnTo>
                  <a:pt x="72" y="402"/>
                </a:lnTo>
                <a:lnTo>
                  <a:pt x="70" y="401"/>
                </a:lnTo>
                <a:lnTo>
                  <a:pt x="69" y="400"/>
                </a:lnTo>
                <a:lnTo>
                  <a:pt x="67" y="399"/>
                </a:lnTo>
                <a:lnTo>
                  <a:pt x="62" y="395"/>
                </a:lnTo>
                <a:lnTo>
                  <a:pt x="60" y="394"/>
                </a:lnTo>
                <a:lnTo>
                  <a:pt x="57" y="392"/>
                </a:lnTo>
                <a:lnTo>
                  <a:pt x="52" y="390"/>
                </a:lnTo>
                <a:lnTo>
                  <a:pt x="51" y="389"/>
                </a:lnTo>
                <a:lnTo>
                  <a:pt x="50" y="388"/>
                </a:lnTo>
                <a:lnTo>
                  <a:pt x="49" y="387"/>
                </a:lnTo>
                <a:lnTo>
                  <a:pt x="47" y="386"/>
                </a:lnTo>
                <a:lnTo>
                  <a:pt x="47" y="385"/>
                </a:lnTo>
                <a:lnTo>
                  <a:pt x="47" y="385"/>
                </a:lnTo>
                <a:lnTo>
                  <a:pt x="46" y="384"/>
                </a:lnTo>
                <a:lnTo>
                  <a:pt x="46" y="384"/>
                </a:lnTo>
                <a:lnTo>
                  <a:pt x="46" y="384"/>
                </a:lnTo>
                <a:lnTo>
                  <a:pt x="46" y="383"/>
                </a:lnTo>
                <a:lnTo>
                  <a:pt x="46" y="383"/>
                </a:lnTo>
                <a:lnTo>
                  <a:pt x="46" y="382"/>
                </a:lnTo>
                <a:lnTo>
                  <a:pt x="47" y="382"/>
                </a:lnTo>
                <a:lnTo>
                  <a:pt x="47" y="381"/>
                </a:lnTo>
                <a:lnTo>
                  <a:pt x="48" y="381"/>
                </a:lnTo>
                <a:lnTo>
                  <a:pt x="49" y="380"/>
                </a:lnTo>
                <a:lnTo>
                  <a:pt x="52" y="379"/>
                </a:lnTo>
                <a:lnTo>
                  <a:pt x="52" y="379"/>
                </a:lnTo>
                <a:lnTo>
                  <a:pt x="52" y="378"/>
                </a:lnTo>
                <a:lnTo>
                  <a:pt x="52" y="378"/>
                </a:lnTo>
                <a:lnTo>
                  <a:pt x="52" y="378"/>
                </a:lnTo>
                <a:lnTo>
                  <a:pt x="52" y="377"/>
                </a:lnTo>
                <a:lnTo>
                  <a:pt x="51" y="377"/>
                </a:lnTo>
                <a:lnTo>
                  <a:pt x="50" y="376"/>
                </a:lnTo>
                <a:lnTo>
                  <a:pt x="48" y="375"/>
                </a:lnTo>
                <a:lnTo>
                  <a:pt x="47" y="375"/>
                </a:lnTo>
                <a:lnTo>
                  <a:pt x="46" y="375"/>
                </a:lnTo>
                <a:lnTo>
                  <a:pt x="45" y="374"/>
                </a:lnTo>
                <a:lnTo>
                  <a:pt x="44" y="374"/>
                </a:lnTo>
                <a:lnTo>
                  <a:pt x="42" y="374"/>
                </a:lnTo>
                <a:lnTo>
                  <a:pt x="38" y="375"/>
                </a:lnTo>
                <a:lnTo>
                  <a:pt x="37" y="375"/>
                </a:lnTo>
                <a:lnTo>
                  <a:pt x="36" y="375"/>
                </a:lnTo>
                <a:lnTo>
                  <a:pt x="34" y="375"/>
                </a:lnTo>
                <a:lnTo>
                  <a:pt x="31" y="374"/>
                </a:lnTo>
                <a:lnTo>
                  <a:pt x="28" y="374"/>
                </a:lnTo>
                <a:lnTo>
                  <a:pt x="27" y="374"/>
                </a:lnTo>
                <a:lnTo>
                  <a:pt x="25" y="374"/>
                </a:lnTo>
                <a:lnTo>
                  <a:pt x="22" y="374"/>
                </a:lnTo>
                <a:lnTo>
                  <a:pt x="21" y="374"/>
                </a:lnTo>
                <a:lnTo>
                  <a:pt x="20" y="374"/>
                </a:lnTo>
                <a:lnTo>
                  <a:pt x="18" y="375"/>
                </a:lnTo>
                <a:lnTo>
                  <a:pt x="15" y="376"/>
                </a:lnTo>
                <a:lnTo>
                  <a:pt x="13" y="377"/>
                </a:lnTo>
                <a:lnTo>
                  <a:pt x="12" y="377"/>
                </a:lnTo>
                <a:lnTo>
                  <a:pt x="11" y="377"/>
                </a:lnTo>
                <a:lnTo>
                  <a:pt x="10" y="378"/>
                </a:lnTo>
                <a:lnTo>
                  <a:pt x="9" y="377"/>
                </a:lnTo>
                <a:lnTo>
                  <a:pt x="8" y="377"/>
                </a:lnTo>
                <a:lnTo>
                  <a:pt x="4" y="376"/>
                </a:lnTo>
                <a:lnTo>
                  <a:pt x="3" y="376"/>
                </a:lnTo>
                <a:lnTo>
                  <a:pt x="2" y="376"/>
                </a:lnTo>
                <a:lnTo>
                  <a:pt x="2" y="375"/>
                </a:lnTo>
                <a:lnTo>
                  <a:pt x="1" y="375"/>
                </a:lnTo>
                <a:lnTo>
                  <a:pt x="1" y="375"/>
                </a:lnTo>
                <a:lnTo>
                  <a:pt x="0" y="374"/>
                </a:lnTo>
                <a:lnTo>
                  <a:pt x="0" y="373"/>
                </a:lnTo>
                <a:lnTo>
                  <a:pt x="0" y="373"/>
                </a:lnTo>
                <a:lnTo>
                  <a:pt x="0" y="372"/>
                </a:lnTo>
                <a:lnTo>
                  <a:pt x="0" y="371"/>
                </a:lnTo>
                <a:lnTo>
                  <a:pt x="1" y="370"/>
                </a:lnTo>
                <a:lnTo>
                  <a:pt x="1" y="369"/>
                </a:lnTo>
                <a:lnTo>
                  <a:pt x="2" y="368"/>
                </a:lnTo>
                <a:lnTo>
                  <a:pt x="3" y="364"/>
                </a:lnTo>
                <a:lnTo>
                  <a:pt x="4" y="363"/>
                </a:lnTo>
                <a:lnTo>
                  <a:pt x="6" y="361"/>
                </a:lnTo>
                <a:lnTo>
                  <a:pt x="8" y="358"/>
                </a:lnTo>
                <a:lnTo>
                  <a:pt x="8" y="357"/>
                </a:lnTo>
                <a:lnTo>
                  <a:pt x="9" y="356"/>
                </a:lnTo>
                <a:lnTo>
                  <a:pt x="9" y="355"/>
                </a:lnTo>
                <a:lnTo>
                  <a:pt x="9" y="355"/>
                </a:lnTo>
                <a:lnTo>
                  <a:pt x="9" y="354"/>
                </a:lnTo>
                <a:lnTo>
                  <a:pt x="9" y="352"/>
                </a:lnTo>
                <a:lnTo>
                  <a:pt x="9" y="351"/>
                </a:lnTo>
                <a:lnTo>
                  <a:pt x="8" y="350"/>
                </a:lnTo>
                <a:lnTo>
                  <a:pt x="8" y="349"/>
                </a:lnTo>
                <a:lnTo>
                  <a:pt x="7" y="347"/>
                </a:lnTo>
                <a:lnTo>
                  <a:pt x="6" y="345"/>
                </a:lnTo>
                <a:lnTo>
                  <a:pt x="5" y="344"/>
                </a:lnTo>
                <a:lnTo>
                  <a:pt x="3" y="342"/>
                </a:lnTo>
                <a:lnTo>
                  <a:pt x="3" y="341"/>
                </a:lnTo>
                <a:lnTo>
                  <a:pt x="3" y="340"/>
                </a:lnTo>
                <a:lnTo>
                  <a:pt x="2" y="340"/>
                </a:lnTo>
                <a:lnTo>
                  <a:pt x="3" y="339"/>
                </a:lnTo>
                <a:lnTo>
                  <a:pt x="3" y="338"/>
                </a:lnTo>
                <a:lnTo>
                  <a:pt x="4" y="337"/>
                </a:lnTo>
                <a:lnTo>
                  <a:pt x="4" y="336"/>
                </a:lnTo>
                <a:lnTo>
                  <a:pt x="6" y="335"/>
                </a:lnTo>
                <a:lnTo>
                  <a:pt x="8" y="333"/>
                </a:lnTo>
                <a:lnTo>
                  <a:pt x="9" y="332"/>
                </a:lnTo>
                <a:lnTo>
                  <a:pt x="11" y="331"/>
                </a:lnTo>
                <a:lnTo>
                  <a:pt x="12" y="330"/>
                </a:lnTo>
                <a:lnTo>
                  <a:pt x="13" y="330"/>
                </a:lnTo>
                <a:lnTo>
                  <a:pt x="14" y="330"/>
                </a:lnTo>
                <a:lnTo>
                  <a:pt x="15" y="329"/>
                </a:lnTo>
                <a:lnTo>
                  <a:pt x="17" y="329"/>
                </a:lnTo>
                <a:lnTo>
                  <a:pt x="20" y="329"/>
                </a:lnTo>
                <a:lnTo>
                  <a:pt x="21" y="329"/>
                </a:lnTo>
                <a:lnTo>
                  <a:pt x="22" y="328"/>
                </a:lnTo>
                <a:lnTo>
                  <a:pt x="23" y="328"/>
                </a:lnTo>
                <a:lnTo>
                  <a:pt x="24" y="328"/>
                </a:lnTo>
                <a:lnTo>
                  <a:pt x="24" y="327"/>
                </a:lnTo>
                <a:lnTo>
                  <a:pt x="25" y="327"/>
                </a:lnTo>
                <a:lnTo>
                  <a:pt x="25" y="326"/>
                </a:lnTo>
                <a:lnTo>
                  <a:pt x="27" y="324"/>
                </a:lnTo>
                <a:lnTo>
                  <a:pt x="28" y="323"/>
                </a:lnTo>
                <a:lnTo>
                  <a:pt x="28" y="322"/>
                </a:lnTo>
                <a:lnTo>
                  <a:pt x="30" y="318"/>
                </a:lnTo>
                <a:lnTo>
                  <a:pt x="30" y="317"/>
                </a:lnTo>
                <a:lnTo>
                  <a:pt x="31" y="317"/>
                </a:lnTo>
                <a:lnTo>
                  <a:pt x="31" y="316"/>
                </a:lnTo>
                <a:lnTo>
                  <a:pt x="32" y="316"/>
                </a:lnTo>
                <a:lnTo>
                  <a:pt x="34" y="315"/>
                </a:lnTo>
                <a:lnTo>
                  <a:pt x="35" y="314"/>
                </a:lnTo>
                <a:lnTo>
                  <a:pt x="35" y="314"/>
                </a:lnTo>
                <a:lnTo>
                  <a:pt x="36" y="313"/>
                </a:lnTo>
                <a:lnTo>
                  <a:pt x="36" y="313"/>
                </a:lnTo>
                <a:lnTo>
                  <a:pt x="36" y="313"/>
                </a:lnTo>
                <a:lnTo>
                  <a:pt x="36" y="312"/>
                </a:lnTo>
                <a:lnTo>
                  <a:pt x="37" y="310"/>
                </a:lnTo>
                <a:lnTo>
                  <a:pt x="37" y="309"/>
                </a:lnTo>
                <a:lnTo>
                  <a:pt x="37" y="307"/>
                </a:lnTo>
                <a:lnTo>
                  <a:pt x="37" y="306"/>
                </a:lnTo>
                <a:lnTo>
                  <a:pt x="37" y="305"/>
                </a:lnTo>
                <a:lnTo>
                  <a:pt x="38" y="303"/>
                </a:lnTo>
                <a:lnTo>
                  <a:pt x="38" y="302"/>
                </a:lnTo>
                <a:lnTo>
                  <a:pt x="38" y="300"/>
                </a:lnTo>
                <a:lnTo>
                  <a:pt x="39" y="297"/>
                </a:lnTo>
                <a:lnTo>
                  <a:pt x="39" y="296"/>
                </a:lnTo>
                <a:lnTo>
                  <a:pt x="39" y="294"/>
                </a:lnTo>
                <a:lnTo>
                  <a:pt x="40" y="293"/>
                </a:lnTo>
                <a:lnTo>
                  <a:pt x="40" y="293"/>
                </a:lnTo>
                <a:lnTo>
                  <a:pt x="41" y="292"/>
                </a:lnTo>
                <a:lnTo>
                  <a:pt x="42" y="291"/>
                </a:lnTo>
                <a:lnTo>
                  <a:pt x="45" y="289"/>
                </a:lnTo>
                <a:lnTo>
                  <a:pt x="47" y="287"/>
                </a:lnTo>
                <a:lnTo>
                  <a:pt x="48" y="286"/>
                </a:lnTo>
                <a:lnTo>
                  <a:pt x="51" y="284"/>
                </a:lnTo>
                <a:lnTo>
                  <a:pt x="52" y="283"/>
                </a:lnTo>
                <a:lnTo>
                  <a:pt x="54" y="281"/>
                </a:lnTo>
                <a:lnTo>
                  <a:pt x="57" y="279"/>
                </a:lnTo>
                <a:lnTo>
                  <a:pt x="58" y="278"/>
                </a:lnTo>
                <a:lnTo>
                  <a:pt x="60" y="277"/>
                </a:lnTo>
                <a:lnTo>
                  <a:pt x="61" y="277"/>
                </a:lnTo>
                <a:lnTo>
                  <a:pt x="63" y="276"/>
                </a:lnTo>
                <a:lnTo>
                  <a:pt x="65" y="276"/>
                </a:lnTo>
                <a:lnTo>
                  <a:pt x="66" y="276"/>
                </a:lnTo>
                <a:lnTo>
                  <a:pt x="68" y="276"/>
                </a:lnTo>
                <a:lnTo>
                  <a:pt x="71" y="276"/>
                </a:lnTo>
                <a:lnTo>
                  <a:pt x="73" y="276"/>
                </a:lnTo>
                <a:lnTo>
                  <a:pt x="75" y="276"/>
                </a:lnTo>
                <a:lnTo>
                  <a:pt x="77" y="276"/>
                </a:lnTo>
                <a:lnTo>
                  <a:pt x="79" y="275"/>
                </a:lnTo>
                <a:lnTo>
                  <a:pt x="81" y="275"/>
                </a:lnTo>
                <a:lnTo>
                  <a:pt x="84" y="274"/>
                </a:lnTo>
                <a:lnTo>
                  <a:pt x="86" y="273"/>
                </a:lnTo>
                <a:lnTo>
                  <a:pt x="87" y="272"/>
                </a:lnTo>
                <a:lnTo>
                  <a:pt x="88" y="271"/>
                </a:lnTo>
                <a:lnTo>
                  <a:pt x="90" y="270"/>
                </a:lnTo>
                <a:lnTo>
                  <a:pt x="91" y="269"/>
                </a:lnTo>
                <a:lnTo>
                  <a:pt x="93" y="267"/>
                </a:lnTo>
                <a:lnTo>
                  <a:pt x="94" y="265"/>
                </a:lnTo>
                <a:lnTo>
                  <a:pt x="95" y="264"/>
                </a:lnTo>
                <a:lnTo>
                  <a:pt x="96" y="264"/>
                </a:lnTo>
                <a:lnTo>
                  <a:pt x="99" y="261"/>
                </a:lnTo>
                <a:lnTo>
                  <a:pt x="102" y="258"/>
                </a:lnTo>
                <a:lnTo>
                  <a:pt x="108" y="253"/>
                </a:lnTo>
                <a:lnTo>
                  <a:pt x="110" y="252"/>
                </a:lnTo>
                <a:lnTo>
                  <a:pt x="111" y="251"/>
                </a:lnTo>
                <a:lnTo>
                  <a:pt x="112" y="250"/>
                </a:lnTo>
                <a:lnTo>
                  <a:pt x="113" y="250"/>
                </a:lnTo>
                <a:lnTo>
                  <a:pt x="113" y="250"/>
                </a:lnTo>
                <a:lnTo>
                  <a:pt x="114" y="250"/>
                </a:lnTo>
                <a:lnTo>
                  <a:pt x="114" y="250"/>
                </a:lnTo>
                <a:lnTo>
                  <a:pt x="115" y="250"/>
                </a:lnTo>
                <a:lnTo>
                  <a:pt x="115" y="250"/>
                </a:lnTo>
                <a:lnTo>
                  <a:pt x="117" y="251"/>
                </a:lnTo>
                <a:lnTo>
                  <a:pt x="118" y="252"/>
                </a:lnTo>
                <a:lnTo>
                  <a:pt x="119" y="252"/>
                </a:lnTo>
                <a:lnTo>
                  <a:pt x="120" y="253"/>
                </a:lnTo>
                <a:lnTo>
                  <a:pt x="122" y="253"/>
                </a:lnTo>
                <a:lnTo>
                  <a:pt x="124" y="254"/>
                </a:lnTo>
                <a:lnTo>
                  <a:pt x="126" y="254"/>
                </a:lnTo>
                <a:lnTo>
                  <a:pt x="127" y="254"/>
                </a:lnTo>
                <a:lnTo>
                  <a:pt x="129" y="254"/>
                </a:lnTo>
                <a:lnTo>
                  <a:pt x="131" y="254"/>
                </a:lnTo>
                <a:lnTo>
                  <a:pt x="138" y="254"/>
                </a:lnTo>
                <a:lnTo>
                  <a:pt x="140" y="254"/>
                </a:lnTo>
                <a:lnTo>
                  <a:pt x="142" y="254"/>
                </a:lnTo>
                <a:lnTo>
                  <a:pt x="143" y="253"/>
                </a:lnTo>
                <a:lnTo>
                  <a:pt x="145" y="253"/>
                </a:lnTo>
                <a:lnTo>
                  <a:pt x="146" y="252"/>
                </a:lnTo>
                <a:lnTo>
                  <a:pt x="148" y="252"/>
                </a:lnTo>
                <a:lnTo>
                  <a:pt x="149" y="251"/>
                </a:lnTo>
                <a:lnTo>
                  <a:pt x="152" y="249"/>
                </a:lnTo>
                <a:lnTo>
                  <a:pt x="153" y="248"/>
                </a:lnTo>
                <a:lnTo>
                  <a:pt x="154" y="247"/>
                </a:lnTo>
                <a:lnTo>
                  <a:pt x="156" y="247"/>
                </a:lnTo>
                <a:lnTo>
                  <a:pt x="156" y="247"/>
                </a:lnTo>
                <a:lnTo>
                  <a:pt x="157" y="246"/>
                </a:lnTo>
                <a:lnTo>
                  <a:pt x="158" y="246"/>
                </a:lnTo>
                <a:lnTo>
                  <a:pt x="160" y="244"/>
                </a:lnTo>
                <a:lnTo>
                  <a:pt x="161" y="243"/>
                </a:lnTo>
                <a:lnTo>
                  <a:pt x="163" y="242"/>
                </a:lnTo>
                <a:lnTo>
                  <a:pt x="167" y="237"/>
                </a:lnTo>
                <a:lnTo>
                  <a:pt x="169" y="236"/>
                </a:lnTo>
                <a:lnTo>
                  <a:pt x="170" y="235"/>
                </a:lnTo>
                <a:lnTo>
                  <a:pt x="171" y="234"/>
                </a:lnTo>
                <a:lnTo>
                  <a:pt x="173" y="233"/>
                </a:lnTo>
                <a:lnTo>
                  <a:pt x="174" y="232"/>
                </a:lnTo>
                <a:lnTo>
                  <a:pt x="175" y="232"/>
                </a:lnTo>
                <a:lnTo>
                  <a:pt x="176" y="232"/>
                </a:lnTo>
                <a:lnTo>
                  <a:pt x="177" y="232"/>
                </a:lnTo>
                <a:lnTo>
                  <a:pt x="179" y="233"/>
                </a:lnTo>
                <a:lnTo>
                  <a:pt x="180" y="234"/>
                </a:lnTo>
                <a:lnTo>
                  <a:pt x="181" y="234"/>
                </a:lnTo>
                <a:lnTo>
                  <a:pt x="182" y="235"/>
                </a:lnTo>
                <a:lnTo>
                  <a:pt x="185" y="238"/>
                </a:lnTo>
                <a:lnTo>
                  <a:pt x="186" y="239"/>
                </a:lnTo>
                <a:lnTo>
                  <a:pt x="187" y="240"/>
                </a:lnTo>
                <a:lnTo>
                  <a:pt x="188" y="240"/>
                </a:lnTo>
                <a:lnTo>
                  <a:pt x="188" y="240"/>
                </a:lnTo>
                <a:lnTo>
                  <a:pt x="189" y="240"/>
                </a:lnTo>
                <a:lnTo>
                  <a:pt x="190" y="241"/>
                </a:lnTo>
                <a:lnTo>
                  <a:pt x="190" y="241"/>
                </a:lnTo>
                <a:lnTo>
                  <a:pt x="192" y="240"/>
                </a:lnTo>
                <a:lnTo>
                  <a:pt x="192" y="240"/>
                </a:lnTo>
                <a:lnTo>
                  <a:pt x="193" y="240"/>
                </a:lnTo>
                <a:lnTo>
                  <a:pt x="194" y="239"/>
                </a:lnTo>
                <a:lnTo>
                  <a:pt x="194" y="239"/>
                </a:lnTo>
                <a:lnTo>
                  <a:pt x="196" y="238"/>
                </a:lnTo>
                <a:lnTo>
                  <a:pt x="197" y="236"/>
                </a:lnTo>
                <a:lnTo>
                  <a:pt x="200" y="233"/>
                </a:lnTo>
                <a:lnTo>
                  <a:pt x="202" y="230"/>
                </a:lnTo>
                <a:lnTo>
                  <a:pt x="203" y="230"/>
                </a:lnTo>
                <a:lnTo>
                  <a:pt x="204" y="229"/>
                </a:lnTo>
                <a:lnTo>
                  <a:pt x="206" y="227"/>
                </a:lnTo>
                <a:lnTo>
                  <a:pt x="207" y="227"/>
                </a:lnTo>
                <a:lnTo>
                  <a:pt x="208" y="226"/>
                </a:lnTo>
                <a:lnTo>
                  <a:pt x="209" y="225"/>
                </a:lnTo>
                <a:lnTo>
                  <a:pt x="211" y="225"/>
                </a:lnTo>
                <a:lnTo>
                  <a:pt x="213" y="224"/>
                </a:lnTo>
                <a:lnTo>
                  <a:pt x="214" y="224"/>
                </a:lnTo>
                <a:lnTo>
                  <a:pt x="219" y="222"/>
                </a:lnTo>
                <a:lnTo>
                  <a:pt x="220" y="222"/>
                </a:lnTo>
                <a:lnTo>
                  <a:pt x="221" y="221"/>
                </a:lnTo>
                <a:lnTo>
                  <a:pt x="223" y="221"/>
                </a:lnTo>
                <a:lnTo>
                  <a:pt x="225" y="219"/>
                </a:lnTo>
                <a:lnTo>
                  <a:pt x="227" y="218"/>
                </a:lnTo>
                <a:lnTo>
                  <a:pt x="228" y="218"/>
                </a:lnTo>
                <a:lnTo>
                  <a:pt x="229" y="216"/>
                </a:lnTo>
                <a:lnTo>
                  <a:pt x="231" y="214"/>
                </a:lnTo>
                <a:lnTo>
                  <a:pt x="232" y="213"/>
                </a:lnTo>
                <a:lnTo>
                  <a:pt x="233" y="212"/>
                </a:lnTo>
                <a:lnTo>
                  <a:pt x="234" y="211"/>
                </a:lnTo>
                <a:lnTo>
                  <a:pt x="235" y="209"/>
                </a:lnTo>
                <a:lnTo>
                  <a:pt x="235" y="208"/>
                </a:lnTo>
                <a:lnTo>
                  <a:pt x="236" y="206"/>
                </a:lnTo>
                <a:lnTo>
                  <a:pt x="236" y="206"/>
                </a:lnTo>
                <a:lnTo>
                  <a:pt x="236" y="205"/>
                </a:lnTo>
                <a:lnTo>
                  <a:pt x="237" y="204"/>
                </a:lnTo>
                <a:lnTo>
                  <a:pt x="238" y="204"/>
                </a:lnTo>
                <a:lnTo>
                  <a:pt x="239" y="204"/>
                </a:lnTo>
                <a:lnTo>
                  <a:pt x="241" y="204"/>
                </a:lnTo>
                <a:lnTo>
                  <a:pt x="243" y="204"/>
                </a:lnTo>
                <a:lnTo>
                  <a:pt x="245" y="203"/>
                </a:lnTo>
                <a:lnTo>
                  <a:pt x="246" y="203"/>
                </a:lnTo>
                <a:lnTo>
                  <a:pt x="247" y="203"/>
                </a:lnTo>
                <a:lnTo>
                  <a:pt x="247" y="202"/>
                </a:lnTo>
                <a:lnTo>
                  <a:pt x="248" y="202"/>
                </a:lnTo>
                <a:lnTo>
                  <a:pt x="248" y="201"/>
                </a:lnTo>
                <a:lnTo>
                  <a:pt x="249" y="201"/>
                </a:lnTo>
                <a:lnTo>
                  <a:pt x="249" y="200"/>
                </a:lnTo>
                <a:lnTo>
                  <a:pt x="249" y="199"/>
                </a:lnTo>
                <a:lnTo>
                  <a:pt x="249" y="197"/>
                </a:lnTo>
                <a:lnTo>
                  <a:pt x="249" y="195"/>
                </a:lnTo>
                <a:lnTo>
                  <a:pt x="249" y="194"/>
                </a:lnTo>
                <a:lnTo>
                  <a:pt x="249" y="191"/>
                </a:lnTo>
                <a:lnTo>
                  <a:pt x="249" y="189"/>
                </a:lnTo>
                <a:lnTo>
                  <a:pt x="249" y="188"/>
                </a:lnTo>
                <a:lnTo>
                  <a:pt x="249" y="187"/>
                </a:lnTo>
                <a:lnTo>
                  <a:pt x="250" y="186"/>
                </a:lnTo>
                <a:lnTo>
                  <a:pt x="250" y="186"/>
                </a:lnTo>
                <a:lnTo>
                  <a:pt x="250" y="185"/>
                </a:lnTo>
                <a:lnTo>
                  <a:pt x="251" y="183"/>
                </a:lnTo>
                <a:lnTo>
                  <a:pt x="252" y="182"/>
                </a:lnTo>
                <a:lnTo>
                  <a:pt x="253" y="181"/>
                </a:lnTo>
                <a:lnTo>
                  <a:pt x="254" y="180"/>
                </a:lnTo>
                <a:lnTo>
                  <a:pt x="255" y="180"/>
                </a:lnTo>
                <a:lnTo>
                  <a:pt x="256" y="179"/>
                </a:lnTo>
                <a:lnTo>
                  <a:pt x="258" y="178"/>
                </a:lnTo>
                <a:lnTo>
                  <a:pt x="259" y="178"/>
                </a:lnTo>
                <a:lnTo>
                  <a:pt x="260" y="178"/>
                </a:lnTo>
                <a:lnTo>
                  <a:pt x="261" y="177"/>
                </a:lnTo>
                <a:lnTo>
                  <a:pt x="262" y="177"/>
                </a:lnTo>
                <a:lnTo>
                  <a:pt x="264" y="177"/>
                </a:lnTo>
                <a:lnTo>
                  <a:pt x="271" y="178"/>
                </a:lnTo>
                <a:lnTo>
                  <a:pt x="273" y="178"/>
                </a:lnTo>
                <a:lnTo>
                  <a:pt x="276" y="179"/>
                </a:lnTo>
                <a:lnTo>
                  <a:pt x="281" y="180"/>
                </a:lnTo>
                <a:lnTo>
                  <a:pt x="287" y="182"/>
                </a:lnTo>
                <a:lnTo>
                  <a:pt x="291" y="183"/>
                </a:lnTo>
                <a:lnTo>
                  <a:pt x="293" y="183"/>
                </a:lnTo>
                <a:lnTo>
                  <a:pt x="296" y="184"/>
                </a:lnTo>
                <a:lnTo>
                  <a:pt x="305" y="185"/>
                </a:lnTo>
                <a:lnTo>
                  <a:pt x="308" y="185"/>
                </a:lnTo>
                <a:lnTo>
                  <a:pt x="312" y="185"/>
                </a:lnTo>
                <a:lnTo>
                  <a:pt x="315" y="185"/>
                </a:lnTo>
                <a:lnTo>
                  <a:pt x="318" y="185"/>
                </a:lnTo>
                <a:lnTo>
                  <a:pt x="321" y="185"/>
                </a:lnTo>
                <a:lnTo>
                  <a:pt x="324" y="184"/>
                </a:lnTo>
                <a:lnTo>
                  <a:pt x="327" y="183"/>
                </a:lnTo>
                <a:lnTo>
                  <a:pt x="329" y="183"/>
                </a:lnTo>
                <a:lnTo>
                  <a:pt x="331" y="182"/>
                </a:lnTo>
                <a:lnTo>
                  <a:pt x="332" y="181"/>
                </a:lnTo>
                <a:lnTo>
                  <a:pt x="333" y="181"/>
                </a:lnTo>
                <a:lnTo>
                  <a:pt x="334" y="181"/>
                </a:lnTo>
                <a:lnTo>
                  <a:pt x="335" y="181"/>
                </a:lnTo>
                <a:lnTo>
                  <a:pt x="336" y="181"/>
                </a:lnTo>
                <a:lnTo>
                  <a:pt x="340" y="182"/>
                </a:lnTo>
                <a:lnTo>
                  <a:pt x="342" y="183"/>
                </a:lnTo>
                <a:lnTo>
                  <a:pt x="347" y="183"/>
                </a:lnTo>
                <a:lnTo>
                  <a:pt x="352" y="184"/>
                </a:lnTo>
                <a:lnTo>
                  <a:pt x="354" y="185"/>
                </a:lnTo>
                <a:lnTo>
                  <a:pt x="356" y="185"/>
                </a:lnTo>
                <a:lnTo>
                  <a:pt x="357" y="185"/>
                </a:lnTo>
                <a:lnTo>
                  <a:pt x="358" y="185"/>
                </a:lnTo>
                <a:lnTo>
                  <a:pt x="359" y="185"/>
                </a:lnTo>
                <a:lnTo>
                  <a:pt x="360" y="184"/>
                </a:lnTo>
                <a:lnTo>
                  <a:pt x="360" y="184"/>
                </a:lnTo>
                <a:lnTo>
                  <a:pt x="362" y="183"/>
                </a:lnTo>
                <a:lnTo>
                  <a:pt x="363" y="182"/>
                </a:lnTo>
                <a:lnTo>
                  <a:pt x="364" y="181"/>
                </a:lnTo>
                <a:lnTo>
                  <a:pt x="367" y="178"/>
                </a:lnTo>
                <a:lnTo>
                  <a:pt x="368" y="177"/>
                </a:lnTo>
                <a:lnTo>
                  <a:pt x="369" y="176"/>
                </a:lnTo>
                <a:lnTo>
                  <a:pt x="370" y="176"/>
                </a:lnTo>
                <a:lnTo>
                  <a:pt x="371" y="175"/>
                </a:lnTo>
                <a:lnTo>
                  <a:pt x="372" y="175"/>
                </a:lnTo>
                <a:lnTo>
                  <a:pt x="374" y="175"/>
                </a:lnTo>
                <a:lnTo>
                  <a:pt x="383" y="173"/>
                </a:lnTo>
                <a:lnTo>
                  <a:pt x="386" y="173"/>
                </a:lnTo>
                <a:lnTo>
                  <a:pt x="392" y="172"/>
                </a:lnTo>
                <a:lnTo>
                  <a:pt x="394" y="172"/>
                </a:lnTo>
                <a:lnTo>
                  <a:pt x="395" y="172"/>
                </a:lnTo>
                <a:lnTo>
                  <a:pt x="397" y="173"/>
                </a:lnTo>
                <a:lnTo>
                  <a:pt x="401" y="173"/>
                </a:lnTo>
                <a:lnTo>
                  <a:pt x="402" y="174"/>
                </a:lnTo>
                <a:lnTo>
                  <a:pt x="403" y="174"/>
                </a:lnTo>
                <a:lnTo>
                  <a:pt x="404" y="173"/>
                </a:lnTo>
                <a:lnTo>
                  <a:pt x="405" y="173"/>
                </a:lnTo>
                <a:lnTo>
                  <a:pt x="406" y="173"/>
                </a:lnTo>
                <a:lnTo>
                  <a:pt x="407" y="172"/>
                </a:lnTo>
                <a:lnTo>
                  <a:pt x="407" y="172"/>
                </a:lnTo>
                <a:lnTo>
                  <a:pt x="408" y="171"/>
                </a:lnTo>
                <a:lnTo>
                  <a:pt x="408" y="171"/>
                </a:lnTo>
                <a:lnTo>
                  <a:pt x="409" y="169"/>
                </a:lnTo>
                <a:lnTo>
                  <a:pt x="410" y="168"/>
                </a:lnTo>
                <a:lnTo>
                  <a:pt x="410" y="167"/>
                </a:lnTo>
                <a:lnTo>
                  <a:pt x="410" y="166"/>
                </a:lnTo>
                <a:lnTo>
                  <a:pt x="411" y="160"/>
                </a:lnTo>
                <a:lnTo>
                  <a:pt x="412" y="156"/>
                </a:lnTo>
                <a:lnTo>
                  <a:pt x="412" y="155"/>
                </a:lnTo>
                <a:lnTo>
                  <a:pt x="412" y="153"/>
                </a:lnTo>
                <a:lnTo>
                  <a:pt x="412" y="152"/>
                </a:lnTo>
                <a:lnTo>
                  <a:pt x="412" y="150"/>
                </a:lnTo>
                <a:lnTo>
                  <a:pt x="412" y="148"/>
                </a:lnTo>
                <a:lnTo>
                  <a:pt x="412" y="147"/>
                </a:lnTo>
                <a:lnTo>
                  <a:pt x="412" y="145"/>
                </a:lnTo>
                <a:lnTo>
                  <a:pt x="411" y="141"/>
                </a:lnTo>
                <a:lnTo>
                  <a:pt x="410" y="140"/>
                </a:lnTo>
                <a:lnTo>
                  <a:pt x="410" y="139"/>
                </a:lnTo>
                <a:lnTo>
                  <a:pt x="410" y="137"/>
                </a:lnTo>
                <a:lnTo>
                  <a:pt x="410" y="135"/>
                </a:lnTo>
                <a:lnTo>
                  <a:pt x="410" y="134"/>
                </a:lnTo>
                <a:lnTo>
                  <a:pt x="410" y="133"/>
                </a:lnTo>
                <a:lnTo>
                  <a:pt x="410" y="130"/>
                </a:lnTo>
                <a:lnTo>
                  <a:pt x="410" y="126"/>
                </a:lnTo>
                <a:lnTo>
                  <a:pt x="410" y="125"/>
                </a:lnTo>
                <a:lnTo>
                  <a:pt x="410" y="125"/>
                </a:lnTo>
                <a:lnTo>
                  <a:pt x="410" y="124"/>
                </a:lnTo>
                <a:lnTo>
                  <a:pt x="410" y="124"/>
                </a:lnTo>
                <a:lnTo>
                  <a:pt x="411" y="124"/>
                </a:lnTo>
                <a:lnTo>
                  <a:pt x="412" y="123"/>
                </a:lnTo>
                <a:lnTo>
                  <a:pt x="412" y="123"/>
                </a:lnTo>
                <a:lnTo>
                  <a:pt x="413" y="123"/>
                </a:lnTo>
                <a:lnTo>
                  <a:pt x="414" y="123"/>
                </a:lnTo>
                <a:lnTo>
                  <a:pt x="414" y="123"/>
                </a:lnTo>
                <a:lnTo>
                  <a:pt x="415" y="123"/>
                </a:lnTo>
                <a:lnTo>
                  <a:pt x="416" y="123"/>
                </a:lnTo>
                <a:lnTo>
                  <a:pt x="421" y="125"/>
                </a:lnTo>
                <a:lnTo>
                  <a:pt x="423" y="125"/>
                </a:lnTo>
                <a:lnTo>
                  <a:pt x="424" y="126"/>
                </a:lnTo>
                <a:lnTo>
                  <a:pt x="426" y="126"/>
                </a:lnTo>
                <a:lnTo>
                  <a:pt x="427" y="126"/>
                </a:lnTo>
                <a:lnTo>
                  <a:pt x="428" y="126"/>
                </a:lnTo>
                <a:lnTo>
                  <a:pt x="429" y="126"/>
                </a:lnTo>
                <a:lnTo>
                  <a:pt x="429" y="126"/>
                </a:lnTo>
                <a:lnTo>
                  <a:pt x="429" y="125"/>
                </a:lnTo>
                <a:lnTo>
                  <a:pt x="430" y="125"/>
                </a:lnTo>
                <a:lnTo>
                  <a:pt x="430" y="125"/>
                </a:lnTo>
                <a:lnTo>
                  <a:pt x="430" y="124"/>
                </a:lnTo>
                <a:lnTo>
                  <a:pt x="430" y="122"/>
                </a:lnTo>
                <a:lnTo>
                  <a:pt x="430" y="122"/>
                </a:lnTo>
                <a:lnTo>
                  <a:pt x="432" y="118"/>
                </a:lnTo>
                <a:lnTo>
                  <a:pt x="434" y="114"/>
                </a:lnTo>
                <a:lnTo>
                  <a:pt x="435" y="113"/>
                </a:lnTo>
                <a:lnTo>
                  <a:pt x="435" y="113"/>
                </a:lnTo>
                <a:lnTo>
                  <a:pt x="436" y="112"/>
                </a:lnTo>
                <a:lnTo>
                  <a:pt x="437" y="112"/>
                </a:lnTo>
                <a:lnTo>
                  <a:pt x="441" y="111"/>
                </a:lnTo>
                <a:lnTo>
                  <a:pt x="445" y="110"/>
                </a:lnTo>
                <a:lnTo>
                  <a:pt x="448" y="109"/>
                </a:lnTo>
                <a:lnTo>
                  <a:pt x="449" y="108"/>
                </a:lnTo>
                <a:lnTo>
                  <a:pt x="450" y="108"/>
                </a:lnTo>
                <a:lnTo>
                  <a:pt x="450" y="108"/>
                </a:lnTo>
                <a:lnTo>
                  <a:pt x="451" y="107"/>
                </a:lnTo>
                <a:lnTo>
                  <a:pt x="451" y="107"/>
                </a:lnTo>
                <a:lnTo>
                  <a:pt x="451" y="106"/>
                </a:lnTo>
                <a:lnTo>
                  <a:pt x="452" y="105"/>
                </a:lnTo>
                <a:lnTo>
                  <a:pt x="452" y="104"/>
                </a:lnTo>
                <a:lnTo>
                  <a:pt x="452" y="103"/>
                </a:lnTo>
                <a:lnTo>
                  <a:pt x="453" y="102"/>
                </a:lnTo>
                <a:lnTo>
                  <a:pt x="453" y="101"/>
                </a:lnTo>
                <a:lnTo>
                  <a:pt x="453" y="100"/>
                </a:lnTo>
                <a:lnTo>
                  <a:pt x="452" y="96"/>
                </a:lnTo>
                <a:lnTo>
                  <a:pt x="452" y="94"/>
                </a:lnTo>
                <a:lnTo>
                  <a:pt x="452" y="91"/>
                </a:lnTo>
                <a:lnTo>
                  <a:pt x="451" y="87"/>
                </a:lnTo>
                <a:lnTo>
                  <a:pt x="450" y="85"/>
                </a:lnTo>
                <a:lnTo>
                  <a:pt x="450" y="84"/>
                </a:lnTo>
                <a:lnTo>
                  <a:pt x="450" y="83"/>
                </a:lnTo>
                <a:lnTo>
                  <a:pt x="451" y="82"/>
                </a:lnTo>
                <a:lnTo>
                  <a:pt x="451" y="81"/>
                </a:lnTo>
                <a:lnTo>
                  <a:pt x="451" y="80"/>
                </a:lnTo>
                <a:lnTo>
                  <a:pt x="451" y="79"/>
                </a:lnTo>
                <a:lnTo>
                  <a:pt x="452" y="78"/>
                </a:lnTo>
                <a:lnTo>
                  <a:pt x="453" y="77"/>
                </a:lnTo>
                <a:lnTo>
                  <a:pt x="454" y="76"/>
                </a:lnTo>
                <a:lnTo>
                  <a:pt x="455" y="75"/>
                </a:lnTo>
                <a:lnTo>
                  <a:pt x="455" y="75"/>
                </a:lnTo>
                <a:lnTo>
                  <a:pt x="456" y="74"/>
                </a:lnTo>
                <a:lnTo>
                  <a:pt x="457" y="74"/>
                </a:lnTo>
                <a:lnTo>
                  <a:pt x="457" y="74"/>
                </a:lnTo>
                <a:lnTo>
                  <a:pt x="458" y="73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59" y="74"/>
                </a:lnTo>
                <a:lnTo>
                  <a:pt x="460" y="75"/>
                </a:lnTo>
                <a:lnTo>
                  <a:pt x="460" y="75"/>
                </a:lnTo>
                <a:lnTo>
                  <a:pt x="461" y="76"/>
                </a:lnTo>
                <a:lnTo>
                  <a:pt x="462" y="76"/>
                </a:lnTo>
                <a:lnTo>
                  <a:pt x="462" y="77"/>
                </a:lnTo>
                <a:lnTo>
                  <a:pt x="463" y="77"/>
                </a:lnTo>
                <a:lnTo>
                  <a:pt x="464" y="77"/>
                </a:lnTo>
                <a:lnTo>
                  <a:pt x="464" y="77"/>
                </a:lnTo>
                <a:lnTo>
                  <a:pt x="465" y="76"/>
                </a:lnTo>
                <a:lnTo>
                  <a:pt x="466" y="76"/>
                </a:lnTo>
                <a:lnTo>
                  <a:pt x="469" y="75"/>
                </a:lnTo>
                <a:lnTo>
                  <a:pt x="470" y="74"/>
                </a:lnTo>
                <a:lnTo>
                  <a:pt x="471" y="74"/>
                </a:lnTo>
                <a:lnTo>
                  <a:pt x="472" y="73"/>
                </a:lnTo>
                <a:lnTo>
                  <a:pt x="473" y="73"/>
                </a:lnTo>
                <a:lnTo>
                  <a:pt x="475" y="74"/>
                </a:lnTo>
                <a:lnTo>
                  <a:pt x="476" y="74"/>
                </a:lnTo>
                <a:lnTo>
                  <a:pt x="479" y="76"/>
                </a:lnTo>
                <a:lnTo>
                  <a:pt x="480" y="76"/>
                </a:lnTo>
                <a:lnTo>
                  <a:pt x="482" y="76"/>
                </a:lnTo>
                <a:lnTo>
                  <a:pt x="482" y="76"/>
                </a:lnTo>
                <a:lnTo>
                  <a:pt x="483" y="76"/>
                </a:lnTo>
                <a:lnTo>
                  <a:pt x="484" y="76"/>
                </a:lnTo>
                <a:lnTo>
                  <a:pt x="485" y="76"/>
                </a:lnTo>
                <a:lnTo>
                  <a:pt x="486" y="76"/>
                </a:lnTo>
                <a:lnTo>
                  <a:pt x="488" y="75"/>
                </a:lnTo>
                <a:lnTo>
                  <a:pt x="489" y="74"/>
                </a:lnTo>
                <a:lnTo>
                  <a:pt x="491" y="74"/>
                </a:lnTo>
                <a:lnTo>
                  <a:pt x="492" y="73"/>
                </a:lnTo>
                <a:lnTo>
                  <a:pt x="493" y="73"/>
                </a:lnTo>
                <a:lnTo>
                  <a:pt x="494" y="73"/>
                </a:lnTo>
                <a:lnTo>
                  <a:pt x="494" y="73"/>
                </a:lnTo>
                <a:lnTo>
                  <a:pt x="495" y="73"/>
                </a:lnTo>
                <a:lnTo>
                  <a:pt x="496" y="74"/>
                </a:lnTo>
                <a:lnTo>
                  <a:pt x="496" y="74"/>
                </a:lnTo>
                <a:lnTo>
                  <a:pt x="497" y="75"/>
                </a:lnTo>
                <a:lnTo>
                  <a:pt x="497" y="76"/>
                </a:lnTo>
                <a:lnTo>
                  <a:pt x="498" y="77"/>
                </a:lnTo>
                <a:lnTo>
                  <a:pt x="498" y="78"/>
                </a:lnTo>
                <a:lnTo>
                  <a:pt x="499" y="82"/>
                </a:lnTo>
                <a:lnTo>
                  <a:pt x="499" y="84"/>
                </a:lnTo>
                <a:lnTo>
                  <a:pt x="500" y="86"/>
                </a:lnTo>
                <a:lnTo>
                  <a:pt x="500" y="87"/>
                </a:lnTo>
                <a:lnTo>
                  <a:pt x="501" y="88"/>
                </a:lnTo>
                <a:lnTo>
                  <a:pt x="501" y="89"/>
                </a:lnTo>
                <a:lnTo>
                  <a:pt x="502" y="90"/>
                </a:lnTo>
                <a:lnTo>
                  <a:pt x="502" y="91"/>
                </a:lnTo>
                <a:lnTo>
                  <a:pt x="503" y="91"/>
                </a:lnTo>
                <a:lnTo>
                  <a:pt x="504" y="91"/>
                </a:lnTo>
                <a:lnTo>
                  <a:pt x="505" y="92"/>
                </a:lnTo>
                <a:lnTo>
                  <a:pt x="506" y="92"/>
                </a:lnTo>
                <a:lnTo>
                  <a:pt x="507" y="93"/>
                </a:lnTo>
                <a:lnTo>
                  <a:pt x="508" y="93"/>
                </a:lnTo>
                <a:lnTo>
                  <a:pt x="509" y="93"/>
                </a:lnTo>
                <a:lnTo>
                  <a:pt x="510" y="93"/>
                </a:lnTo>
                <a:lnTo>
                  <a:pt x="510" y="93"/>
                </a:lnTo>
                <a:lnTo>
                  <a:pt x="511" y="93"/>
                </a:lnTo>
                <a:lnTo>
                  <a:pt x="512" y="92"/>
                </a:lnTo>
                <a:lnTo>
                  <a:pt x="514" y="92"/>
                </a:lnTo>
                <a:lnTo>
                  <a:pt x="515" y="91"/>
                </a:lnTo>
                <a:lnTo>
                  <a:pt x="520" y="90"/>
                </a:lnTo>
                <a:lnTo>
                  <a:pt x="521" y="89"/>
                </a:lnTo>
                <a:lnTo>
                  <a:pt x="523" y="89"/>
                </a:lnTo>
                <a:lnTo>
                  <a:pt x="526" y="89"/>
                </a:lnTo>
                <a:lnTo>
                  <a:pt x="527" y="89"/>
                </a:lnTo>
                <a:lnTo>
                  <a:pt x="530" y="89"/>
                </a:lnTo>
                <a:lnTo>
                  <a:pt x="531" y="88"/>
                </a:lnTo>
                <a:lnTo>
                  <a:pt x="540" y="88"/>
                </a:lnTo>
                <a:lnTo>
                  <a:pt x="542" y="88"/>
                </a:lnTo>
                <a:lnTo>
                  <a:pt x="542" y="87"/>
                </a:lnTo>
                <a:lnTo>
                  <a:pt x="543" y="87"/>
                </a:lnTo>
                <a:lnTo>
                  <a:pt x="544" y="86"/>
                </a:lnTo>
                <a:lnTo>
                  <a:pt x="547" y="83"/>
                </a:lnTo>
                <a:lnTo>
                  <a:pt x="552" y="80"/>
                </a:lnTo>
                <a:lnTo>
                  <a:pt x="554" y="78"/>
                </a:lnTo>
                <a:lnTo>
                  <a:pt x="555" y="77"/>
                </a:lnTo>
                <a:lnTo>
                  <a:pt x="556" y="76"/>
                </a:lnTo>
                <a:lnTo>
                  <a:pt x="557" y="74"/>
                </a:lnTo>
                <a:lnTo>
                  <a:pt x="560" y="71"/>
                </a:lnTo>
                <a:lnTo>
                  <a:pt x="560" y="70"/>
                </a:lnTo>
                <a:lnTo>
                  <a:pt x="561" y="69"/>
                </a:lnTo>
                <a:lnTo>
                  <a:pt x="562" y="68"/>
                </a:lnTo>
                <a:lnTo>
                  <a:pt x="563" y="68"/>
                </a:lnTo>
                <a:lnTo>
                  <a:pt x="566" y="65"/>
                </a:lnTo>
                <a:lnTo>
                  <a:pt x="567" y="65"/>
                </a:lnTo>
                <a:lnTo>
                  <a:pt x="568" y="64"/>
                </a:lnTo>
                <a:lnTo>
                  <a:pt x="568" y="63"/>
                </a:lnTo>
                <a:lnTo>
                  <a:pt x="569" y="62"/>
                </a:lnTo>
                <a:lnTo>
                  <a:pt x="570" y="61"/>
                </a:lnTo>
                <a:lnTo>
                  <a:pt x="570" y="60"/>
                </a:lnTo>
                <a:lnTo>
                  <a:pt x="570" y="58"/>
                </a:lnTo>
                <a:lnTo>
                  <a:pt x="571" y="56"/>
                </a:lnTo>
                <a:lnTo>
                  <a:pt x="571" y="50"/>
                </a:lnTo>
                <a:lnTo>
                  <a:pt x="572" y="49"/>
                </a:lnTo>
                <a:lnTo>
                  <a:pt x="572" y="48"/>
                </a:lnTo>
                <a:lnTo>
                  <a:pt x="573" y="46"/>
                </a:lnTo>
                <a:lnTo>
                  <a:pt x="573" y="45"/>
                </a:lnTo>
                <a:lnTo>
                  <a:pt x="574" y="45"/>
                </a:lnTo>
                <a:lnTo>
                  <a:pt x="575" y="44"/>
                </a:lnTo>
                <a:lnTo>
                  <a:pt x="576" y="44"/>
                </a:lnTo>
                <a:lnTo>
                  <a:pt x="577" y="44"/>
                </a:lnTo>
                <a:lnTo>
                  <a:pt x="579" y="44"/>
                </a:lnTo>
                <a:lnTo>
                  <a:pt x="580" y="44"/>
                </a:lnTo>
                <a:lnTo>
                  <a:pt x="582" y="44"/>
                </a:lnTo>
                <a:lnTo>
                  <a:pt x="585" y="44"/>
                </a:lnTo>
                <a:lnTo>
                  <a:pt x="588" y="45"/>
                </a:lnTo>
                <a:lnTo>
                  <a:pt x="591" y="46"/>
                </a:lnTo>
                <a:lnTo>
                  <a:pt x="596" y="47"/>
                </a:lnTo>
                <a:lnTo>
                  <a:pt x="598" y="48"/>
                </a:lnTo>
                <a:lnTo>
                  <a:pt x="600" y="48"/>
                </a:lnTo>
                <a:lnTo>
                  <a:pt x="600" y="48"/>
                </a:lnTo>
                <a:lnTo>
                  <a:pt x="601" y="48"/>
                </a:lnTo>
                <a:lnTo>
                  <a:pt x="602" y="48"/>
                </a:lnTo>
                <a:lnTo>
                  <a:pt x="603" y="48"/>
                </a:lnTo>
                <a:lnTo>
                  <a:pt x="604" y="48"/>
                </a:lnTo>
                <a:lnTo>
                  <a:pt x="605" y="47"/>
                </a:lnTo>
                <a:lnTo>
                  <a:pt x="606" y="47"/>
                </a:lnTo>
                <a:lnTo>
                  <a:pt x="607" y="46"/>
                </a:lnTo>
                <a:lnTo>
                  <a:pt x="608" y="45"/>
                </a:lnTo>
                <a:lnTo>
                  <a:pt x="609" y="44"/>
                </a:lnTo>
                <a:lnTo>
                  <a:pt x="610" y="43"/>
                </a:lnTo>
                <a:lnTo>
                  <a:pt x="611" y="43"/>
                </a:lnTo>
                <a:lnTo>
                  <a:pt x="611" y="42"/>
                </a:lnTo>
                <a:lnTo>
                  <a:pt x="612" y="41"/>
                </a:lnTo>
                <a:lnTo>
                  <a:pt x="612" y="40"/>
                </a:lnTo>
                <a:lnTo>
                  <a:pt x="613" y="39"/>
                </a:lnTo>
                <a:lnTo>
                  <a:pt x="613" y="36"/>
                </a:lnTo>
                <a:lnTo>
                  <a:pt x="614" y="34"/>
                </a:lnTo>
                <a:lnTo>
                  <a:pt x="614" y="34"/>
                </a:lnTo>
                <a:lnTo>
                  <a:pt x="614" y="33"/>
                </a:lnTo>
                <a:lnTo>
                  <a:pt x="615" y="32"/>
                </a:lnTo>
                <a:lnTo>
                  <a:pt x="615" y="32"/>
                </a:lnTo>
                <a:lnTo>
                  <a:pt x="616" y="31"/>
                </a:lnTo>
                <a:lnTo>
                  <a:pt x="617" y="30"/>
                </a:lnTo>
                <a:lnTo>
                  <a:pt x="619" y="29"/>
                </a:lnTo>
                <a:lnTo>
                  <a:pt x="620" y="28"/>
                </a:lnTo>
                <a:lnTo>
                  <a:pt x="623" y="27"/>
                </a:lnTo>
                <a:lnTo>
                  <a:pt x="628" y="24"/>
                </a:lnTo>
                <a:lnTo>
                  <a:pt x="630" y="23"/>
                </a:lnTo>
                <a:lnTo>
                  <a:pt x="631" y="23"/>
                </a:lnTo>
                <a:lnTo>
                  <a:pt x="631" y="22"/>
                </a:lnTo>
                <a:lnTo>
                  <a:pt x="632" y="21"/>
                </a:lnTo>
                <a:lnTo>
                  <a:pt x="633" y="20"/>
                </a:lnTo>
                <a:lnTo>
                  <a:pt x="633" y="19"/>
                </a:lnTo>
                <a:lnTo>
                  <a:pt x="634" y="18"/>
                </a:lnTo>
                <a:lnTo>
                  <a:pt x="634" y="17"/>
                </a:lnTo>
                <a:lnTo>
                  <a:pt x="634" y="13"/>
                </a:lnTo>
                <a:lnTo>
                  <a:pt x="635" y="11"/>
                </a:lnTo>
                <a:lnTo>
                  <a:pt x="636" y="9"/>
                </a:lnTo>
                <a:lnTo>
                  <a:pt x="637" y="6"/>
                </a:lnTo>
                <a:lnTo>
                  <a:pt x="637" y="5"/>
                </a:lnTo>
                <a:lnTo>
                  <a:pt x="638" y="3"/>
                </a:lnTo>
                <a:lnTo>
                  <a:pt x="638" y="1"/>
                </a:lnTo>
                <a:lnTo>
                  <a:pt x="638" y="0"/>
                </a:lnTo>
                <a:lnTo>
                  <a:pt x="639" y="0"/>
                </a:lnTo>
                <a:lnTo>
                  <a:pt x="6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 263">
            <a:extLst>
              <a:ext uri="{FF2B5EF4-FFF2-40B4-BE49-F238E27FC236}">
                <a16:creationId xmlns:a16="http://schemas.microsoft.com/office/drawing/2014/main" id="{0E85BB07-8A3B-42F3-BF00-734A1D005C45}"/>
              </a:ext>
            </a:extLst>
          </p:cNvPr>
          <p:cNvSpPr>
            <a:spLocks/>
          </p:cNvSpPr>
          <p:nvPr/>
        </p:nvSpPr>
        <p:spPr bwMode="auto">
          <a:xfrm>
            <a:off x="8108868" y="4186278"/>
            <a:ext cx="370641" cy="311932"/>
          </a:xfrm>
          <a:custGeom>
            <a:avLst/>
            <a:gdLst>
              <a:gd name="T0" fmla="*/ 109 w 195"/>
              <a:gd name="T1" fmla="*/ 3 h 150"/>
              <a:gd name="T2" fmla="*/ 93 w 195"/>
              <a:gd name="T3" fmla="*/ 10 h 150"/>
              <a:gd name="T4" fmla="*/ 75 w 195"/>
              <a:gd name="T5" fmla="*/ 18 h 150"/>
              <a:gd name="T6" fmla="*/ 60 w 195"/>
              <a:gd name="T7" fmla="*/ 21 h 150"/>
              <a:gd name="T8" fmla="*/ 54 w 195"/>
              <a:gd name="T9" fmla="*/ 24 h 150"/>
              <a:gd name="T10" fmla="*/ 50 w 195"/>
              <a:gd name="T11" fmla="*/ 34 h 150"/>
              <a:gd name="T12" fmla="*/ 46 w 195"/>
              <a:gd name="T13" fmla="*/ 38 h 150"/>
              <a:gd name="T14" fmla="*/ 36 w 195"/>
              <a:gd name="T15" fmla="*/ 36 h 150"/>
              <a:gd name="T16" fmla="*/ 29 w 195"/>
              <a:gd name="T17" fmla="*/ 34 h 150"/>
              <a:gd name="T18" fmla="*/ 19 w 195"/>
              <a:gd name="T19" fmla="*/ 38 h 150"/>
              <a:gd name="T20" fmla="*/ 2 w 195"/>
              <a:gd name="T21" fmla="*/ 44 h 150"/>
              <a:gd name="T22" fmla="*/ 0 w 195"/>
              <a:gd name="T23" fmla="*/ 47 h 150"/>
              <a:gd name="T24" fmla="*/ 6 w 195"/>
              <a:gd name="T25" fmla="*/ 51 h 150"/>
              <a:gd name="T26" fmla="*/ 18 w 195"/>
              <a:gd name="T27" fmla="*/ 62 h 150"/>
              <a:gd name="T28" fmla="*/ 17 w 195"/>
              <a:gd name="T29" fmla="*/ 66 h 150"/>
              <a:gd name="T30" fmla="*/ 10 w 195"/>
              <a:gd name="T31" fmla="*/ 72 h 150"/>
              <a:gd name="T32" fmla="*/ 9 w 195"/>
              <a:gd name="T33" fmla="*/ 77 h 150"/>
              <a:gd name="T34" fmla="*/ 16 w 195"/>
              <a:gd name="T35" fmla="*/ 88 h 150"/>
              <a:gd name="T36" fmla="*/ 28 w 195"/>
              <a:gd name="T37" fmla="*/ 100 h 150"/>
              <a:gd name="T38" fmla="*/ 30 w 195"/>
              <a:gd name="T39" fmla="*/ 106 h 150"/>
              <a:gd name="T40" fmla="*/ 28 w 195"/>
              <a:gd name="T41" fmla="*/ 113 h 150"/>
              <a:gd name="T42" fmla="*/ 31 w 195"/>
              <a:gd name="T43" fmla="*/ 117 h 150"/>
              <a:gd name="T44" fmla="*/ 39 w 195"/>
              <a:gd name="T45" fmla="*/ 122 h 150"/>
              <a:gd name="T46" fmla="*/ 41 w 195"/>
              <a:gd name="T47" fmla="*/ 126 h 150"/>
              <a:gd name="T48" fmla="*/ 41 w 195"/>
              <a:gd name="T49" fmla="*/ 133 h 150"/>
              <a:gd name="T50" fmla="*/ 42 w 195"/>
              <a:gd name="T51" fmla="*/ 137 h 150"/>
              <a:gd name="T52" fmla="*/ 42 w 195"/>
              <a:gd name="T53" fmla="*/ 144 h 150"/>
              <a:gd name="T54" fmla="*/ 45 w 195"/>
              <a:gd name="T55" fmla="*/ 148 h 150"/>
              <a:gd name="T56" fmla="*/ 57 w 195"/>
              <a:gd name="T57" fmla="*/ 150 h 150"/>
              <a:gd name="T58" fmla="*/ 65 w 195"/>
              <a:gd name="T59" fmla="*/ 149 h 150"/>
              <a:gd name="T60" fmla="*/ 69 w 195"/>
              <a:gd name="T61" fmla="*/ 142 h 150"/>
              <a:gd name="T62" fmla="*/ 78 w 195"/>
              <a:gd name="T63" fmla="*/ 138 h 150"/>
              <a:gd name="T64" fmla="*/ 92 w 195"/>
              <a:gd name="T65" fmla="*/ 133 h 150"/>
              <a:gd name="T66" fmla="*/ 107 w 195"/>
              <a:gd name="T67" fmla="*/ 122 h 150"/>
              <a:gd name="T68" fmla="*/ 117 w 195"/>
              <a:gd name="T69" fmla="*/ 118 h 150"/>
              <a:gd name="T70" fmla="*/ 124 w 195"/>
              <a:gd name="T71" fmla="*/ 112 h 150"/>
              <a:gd name="T72" fmla="*/ 133 w 195"/>
              <a:gd name="T73" fmla="*/ 109 h 150"/>
              <a:gd name="T74" fmla="*/ 145 w 195"/>
              <a:gd name="T75" fmla="*/ 109 h 150"/>
              <a:gd name="T76" fmla="*/ 156 w 195"/>
              <a:gd name="T77" fmla="*/ 114 h 150"/>
              <a:gd name="T78" fmla="*/ 165 w 195"/>
              <a:gd name="T79" fmla="*/ 117 h 150"/>
              <a:gd name="T80" fmla="*/ 171 w 195"/>
              <a:gd name="T81" fmla="*/ 116 h 150"/>
              <a:gd name="T82" fmla="*/ 179 w 195"/>
              <a:gd name="T83" fmla="*/ 107 h 150"/>
              <a:gd name="T84" fmla="*/ 178 w 195"/>
              <a:gd name="T85" fmla="*/ 92 h 150"/>
              <a:gd name="T86" fmla="*/ 176 w 195"/>
              <a:gd name="T87" fmla="*/ 87 h 150"/>
              <a:gd name="T88" fmla="*/ 173 w 195"/>
              <a:gd name="T89" fmla="*/ 82 h 150"/>
              <a:gd name="T90" fmla="*/ 177 w 195"/>
              <a:gd name="T91" fmla="*/ 77 h 150"/>
              <a:gd name="T92" fmla="*/ 191 w 195"/>
              <a:gd name="T93" fmla="*/ 68 h 150"/>
              <a:gd name="T94" fmla="*/ 195 w 195"/>
              <a:gd name="T95" fmla="*/ 62 h 150"/>
              <a:gd name="T96" fmla="*/ 193 w 195"/>
              <a:gd name="T97" fmla="*/ 56 h 150"/>
              <a:gd name="T98" fmla="*/ 183 w 195"/>
              <a:gd name="T99" fmla="*/ 47 h 150"/>
              <a:gd name="T100" fmla="*/ 177 w 195"/>
              <a:gd name="T101" fmla="*/ 40 h 150"/>
              <a:gd name="T102" fmla="*/ 166 w 195"/>
              <a:gd name="T103" fmla="*/ 33 h 150"/>
              <a:gd name="T104" fmla="*/ 155 w 195"/>
              <a:gd name="T105" fmla="*/ 28 h 150"/>
              <a:gd name="T106" fmla="*/ 150 w 195"/>
              <a:gd name="T107" fmla="*/ 19 h 150"/>
              <a:gd name="T108" fmla="*/ 143 w 195"/>
              <a:gd name="T109" fmla="*/ 16 h 150"/>
              <a:gd name="T110" fmla="*/ 129 w 195"/>
              <a:gd name="T111" fmla="*/ 6 h 150"/>
              <a:gd name="T112" fmla="*/ 125 w 195"/>
              <a:gd name="T113" fmla="*/ 2 h 150"/>
              <a:gd name="T114" fmla="*/ 123 w 195"/>
              <a:gd name="T115" fmla="*/ 0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5" h="150">
                <a:moveTo>
                  <a:pt x="123" y="0"/>
                </a:moveTo>
                <a:lnTo>
                  <a:pt x="123" y="0"/>
                </a:lnTo>
                <a:lnTo>
                  <a:pt x="122" y="1"/>
                </a:lnTo>
                <a:lnTo>
                  <a:pt x="119" y="1"/>
                </a:lnTo>
                <a:lnTo>
                  <a:pt x="112" y="3"/>
                </a:lnTo>
                <a:lnTo>
                  <a:pt x="109" y="3"/>
                </a:lnTo>
                <a:lnTo>
                  <a:pt x="106" y="4"/>
                </a:lnTo>
                <a:lnTo>
                  <a:pt x="102" y="5"/>
                </a:lnTo>
                <a:lnTo>
                  <a:pt x="100" y="6"/>
                </a:lnTo>
                <a:lnTo>
                  <a:pt x="99" y="7"/>
                </a:lnTo>
                <a:lnTo>
                  <a:pt x="95" y="9"/>
                </a:lnTo>
                <a:lnTo>
                  <a:pt x="93" y="10"/>
                </a:lnTo>
                <a:lnTo>
                  <a:pt x="90" y="11"/>
                </a:lnTo>
                <a:lnTo>
                  <a:pt x="85" y="13"/>
                </a:lnTo>
                <a:lnTo>
                  <a:pt x="84" y="13"/>
                </a:lnTo>
                <a:lnTo>
                  <a:pt x="83" y="14"/>
                </a:lnTo>
                <a:lnTo>
                  <a:pt x="77" y="17"/>
                </a:lnTo>
                <a:lnTo>
                  <a:pt x="75" y="18"/>
                </a:lnTo>
                <a:lnTo>
                  <a:pt x="73" y="18"/>
                </a:lnTo>
                <a:lnTo>
                  <a:pt x="69" y="20"/>
                </a:lnTo>
                <a:lnTo>
                  <a:pt x="68" y="20"/>
                </a:lnTo>
                <a:lnTo>
                  <a:pt x="66" y="20"/>
                </a:lnTo>
                <a:lnTo>
                  <a:pt x="62" y="20"/>
                </a:lnTo>
                <a:lnTo>
                  <a:pt x="60" y="21"/>
                </a:lnTo>
                <a:lnTo>
                  <a:pt x="59" y="21"/>
                </a:lnTo>
                <a:lnTo>
                  <a:pt x="58" y="21"/>
                </a:lnTo>
                <a:lnTo>
                  <a:pt x="57" y="22"/>
                </a:lnTo>
                <a:lnTo>
                  <a:pt x="56" y="22"/>
                </a:lnTo>
                <a:lnTo>
                  <a:pt x="55" y="23"/>
                </a:lnTo>
                <a:lnTo>
                  <a:pt x="54" y="24"/>
                </a:lnTo>
                <a:lnTo>
                  <a:pt x="54" y="25"/>
                </a:lnTo>
                <a:lnTo>
                  <a:pt x="53" y="26"/>
                </a:lnTo>
                <a:lnTo>
                  <a:pt x="52" y="27"/>
                </a:lnTo>
                <a:lnTo>
                  <a:pt x="52" y="29"/>
                </a:lnTo>
                <a:lnTo>
                  <a:pt x="51" y="32"/>
                </a:lnTo>
                <a:lnTo>
                  <a:pt x="50" y="34"/>
                </a:lnTo>
                <a:lnTo>
                  <a:pt x="50" y="35"/>
                </a:lnTo>
                <a:lnTo>
                  <a:pt x="50" y="36"/>
                </a:lnTo>
                <a:lnTo>
                  <a:pt x="49" y="36"/>
                </a:lnTo>
                <a:lnTo>
                  <a:pt x="48" y="37"/>
                </a:lnTo>
                <a:lnTo>
                  <a:pt x="47" y="37"/>
                </a:lnTo>
                <a:lnTo>
                  <a:pt x="46" y="38"/>
                </a:lnTo>
                <a:lnTo>
                  <a:pt x="44" y="38"/>
                </a:lnTo>
                <a:lnTo>
                  <a:pt x="42" y="38"/>
                </a:lnTo>
                <a:lnTo>
                  <a:pt x="40" y="37"/>
                </a:lnTo>
                <a:lnTo>
                  <a:pt x="39" y="37"/>
                </a:lnTo>
                <a:lnTo>
                  <a:pt x="37" y="37"/>
                </a:lnTo>
                <a:lnTo>
                  <a:pt x="36" y="36"/>
                </a:lnTo>
                <a:lnTo>
                  <a:pt x="34" y="35"/>
                </a:lnTo>
                <a:lnTo>
                  <a:pt x="33" y="34"/>
                </a:lnTo>
                <a:lnTo>
                  <a:pt x="32" y="34"/>
                </a:lnTo>
                <a:lnTo>
                  <a:pt x="31" y="34"/>
                </a:lnTo>
                <a:lnTo>
                  <a:pt x="30" y="34"/>
                </a:lnTo>
                <a:lnTo>
                  <a:pt x="29" y="34"/>
                </a:lnTo>
                <a:lnTo>
                  <a:pt x="28" y="34"/>
                </a:lnTo>
                <a:lnTo>
                  <a:pt x="27" y="34"/>
                </a:lnTo>
                <a:lnTo>
                  <a:pt x="26" y="35"/>
                </a:lnTo>
                <a:lnTo>
                  <a:pt x="23" y="36"/>
                </a:lnTo>
                <a:lnTo>
                  <a:pt x="21" y="37"/>
                </a:lnTo>
                <a:lnTo>
                  <a:pt x="19" y="38"/>
                </a:lnTo>
                <a:lnTo>
                  <a:pt x="15" y="39"/>
                </a:lnTo>
                <a:lnTo>
                  <a:pt x="12" y="40"/>
                </a:lnTo>
                <a:lnTo>
                  <a:pt x="9" y="41"/>
                </a:lnTo>
                <a:lnTo>
                  <a:pt x="5" y="43"/>
                </a:lnTo>
                <a:lnTo>
                  <a:pt x="3" y="43"/>
                </a:lnTo>
                <a:lnTo>
                  <a:pt x="2" y="44"/>
                </a:lnTo>
                <a:lnTo>
                  <a:pt x="1" y="45"/>
                </a:lnTo>
                <a:lnTo>
                  <a:pt x="1" y="45"/>
                </a:lnTo>
                <a:lnTo>
                  <a:pt x="0" y="46"/>
                </a:lnTo>
                <a:lnTo>
                  <a:pt x="0" y="46"/>
                </a:lnTo>
                <a:lnTo>
                  <a:pt x="0" y="47"/>
                </a:lnTo>
                <a:lnTo>
                  <a:pt x="0" y="47"/>
                </a:lnTo>
                <a:lnTo>
                  <a:pt x="1" y="47"/>
                </a:lnTo>
                <a:lnTo>
                  <a:pt x="1" y="48"/>
                </a:lnTo>
                <a:lnTo>
                  <a:pt x="2" y="48"/>
                </a:lnTo>
                <a:lnTo>
                  <a:pt x="4" y="49"/>
                </a:lnTo>
                <a:lnTo>
                  <a:pt x="5" y="50"/>
                </a:lnTo>
                <a:lnTo>
                  <a:pt x="6" y="51"/>
                </a:lnTo>
                <a:lnTo>
                  <a:pt x="7" y="51"/>
                </a:lnTo>
                <a:lnTo>
                  <a:pt x="9" y="53"/>
                </a:lnTo>
                <a:lnTo>
                  <a:pt x="12" y="56"/>
                </a:lnTo>
                <a:lnTo>
                  <a:pt x="15" y="60"/>
                </a:lnTo>
                <a:lnTo>
                  <a:pt x="17" y="62"/>
                </a:lnTo>
                <a:lnTo>
                  <a:pt x="18" y="62"/>
                </a:lnTo>
                <a:lnTo>
                  <a:pt x="18" y="63"/>
                </a:lnTo>
                <a:lnTo>
                  <a:pt x="18" y="64"/>
                </a:lnTo>
                <a:lnTo>
                  <a:pt x="18" y="64"/>
                </a:lnTo>
                <a:lnTo>
                  <a:pt x="18" y="65"/>
                </a:lnTo>
                <a:lnTo>
                  <a:pt x="18" y="66"/>
                </a:lnTo>
                <a:lnTo>
                  <a:pt x="17" y="66"/>
                </a:lnTo>
                <a:lnTo>
                  <a:pt x="16" y="67"/>
                </a:lnTo>
                <a:lnTo>
                  <a:pt x="13" y="69"/>
                </a:lnTo>
                <a:lnTo>
                  <a:pt x="12" y="70"/>
                </a:lnTo>
                <a:lnTo>
                  <a:pt x="12" y="70"/>
                </a:lnTo>
                <a:lnTo>
                  <a:pt x="11" y="71"/>
                </a:lnTo>
                <a:lnTo>
                  <a:pt x="10" y="72"/>
                </a:lnTo>
                <a:lnTo>
                  <a:pt x="9" y="73"/>
                </a:lnTo>
                <a:lnTo>
                  <a:pt x="9" y="75"/>
                </a:lnTo>
                <a:lnTo>
                  <a:pt x="9" y="75"/>
                </a:lnTo>
                <a:lnTo>
                  <a:pt x="9" y="76"/>
                </a:lnTo>
                <a:lnTo>
                  <a:pt x="9" y="76"/>
                </a:lnTo>
                <a:lnTo>
                  <a:pt x="9" y="77"/>
                </a:lnTo>
                <a:lnTo>
                  <a:pt x="10" y="78"/>
                </a:lnTo>
                <a:lnTo>
                  <a:pt x="12" y="81"/>
                </a:lnTo>
                <a:lnTo>
                  <a:pt x="13" y="82"/>
                </a:lnTo>
                <a:lnTo>
                  <a:pt x="13" y="83"/>
                </a:lnTo>
                <a:lnTo>
                  <a:pt x="15" y="87"/>
                </a:lnTo>
                <a:lnTo>
                  <a:pt x="16" y="88"/>
                </a:lnTo>
                <a:lnTo>
                  <a:pt x="17" y="90"/>
                </a:lnTo>
                <a:lnTo>
                  <a:pt x="18" y="91"/>
                </a:lnTo>
                <a:lnTo>
                  <a:pt x="19" y="93"/>
                </a:lnTo>
                <a:lnTo>
                  <a:pt x="21" y="95"/>
                </a:lnTo>
                <a:lnTo>
                  <a:pt x="23" y="97"/>
                </a:lnTo>
                <a:lnTo>
                  <a:pt x="28" y="100"/>
                </a:lnTo>
                <a:lnTo>
                  <a:pt x="29" y="101"/>
                </a:lnTo>
                <a:lnTo>
                  <a:pt x="29" y="102"/>
                </a:lnTo>
                <a:lnTo>
                  <a:pt x="30" y="103"/>
                </a:lnTo>
                <a:lnTo>
                  <a:pt x="30" y="104"/>
                </a:lnTo>
                <a:lnTo>
                  <a:pt x="30" y="105"/>
                </a:lnTo>
                <a:lnTo>
                  <a:pt x="30" y="106"/>
                </a:lnTo>
                <a:lnTo>
                  <a:pt x="30" y="107"/>
                </a:lnTo>
                <a:lnTo>
                  <a:pt x="30" y="108"/>
                </a:lnTo>
                <a:lnTo>
                  <a:pt x="29" y="110"/>
                </a:lnTo>
                <a:lnTo>
                  <a:pt x="29" y="111"/>
                </a:lnTo>
                <a:lnTo>
                  <a:pt x="28" y="112"/>
                </a:lnTo>
                <a:lnTo>
                  <a:pt x="28" y="113"/>
                </a:lnTo>
                <a:lnTo>
                  <a:pt x="28" y="113"/>
                </a:lnTo>
                <a:lnTo>
                  <a:pt x="29" y="114"/>
                </a:lnTo>
                <a:lnTo>
                  <a:pt x="29" y="115"/>
                </a:lnTo>
                <a:lnTo>
                  <a:pt x="29" y="116"/>
                </a:lnTo>
                <a:lnTo>
                  <a:pt x="30" y="116"/>
                </a:lnTo>
                <a:lnTo>
                  <a:pt x="31" y="117"/>
                </a:lnTo>
                <a:lnTo>
                  <a:pt x="32" y="118"/>
                </a:lnTo>
                <a:lnTo>
                  <a:pt x="33" y="119"/>
                </a:lnTo>
                <a:lnTo>
                  <a:pt x="34" y="119"/>
                </a:lnTo>
                <a:lnTo>
                  <a:pt x="35" y="120"/>
                </a:lnTo>
                <a:lnTo>
                  <a:pt x="38" y="121"/>
                </a:lnTo>
                <a:lnTo>
                  <a:pt x="39" y="122"/>
                </a:lnTo>
                <a:lnTo>
                  <a:pt x="40" y="123"/>
                </a:lnTo>
                <a:lnTo>
                  <a:pt x="40" y="123"/>
                </a:lnTo>
                <a:lnTo>
                  <a:pt x="41" y="124"/>
                </a:lnTo>
                <a:lnTo>
                  <a:pt x="41" y="124"/>
                </a:lnTo>
                <a:lnTo>
                  <a:pt x="41" y="125"/>
                </a:lnTo>
                <a:lnTo>
                  <a:pt x="41" y="126"/>
                </a:lnTo>
                <a:lnTo>
                  <a:pt x="41" y="127"/>
                </a:lnTo>
                <a:lnTo>
                  <a:pt x="41" y="128"/>
                </a:lnTo>
                <a:lnTo>
                  <a:pt x="41" y="131"/>
                </a:lnTo>
                <a:lnTo>
                  <a:pt x="41" y="132"/>
                </a:lnTo>
                <a:lnTo>
                  <a:pt x="41" y="132"/>
                </a:lnTo>
                <a:lnTo>
                  <a:pt x="41" y="133"/>
                </a:lnTo>
                <a:lnTo>
                  <a:pt x="42" y="134"/>
                </a:lnTo>
                <a:lnTo>
                  <a:pt x="42" y="134"/>
                </a:lnTo>
                <a:lnTo>
                  <a:pt x="42" y="135"/>
                </a:lnTo>
                <a:lnTo>
                  <a:pt x="42" y="135"/>
                </a:lnTo>
                <a:lnTo>
                  <a:pt x="42" y="136"/>
                </a:lnTo>
                <a:lnTo>
                  <a:pt x="42" y="137"/>
                </a:lnTo>
                <a:lnTo>
                  <a:pt x="41" y="139"/>
                </a:lnTo>
                <a:lnTo>
                  <a:pt x="41" y="140"/>
                </a:lnTo>
                <a:lnTo>
                  <a:pt x="41" y="142"/>
                </a:lnTo>
                <a:lnTo>
                  <a:pt x="41" y="142"/>
                </a:lnTo>
                <a:lnTo>
                  <a:pt x="41" y="143"/>
                </a:lnTo>
                <a:lnTo>
                  <a:pt x="42" y="144"/>
                </a:lnTo>
                <a:lnTo>
                  <a:pt x="42" y="145"/>
                </a:lnTo>
                <a:lnTo>
                  <a:pt x="43" y="145"/>
                </a:lnTo>
                <a:lnTo>
                  <a:pt x="43" y="146"/>
                </a:lnTo>
                <a:lnTo>
                  <a:pt x="44" y="147"/>
                </a:lnTo>
                <a:lnTo>
                  <a:pt x="44" y="147"/>
                </a:lnTo>
                <a:lnTo>
                  <a:pt x="45" y="148"/>
                </a:lnTo>
                <a:lnTo>
                  <a:pt x="46" y="148"/>
                </a:lnTo>
                <a:lnTo>
                  <a:pt x="47" y="148"/>
                </a:lnTo>
                <a:lnTo>
                  <a:pt x="48" y="149"/>
                </a:lnTo>
                <a:lnTo>
                  <a:pt x="50" y="149"/>
                </a:lnTo>
                <a:lnTo>
                  <a:pt x="52" y="149"/>
                </a:lnTo>
                <a:lnTo>
                  <a:pt x="57" y="150"/>
                </a:lnTo>
                <a:lnTo>
                  <a:pt x="59" y="150"/>
                </a:lnTo>
                <a:lnTo>
                  <a:pt x="62" y="150"/>
                </a:lnTo>
                <a:lnTo>
                  <a:pt x="63" y="150"/>
                </a:lnTo>
                <a:lnTo>
                  <a:pt x="64" y="149"/>
                </a:lnTo>
                <a:lnTo>
                  <a:pt x="64" y="149"/>
                </a:lnTo>
                <a:lnTo>
                  <a:pt x="65" y="149"/>
                </a:lnTo>
                <a:lnTo>
                  <a:pt x="65" y="148"/>
                </a:lnTo>
                <a:lnTo>
                  <a:pt x="65" y="148"/>
                </a:lnTo>
                <a:lnTo>
                  <a:pt x="66" y="147"/>
                </a:lnTo>
                <a:lnTo>
                  <a:pt x="68" y="144"/>
                </a:lnTo>
                <a:lnTo>
                  <a:pt x="69" y="142"/>
                </a:lnTo>
                <a:lnTo>
                  <a:pt x="69" y="142"/>
                </a:lnTo>
                <a:lnTo>
                  <a:pt x="70" y="141"/>
                </a:lnTo>
                <a:lnTo>
                  <a:pt x="71" y="140"/>
                </a:lnTo>
                <a:lnTo>
                  <a:pt x="71" y="140"/>
                </a:lnTo>
                <a:lnTo>
                  <a:pt x="72" y="139"/>
                </a:lnTo>
                <a:lnTo>
                  <a:pt x="73" y="139"/>
                </a:lnTo>
                <a:lnTo>
                  <a:pt x="78" y="138"/>
                </a:lnTo>
                <a:lnTo>
                  <a:pt x="80" y="137"/>
                </a:lnTo>
                <a:lnTo>
                  <a:pt x="81" y="137"/>
                </a:lnTo>
                <a:lnTo>
                  <a:pt x="84" y="136"/>
                </a:lnTo>
                <a:lnTo>
                  <a:pt x="88" y="135"/>
                </a:lnTo>
                <a:lnTo>
                  <a:pt x="91" y="134"/>
                </a:lnTo>
                <a:lnTo>
                  <a:pt x="92" y="133"/>
                </a:lnTo>
                <a:lnTo>
                  <a:pt x="93" y="133"/>
                </a:lnTo>
                <a:lnTo>
                  <a:pt x="94" y="132"/>
                </a:lnTo>
                <a:lnTo>
                  <a:pt x="95" y="131"/>
                </a:lnTo>
                <a:lnTo>
                  <a:pt x="103" y="125"/>
                </a:lnTo>
                <a:lnTo>
                  <a:pt x="106" y="123"/>
                </a:lnTo>
                <a:lnTo>
                  <a:pt x="107" y="122"/>
                </a:lnTo>
                <a:lnTo>
                  <a:pt x="108" y="121"/>
                </a:lnTo>
                <a:lnTo>
                  <a:pt x="110" y="120"/>
                </a:lnTo>
                <a:lnTo>
                  <a:pt x="112" y="120"/>
                </a:lnTo>
                <a:lnTo>
                  <a:pt x="115" y="119"/>
                </a:lnTo>
                <a:lnTo>
                  <a:pt x="116" y="118"/>
                </a:lnTo>
                <a:lnTo>
                  <a:pt x="117" y="118"/>
                </a:lnTo>
                <a:lnTo>
                  <a:pt x="119" y="117"/>
                </a:lnTo>
                <a:lnTo>
                  <a:pt x="120" y="116"/>
                </a:lnTo>
                <a:lnTo>
                  <a:pt x="121" y="115"/>
                </a:lnTo>
                <a:lnTo>
                  <a:pt x="123" y="113"/>
                </a:lnTo>
                <a:lnTo>
                  <a:pt x="124" y="112"/>
                </a:lnTo>
                <a:lnTo>
                  <a:pt x="124" y="112"/>
                </a:lnTo>
                <a:lnTo>
                  <a:pt x="125" y="111"/>
                </a:lnTo>
                <a:lnTo>
                  <a:pt x="126" y="111"/>
                </a:lnTo>
                <a:lnTo>
                  <a:pt x="127" y="110"/>
                </a:lnTo>
                <a:lnTo>
                  <a:pt x="128" y="110"/>
                </a:lnTo>
                <a:lnTo>
                  <a:pt x="129" y="110"/>
                </a:lnTo>
                <a:lnTo>
                  <a:pt x="133" y="109"/>
                </a:lnTo>
                <a:lnTo>
                  <a:pt x="135" y="109"/>
                </a:lnTo>
                <a:lnTo>
                  <a:pt x="136" y="109"/>
                </a:lnTo>
                <a:lnTo>
                  <a:pt x="140" y="109"/>
                </a:lnTo>
                <a:lnTo>
                  <a:pt x="143" y="109"/>
                </a:lnTo>
                <a:lnTo>
                  <a:pt x="144" y="109"/>
                </a:lnTo>
                <a:lnTo>
                  <a:pt x="145" y="109"/>
                </a:lnTo>
                <a:lnTo>
                  <a:pt x="146" y="109"/>
                </a:lnTo>
                <a:lnTo>
                  <a:pt x="148" y="110"/>
                </a:lnTo>
                <a:lnTo>
                  <a:pt x="150" y="110"/>
                </a:lnTo>
                <a:lnTo>
                  <a:pt x="151" y="111"/>
                </a:lnTo>
                <a:lnTo>
                  <a:pt x="153" y="112"/>
                </a:lnTo>
                <a:lnTo>
                  <a:pt x="156" y="114"/>
                </a:lnTo>
                <a:lnTo>
                  <a:pt x="158" y="115"/>
                </a:lnTo>
                <a:lnTo>
                  <a:pt x="159" y="116"/>
                </a:lnTo>
                <a:lnTo>
                  <a:pt x="160" y="116"/>
                </a:lnTo>
                <a:lnTo>
                  <a:pt x="162" y="117"/>
                </a:lnTo>
                <a:lnTo>
                  <a:pt x="163" y="117"/>
                </a:lnTo>
                <a:lnTo>
                  <a:pt x="165" y="117"/>
                </a:lnTo>
                <a:lnTo>
                  <a:pt x="167" y="117"/>
                </a:lnTo>
                <a:lnTo>
                  <a:pt x="168" y="117"/>
                </a:lnTo>
                <a:lnTo>
                  <a:pt x="169" y="117"/>
                </a:lnTo>
                <a:lnTo>
                  <a:pt x="170" y="117"/>
                </a:lnTo>
                <a:lnTo>
                  <a:pt x="170" y="116"/>
                </a:lnTo>
                <a:lnTo>
                  <a:pt x="171" y="116"/>
                </a:lnTo>
                <a:lnTo>
                  <a:pt x="173" y="114"/>
                </a:lnTo>
                <a:lnTo>
                  <a:pt x="176" y="112"/>
                </a:lnTo>
                <a:lnTo>
                  <a:pt x="177" y="111"/>
                </a:lnTo>
                <a:lnTo>
                  <a:pt x="178" y="110"/>
                </a:lnTo>
                <a:lnTo>
                  <a:pt x="179" y="109"/>
                </a:lnTo>
                <a:lnTo>
                  <a:pt x="179" y="107"/>
                </a:lnTo>
                <a:lnTo>
                  <a:pt x="180" y="106"/>
                </a:lnTo>
                <a:lnTo>
                  <a:pt x="180" y="105"/>
                </a:lnTo>
                <a:lnTo>
                  <a:pt x="180" y="104"/>
                </a:lnTo>
                <a:lnTo>
                  <a:pt x="180" y="101"/>
                </a:lnTo>
                <a:lnTo>
                  <a:pt x="179" y="96"/>
                </a:lnTo>
                <a:lnTo>
                  <a:pt x="178" y="92"/>
                </a:lnTo>
                <a:lnTo>
                  <a:pt x="178" y="91"/>
                </a:lnTo>
                <a:lnTo>
                  <a:pt x="178" y="91"/>
                </a:lnTo>
                <a:lnTo>
                  <a:pt x="178" y="90"/>
                </a:lnTo>
                <a:lnTo>
                  <a:pt x="177" y="89"/>
                </a:lnTo>
                <a:lnTo>
                  <a:pt x="177" y="88"/>
                </a:lnTo>
                <a:lnTo>
                  <a:pt x="176" y="87"/>
                </a:lnTo>
                <a:lnTo>
                  <a:pt x="174" y="86"/>
                </a:lnTo>
                <a:lnTo>
                  <a:pt x="174" y="85"/>
                </a:lnTo>
                <a:lnTo>
                  <a:pt x="174" y="85"/>
                </a:lnTo>
                <a:lnTo>
                  <a:pt x="174" y="84"/>
                </a:lnTo>
                <a:lnTo>
                  <a:pt x="173" y="83"/>
                </a:lnTo>
                <a:lnTo>
                  <a:pt x="173" y="82"/>
                </a:lnTo>
                <a:lnTo>
                  <a:pt x="174" y="81"/>
                </a:lnTo>
                <a:lnTo>
                  <a:pt x="174" y="80"/>
                </a:lnTo>
                <a:lnTo>
                  <a:pt x="174" y="80"/>
                </a:lnTo>
                <a:lnTo>
                  <a:pt x="175" y="79"/>
                </a:lnTo>
                <a:lnTo>
                  <a:pt x="176" y="78"/>
                </a:lnTo>
                <a:lnTo>
                  <a:pt x="177" y="77"/>
                </a:lnTo>
                <a:lnTo>
                  <a:pt x="178" y="76"/>
                </a:lnTo>
                <a:lnTo>
                  <a:pt x="179" y="76"/>
                </a:lnTo>
                <a:lnTo>
                  <a:pt x="186" y="72"/>
                </a:lnTo>
                <a:lnTo>
                  <a:pt x="189" y="70"/>
                </a:lnTo>
                <a:lnTo>
                  <a:pt x="190" y="69"/>
                </a:lnTo>
                <a:lnTo>
                  <a:pt x="191" y="68"/>
                </a:lnTo>
                <a:lnTo>
                  <a:pt x="192" y="67"/>
                </a:lnTo>
                <a:lnTo>
                  <a:pt x="193" y="67"/>
                </a:lnTo>
                <a:lnTo>
                  <a:pt x="193" y="66"/>
                </a:lnTo>
                <a:lnTo>
                  <a:pt x="194" y="65"/>
                </a:lnTo>
                <a:lnTo>
                  <a:pt x="195" y="63"/>
                </a:lnTo>
                <a:lnTo>
                  <a:pt x="195" y="62"/>
                </a:lnTo>
                <a:lnTo>
                  <a:pt x="195" y="61"/>
                </a:lnTo>
                <a:lnTo>
                  <a:pt x="195" y="60"/>
                </a:lnTo>
                <a:lnTo>
                  <a:pt x="195" y="60"/>
                </a:lnTo>
                <a:lnTo>
                  <a:pt x="195" y="58"/>
                </a:lnTo>
                <a:lnTo>
                  <a:pt x="194" y="57"/>
                </a:lnTo>
                <a:lnTo>
                  <a:pt x="193" y="56"/>
                </a:lnTo>
                <a:lnTo>
                  <a:pt x="193" y="55"/>
                </a:lnTo>
                <a:lnTo>
                  <a:pt x="191" y="53"/>
                </a:lnTo>
                <a:lnTo>
                  <a:pt x="190" y="52"/>
                </a:lnTo>
                <a:lnTo>
                  <a:pt x="189" y="52"/>
                </a:lnTo>
                <a:lnTo>
                  <a:pt x="188" y="51"/>
                </a:lnTo>
                <a:lnTo>
                  <a:pt x="183" y="47"/>
                </a:lnTo>
                <a:lnTo>
                  <a:pt x="182" y="46"/>
                </a:lnTo>
                <a:lnTo>
                  <a:pt x="182" y="45"/>
                </a:lnTo>
                <a:lnTo>
                  <a:pt x="181" y="45"/>
                </a:lnTo>
                <a:lnTo>
                  <a:pt x="180" y="44"/>
                </a:lnTo>
                <a:lnTo>
                  <a:pt x="178" y="41"/>
                </a:lnTo>
                <a:lnTo>
                  <a:pt x="177" y="40"/>
                </a:lnTo>
                <a:lnTo>
                  <a:pt x="176" y="39"/>
                </a:lnTo>
                <a:lnTo>
                  <a:pt x="175" y="38"/>
                </a:lnTo>
                <a:lnTo>
                  <a:pt x="174" y="37"/>
                </a:lnTo>
                <a:lnTo>
                  <a:pt x="173" y="36"/>
                </a:lnTo>
                <a:lnTo>
                  <a:pt x="168" y="34"/>
                </a:lnTo>
                <a:lnTo>
                  <a:pt x="166" y="33"/>
                </a:lnTo>
                <a:lnTo>
                  <a:pt x="161" y="31"/>
                </a:lnTo>
                <a:lnTo>
                  <a:pt x="159" y="31"/>
                </a:lnTo>
                <a:lnTo>
                  <a:pt x="158" y="30"/>
                </a:lnTo>
                <a:lnTo>
                  <a:pt x="157" y="30"/>
                </a:lnTo>
                <a:lnTo>
                  <a:pt x="156" y="29"/>
                </a:lnTo>
                <a:lnTo>
                  <a:pt x="155" y="28"/>
                </a:lnTo>
                <a:lnTo>
                  <a:pt x="154" y="27"/>
                </a:lnTo>
                <a:lnTo>
                  <a:pt x="153" y="26"/>
                </a:lnTo>
                <a:lnTo>
                  <a:pt x="152" y="25"/>
                </a:lnTo>
                <a:lnTo>
                  <a:pt x="152" y="24"/>
                </a:lnTo>
                <a:lnTo>
                  <a:pt x="151" y="23"/>
                </a:lnTo>
                <a:lnTo>
                  <a:pt x="150" y="19"/>
                </a:lnTo>
                <a:lnTo>
                  <a:pt x="149" y="18"/>
                </a:lnTo>
                <a:lnTo>
                  <a:pt x="149" y="18"/>
                </a:lnTo>
                <a:lnTo>
                  <a:pt x="148" y="17"/>
                </a:lnTo>
                <a:lnTo>
                  <a:pt x="147" y="17"/>
                </a:lnTo>
                <a:lnTo>
                  <a:pt x="146" y="17"/>
                </a:lnTo>
                <a:lnTo>
                  <a:pt x="143" y="16"/>
                </a:lnTo>
                <a:lnTo>
                  <a:pt x="142" y="15"/>
                </a:lnTo>
                <a:lnTo>
                  <a:pt x="140" y="15"/>
                </a:lnTo>
                <a:lnTo>
                  <a:pt x="139" y="14"/>
                </a:lnTo>
                <a:lnTo>
                  <a:pt x="135" y="10"/>
                </a:lnTo>
                <a:lnTo>
                  <a:pt x="132" y="9"/>
                </a:lnTo>
                <a:lnTo>
                  <a:pt x="129" y="6"/>
                </a:lnTo>
                <a:lnTo>
                  <a:pt x="128" y="6"/>
                </a:lnTo>
                <a:lnTo>
                  <a:pt x="127" y="5"/>
                </a:lnTo>
                <a:lnTo>
                  <a:pt x="126" y="4"/>
                </a:lnTo>
                <a:lnTo>
                  <a:pt x="126" y="4"/>
                </a:lnTo>
                <a:lnTo>
                  <a:pt x="125" y="3"/>
                </a:lnTo>
                <a:lnTo>
                  <a:pt x="125" y="2"/>
                </a:lnTo>
                <a:lnTo>
                  <a:pt x="125" y="1"/>
                </a:lnTo>
                <a:lnTo>
                  <a:pt x="125" y="1"/>
                </a:lnTo>
                <a:lnTo>
                  <a:pt x="125" y="1"/>
                </a:lnTo>
                <a:lnTo>
                  <a:pt x="125" y="0"/>
                </a:lnTo>
                <a:lnTo>
                  <a:pt x="124" y="0"/>
                </a:lnTo>
                <a:lnTo>
                  <a:pt x="123" y="0"/>
                </a:lnTo>
                <a:lnTo>
                  <a:pt x="123" y="0"/>
                </a:lnTo>
              </a:path>
            </a:pathLst>
          </a:custGeom>
          <a:solidFill>
            <a:srgbClr val="315397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 264">
            <a:extLst>
              <a:ext uri="{FF2B5EF4-FFF2-40B4-BE49-F238E27FC236}">
                <a16:creationId xmlns:a16="http://schemas.microsoft.com/office/drawing/2014/main" id="{72E897BA-5AC2-4D2A-8023-EE4F9FBC9327}"/>
              </a:ext>
            </a:extLst>
          </p:cNvPr>
          <p:cNvSpPr>
            <a:spLocks/>
          </p:cNvSpPr>
          <p:nvPr/>
        </p:nvSpPr>
        <p:spPr bwMode="auto">
          <a:xfrm>
            <a:off x="7525346" y="4955711"/>
            <a:ext cx="1684040" cy="1434889"/>
          </a:xfrm>
          <a:custGeom>
            <a:avLst/>
            <a:gdLst>
              <a:gd name="T0" fmla="*/ 253 w 886"/>
              <a:gd name="T1" fmla="*/ 52 h 690"/>
              <a:gd name="T2" fmla="*/ 309 w 886"/>
              <a:gd name="T3" fmla="*/ 31 h 690"/>
              <a:gd name="T4" fmla="*/ 343 w 886"/>
              <a:gd name="T5" fmla="*/ 49 h 690"/>
              <a:gd name="T6" fmla="*/ 376 w 886"/>
              <a:gd name="T7" fmla="*/ 46 h 690"/>
              <a:gd name="T8" fmla="*/ 406 w 886"/>
              <a:gd name="T9" fmla="*/ 47 h 690"/>
              <a:gd name="T10" fmla="*/ 452 w 886"/>
              <a:gd name="T11" fmla="*/ 49 h 690"/>
              <a:gd name="T12" fmla="*/ 478 w 886"/>
              <a:gd name="T13" fmla="*/ 67 h 690"/>
              <a:gd name="T14" fmla="*/ 514 w 886"/>
              <a:gd name="T15" fmla="*/ 37 h 690"/>
              <a:gd name="T16" fmla="*/ 529 w 886"/>
              <a:gd name="T17" fmla="*/ 0 h 690"/>
              <a:gd name="T18" fmla="*/ 572 w 886"/>
              <a:gd name="T19" fmla="*/ 17 h 690"/>
              <a:gd name="T20" fmla="*/ 598 w 886"/>
              <a:gd name="T21" fmla="*/ 43 h 690"/>
              <a:gd name="T22" fmla="*/ 591 w 886"/>
              <a:gd name="T23" fmla="*/ 66 h 690"/>
              <a:gd name="T24" fmla="*/ 589 w 886"/>
              <a:gd name="T25" fmla="*/ 124 h 690"/>
              <a:gd name="T26" fmla="*/ 598 w 886"/>
              <a:gd name="T27" fmla="*/ 169 h 690"/>
              <a:gd name="T28" fmla="*/ 617 w 886"/>
              <a:gd name="T29" fmla="*/ 215 h 690"/>
              <a:gd name="T30" fmla="*/ 664 w 886"/>
              <a:gd name="T31" fmla="*/ 224 h 690"/>
              <a:gd name="T32" fmla="*/ 671 w 886"/>
              <a:gd name="T33" fmla="*/ 241 h 690"/>
              <a:gd name="T34" fmla="*/ 712 w 886"/>
              <a:gd name="T35" fmla="*/ 251 h 690"/>
              <a:gd name="T36" fmla="*/ 769 w 886"/>
              <a:gd name="T37" fmla="*/ 259 h 690"/>
              <a:gd name="T38" fmla="*/ 782 w 886"/>
              <a:gd name="T39" fmla="*/ 300 h 690"/>
              <a:gd name="T40" fmla="*/ 839 w 886"/>
              <a:gd name="T41" fmla="*/ 321 h 690"/>
              <a:gd name="T42" fmla="*/ 872 w 886"/>
              <a:gd name="T43" fmla="*/ 322 h 690"/>
              <a:gd name="T44" fmla="*/ 880 w 886"/>
              <a:gd name="T45" fmla="*/ 351 h 690"/>
              <a:gd name="T46" fmla="*/ 851 w 886"/>
              <a:gd name="T47" fmla="*/ 390 h 690"/>
              <a:gd name="T48" fmla="*/ 858 w 886"/>
              <a:gd name="T49" fmla="*/ 414 h 690"/>
              <a:gd name="T50" fmla="*/ 875 w 886"/>
              <a:gd name="T51" fmla="*/ 440 h 690"/>
              <a:gd name="T52" fmla="*/ 861 w 886"/>
              <a:gd name="T53" fmla="*/ 460 h 690"/>
              <a:gd name="T54" fmla="*/ 800 w 886"/>
              <a:gd name="T55" fmla="*/ 424 h 690"/>
              <a:gd name="T56" fmla="*/ 750 w 886"/>
              <a:gd name="T57" fmla="*/ 411 h 690"/>
              <a:gd name="T58" fmla="*/ 703 w 886"/>
              <a:gd name="T59" fmla="*/ 437 h 690"/>
              <a:gd name="T60" fmla="*/ 689 w 886"/>
              <a:gd name="T61" fmla="*/ 404 h 690"/>
              <a:gd name="T62" fmla="*/ 638 w 886"/>
              <a:gd name="T63" fmla="*/ 391 h 690"/>
              <a:gd name="T64" fmla="*/ 621 w 886"/>
              <a:gd name="T65" fmla="*/ 436 h 690"/>
              <a:gd name="T66" fmla="*/ 613 w 886"/>
              <a:gd name="T67" fmla="*/ 522 h 690"/>
              <a:gd name="T68" fmla="*/ 604 w 886"/>
              <a:gd name="T69" fmla="*/ 557 h 690"/>
              <a:gd name="T70" fmla="*/ 547 w 886"/>
              <a:gd name="T71" fmla="*/ 552 h 690"/>
              <a:gd name="T72" fmla="*/ 509 w 886"/>
              <a:gd name="T73" fmla="*/ 614 h 690"/>
              <a:gd name="T74" fmla="*/ 497 w 886"/>
              <a:gd name="T75" fmla="*/ 673 h 690"/>
              <a:gd name="T76" fmla="*/ 466 w 886"/>
              <a:gd name="T77" fmla="*/ 654 h 690"/>
              <a:gd name="T78" fmla="*/ 414 w 886"/>
              <a:gd name="T79" fmla="*/ 648 h 690"/>
              <a:gd name="T80" fmla="*/ 388 w 886"/>
              <a:gd name="T81" fmla="*/ 656 h 690"/>
              <a:gd name="T82" fmla="*/ 360 w 886"/>
              <a:gd name="T83" fmla="*/ 679 h 690"/>
              <a:gd name="T84" fmla="*/ 302 w 886"/>
              <a:gd name="T85" fmla="*/ 675 h 690"/>
              <a:gd name="T86" fmla="*/ 226 w 886"/>
              <a:gd name="T87" fmla="*/ 661 h 690"/>
              <a:gd name="T88" fmla="*/ 205 w 886"/>
              <a:gd name="T89" fmla="*/ 631 h 690"/>
              <a:gd name="T90" fmla="*/ 203 w 886"/>
              <a:gd name="T91" fmla="*/ 599 h 690"/>
              <a:gd name="T92" fmla="*/ 146 w 886"/>
              <a:gd name="T93" fmla="*/ 555 h 690"/>
              <a:gd name="T94" fmla="*/ 105 w 886"/>
              <a:gd name="T95" fmla="*/ 511 h 690"/>
              <a:gd name="T96" fmla="*/ 70 w 886"/>
              <a:gd name="T97" fmla="*/ 475 h 690"/>
              <a:gd name="T98" fmla="*/ 29 w 886"/>
              <a:gd name="T99" fmla="*/ 432 h 690"/>
              <a:gd name="T100" fmla="*/ 1 w 886"/>
              <a:gd name="T101" fmla="*/ 405 h 690"/>
              <a:gd name="T102" fmla="*/ 24 w 886"/>
              <a:gd name="T103" fmla="*/ 360 h 690"/>
              <a:gd name="T104" fmla="*/ 26 w 886"/>
              <a:gd name="T105" fmla="*/ 302 h 690"/>
              <a:gd name="T106" fmla="*/ 67 w 886"/>
              <a:gd name="T107" fmla="*/ 284 h 690"/>
              <a:gd name="T108" fmla="*/ 70 w 886"/>
              <a:gd name="T109" fmla="*/ 245 h 690"/>
              <a:gd name="T110" fmla="*/ 75 w 886"/>
              <a:gd name="T111" fmla="*/ 221 h 690"/>
              <a:gd name="T112" fmla="*/ 84 w 886"/>
              <a:gd name="T113" fmla="*/ 197 h 690"/>
              <a:gd name="T114" fmla="*/ 106 w 886"/>
              <a:gd name="T115" fmla="*/ 151 h 690"/>
              <a:gd name="T116" fmla="*/ 102 w 886"/>
              <a:gd name="T117" fmla="*/ 94 h 690"/>
              <a:gd name="T118" fmla="*/ 104 w 886"/>
              <a:gd name="T119" fmla="*/ 62 h 690"/>
              <a:gd name="T120" fmla="*/ 147 w 886"/>
              <a:gd name="T121" fmla="*/ 57 h 690"/>
              <a:gd name="T122" fmla="*/ 182 w 886"/>
              <a:gd name="T123" fmla="*/ 63 h 690"/>
              <a:gd name="T124" fmla="*/ 218 w 886"/>
              <a:gd name="T125" fmla="*/ 36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86" h="690">
                <a:moveTo>
                  <a:pt x="230" y="31"/>
                </a:moveTo>
                <a:lnTo>
                  <a:pt x="230" y="31"/>
                </a:lnTo>
                <a:lnTo>
                  <a:pt x="231" y="32"/>
                </a:lnTo>
                <a:lnTo>
                  <a:pt x="231" y="33"/>
                </a:lnTo>
                <a:lnTo>
                  <a:pt x="231" y="33"/>
                </a:lnTo>
                <a:lnTo>
                  <a:pt x="231" y="35"/>
                </a:lnTo>
                <a:lnTo>
                  <a:pt x="231" y="41"/>
                </a:lnTo>
                <a:lnTo>
                  <a:pt x="231" y="43"/>
                </a:lnTo>
                <a:lnTo>
                  <a:pt x="232" y="44"/>
                </a:lnTo>
                <a:lnTo>
                  <a:pt x="232" y="46"/>
                </a:lnTo>
                <a:lnTo>
                  <a:pt x="232" y="47"/>
                </a:lnTo>
                <a:lnTo>
                  <a:pt x="232" y="48"/>
                </a:lnTo>
                <a:lnTo>
                  <a:pt x="233" y="49"/>
                </a:lnTo>
                <a:lnTo>
                  <a:pt x="234" y="49"/>
                </a:lnTo>
                <a:lnTo>
                  <a:pt x="234" y="50"/>
                </a:lnTo>
                <a:lnTo>
                  <a:pt x="235" y="51"/>
                </a:lnTo>
                <a:lnTo>
                  <a:pt x="236" y="51"/>
                </a:lnTo>
                <a:lnTo>
                  <a:pt x="237" y="52"/>
                </a:lnTo>
                <a:lnTo>
                  <a:pt x="238" y="52"/>
                </a:lnTo>
                <a:lnTo>
                  <a:pt x="240" y="52"/>
                </a:lnTo>
                <a:lnTo>
                  <a:pt x="241" y="52"/>
                </a:lnTo>
                <a:lnTo>
                  <a:pt x="243" y="52"/>
                </a:lnTo>
                <a:lnTo>
                  <a:pt x="244" y="52"/>
                </a:lnTo>
                <a:lnTo>
                  <a:pt x="246" y="51"/>
                </a:lnTo>
                <a:lnTo>
                  <a:pt x="247" y="51"/>
                </a:lnTo>
                <a:lnTo>
                  <a:pt x="248" y="51"/>
                </a:lnTo>
                <a:lnTo>
                  <a:pt x="251" y="52"/>
                </a:lnTo>
                <a:lnTo>
                  <a:pt x="253" y="52"/>
                </a:lnTo>
                <a:lnTo>
                  <a:pt x="254" y="52"/>
                </a:lnTo>
                <a:lnTo>
                  <a:pt x="257" y="51"/>
                </a:lnTo>
                <a:lnTo>
                  <a:pt x="259" y="51"/>
                </a:lnTo>
                <a:lnTo>
                  <a:pt x="261" y="51"/>
                </a:lnTo>
                <a:lnTo>
                  <a:pt x="265" y="51"/>
                </a:lnTo>
                <a:lnTo>
                  <a:pt x="267" y="51"/>
                </a:lnTo>
                <a:lnTo>
                  <a:pt x="278" y="50"/>
                </a:lnTo>
                <a:lnTo>
                  <a:pt x="283" y="50"/>
                </a:lnTo>
                <a:lnTo>
                  <a:pt x="285" y="49"/>
                </a:lnTo>
                <a:lnTo>
                  <a:pt x="287" y="49"/>
                </a:lnTo>
                <a:lnTo>
                  <a:pt x="289" y="49"/>
                </a:lnTo>
                <a:lnTo>
                  <a:pt x="290" y="49"/>
                </a:lnTo>
                <a:lnTo>
                  <a:pt x="290" y="49"/>
                </a:lnTo>
                <a:lnTo>
                  <a:pt x="291" y="49"/>
                </a:lnTo>
                <a:lnTo>
                  <a:pt x="292" y="48"/>
                </a:lnTo>
                <a:lnTo>
                  <a:pt x="293" y="48"/>
                </a:lnTo>
                <a:lnTo>
                  <a:pt x="293" y="47"/>
                </a:lnTo>
                <a:lnTo>
                  <a:pt x="294" y="45"/>
                </a:lnTo>
                <a:lnTo>
                  <a:pt x="296" y="43"/>
                </a:lnTo>
                <a:lnTo>
                  <a:pt x="297" y="41"/>
                </a:lnTo>
                <a:lnTo>
                  <a:pt x="298" y="39"/>
                </a:lnTo>
                <a:lnTo>
                  <a:pt x="299" y="36"/>
                </a:lnTo>
                <a:lnTo>
                  <a:pt x="300" y="35"/>
                </a:lnTo>
                <a:lnTo>
                  <a:pt x="301" y="34"/>
                </a:lnTo>
                <a:lnTo>
                  <a:pt x="302" y="33"/>
                </a:lnTo>
                <a:lnTo>
                  <a:pt x="303" y="33"/>
                </a:lnTo>
                <a:lnTo>
                  <a:pt x="304" y="32"/>
                </a:lnTo>
                <a:lnTo>
                  <a:pt x="309" y="31"/>
                </a:lnTo>
                <a:lnTo>
                  <a:pt x="311" y="31"/>
                </a:lnTo>
                <a:lnTo>
                  <a:pt x="312" y="30"/>
                </a:lnTo>
                <a:lnTo>
                  <a:pt x="314" y="30"/>
                </a:lnTo>
                <a:lnTo>
                  <a:pt x="315" y="30"/>
                </a:lnTo>
                <a:lnTo>
                  <a:pt x="316" y="30"/>
                </a:lnTo>
                <a:lnTo>
                  <a:pt x="317" y="31"/>
                </a:lnTo>
                <a:lnTo>
                  <a:pt x="319" y="31"/>
                </a:lnTo>
                <a:lnTo>
                  <a:pt x="321" y="32"/>
                </a:lnTo>
                <a:lnTo>
                  <a:pt x="323" y="33"/>
                </a:lnTo>
                <a:lnTo>
                  <a:pt x="324" y="34"/>
                </a:lnTo>
                <a:lnTo>
                  <a:pt x="325" y="35"/>
                </a:lnTo>
                <a:lnTo>
                  <a:pt x="326" y="36"/>
                </a:lnTo>
                <a:lnTo>
                  <a:pt x="328" y="38"/>
                </a:lnTo>
                <a:lnTo>
                  <a:pt x="328" y="39"/>
                </a:lnTo>
                <a:lnTo>
                  <a:pt x="329" y="40"/>
                </a:lnTo>
                <a:lnTo>
                  <a:pt x="330" y="40"/>
                </a:lnTo>
                <a:lnTo>
                  <a:pt x="331" y="41"/>
                </a:lnTo>
                <a:lnTo>
                  <a:pt x="331" y="41"/>
                </a:lnTo>
                <a:lnTo>
                  <a:pt x="334" y="42"/>
                </a:lnTo>
                <a:lnTo>
                  <a:pt x="336" y="43"/>
                </a:lnTo>
                <a:lnTo>
                  <a:pt x="338" y="44"/>
                </a:lnTo>
                <a:lnTo>
                  <a:pt x="339" y="45"/>
                </a:lnTo>
                <a:lnTo>
                  <a:pt x="339" y="45"/>
                </a:lnTo>
                <a:lnTo>
                  <a:pt x="340" y="46"/>
                </a:lnTo>
                <a:lnTo>
                  <a:pt x="341" y="47"/>
                </a:lnTo>
                <a:lnTo>
                  <a:pt x="342" y="48"/>
                </a:lnTo>
                <a:lnTo>
                  <a:pt x="342" y="49"/>
                </a:lnTo>
                <a:lnTo>
                  <a:pt x="343" y="49"/>
                </a:lnTo>
                <a:lnTo>
                  <a:pt x="344" y="52"/>
                </a:lnTo>
                <a:lnTo>
                  <a:pt x="344" y="53"/>
                </a:lnTo>
                <a:lnTo>
                  <a:pt x="345" y="53"/>
                </a:lnTo>
                <a:lnTo>
                  <a:pt x="345" y="53"/>
                </a:lnTo>
                <a:lnTo>
                  <a:pt x="345" y="53"/>
                </a:lnTo>
                <a:lnTo>
                  <a:pt x="346" y="54"/>
                </a:lnTo>
                <a:lnTo>
                  <a:pt x="349" y="54"/>
                </a:lnTo>
                <a:lnTo>
                  <a:pt x="351" y="54"/>
                </a:lnTo>
                <a:lnTo>
                  <a:pt x="353" y="55"/>
                </a:lnTo>
                <a:lnTo>
                  <a:pt x="354" y="55"/>
                </a:lnTo>
                <a:lnTo>
                  <a:pt x="355" y="55"/>
                </a:lnTo>
                <a:lnTo>
                  <a:pt x="358" y="54"/>
                </a:lnTo>
                <a:lnTo>
                  <a:pt x="358" y="54"/>
                </a:lnTo>
                <a:lnTo>
                  <a:pt x="359" y="53"/>
                </a:lnTo>
                <a:lnTo>
                  <a:pt x="360" y="53"/>
                </a:lnTo>
                <a:lnTo>
                  <a:pt x="364" y="50"/>
                </a:lnTo>
                <a:lnTo>
                  <a:pt x="365" y="49"/>
                </a:lnTo>
                <a:lnTo>
                  <a:pt x="366" y="48"/>
                </a:lnTo>
                <a:lnTo>
                  <a:pt x="368" y="48"/>
                </a:lnTo>
                <a:lnTo>
                  <a:pt x="369" y="47"/>
                </a:lnTo>
                <a:lnTo>
                  <a:pt x="370" y="47"/>
                </a:lnTo>
                <a:lnTo>
                  <a:pt x="372" y="47"/>
                </a:lnTo>
                <a:lnTo>
                  <a:pt x="374" y="47"/>
                </a:lnTo>
                <a:lnTo>
                  <a:pt x="375" y="47"/>
                </a:lnTo>
                <a:lnTo>
                  <a:pt x="375" y="47"/>
                </a:lnTo>
                <a:lnTo>
                  <a:pt x="376" y="47"/>
                </a:lnTo>
                <a:lnTo>
                  <a:pt x="376" y="47"/>
                </a:lnTo>
                <a:lnTo>
                  <a:pt x="376" y="46"/>
                </a:lnTo>
                <a:lnTo>
                  <a:pt x="376" y="46"/>
                </a:lnTo>
                <a:lnTo>
                  <a:pt x="376" y="44"/>
                </a:lnTo>
                <a:lnTo>
                  <a:pt x="376" y="41"/>
                </a:lnTo>
                <a:lnTo>
                  <a:pt x="376" y="40"/>
                </a:lnTo>
                <a:lnTo>
                  <a:pt x="376" y="40"/>
                </a:lnTo>
                <a:lnTo>
                  <a:pt x="376" y="40"/>
                </a:lnTo>
                <a:lnTo>
                  <a:pt x="377" y="39"/>
                </a:lnTo>
                <a:lnTo>
                  <a:pt x="377" y="39"/>
                </a:lnTo>
                <a:lnTo>
                  <a:pt x="378" y="39"/>
                </a:lnTo>
                <a:lnTo>
                  <a:pt x="378" y="38"/>
                </a:lnTo>
                <a:lnTo>
                  <a:pt x="379" y="39"/>
                </a:lnTo>
                <a:lnTo>
                  <a:pt x="380" y="39"/>
                </a:lnTo>
                <a:lnTo>
                  <a:pt x="384" y="41"/>
                </a:lnTo>
                <a:lnTo>
                  <a:pt x="385" y="42"/>
                </a:lnTo>
                <a:lnTo>
                  <a:pt x="386" y="43"/>
                </a:lnTo>
                <a:lnTo>
                  <a:pt x="389" y="44"/>
                </a:lnTo>
                <a:lnTo>
                  <a:pt x="390" y="44"/>
                </a:lnTo>
                <a:lnTo>
                  <a:pt x="391" y="45"/>
                </a:lnTo>
                <a:lnTo>
                  <a:pt x="396" y="48"/>
                </a:lnTo>
                <a:lnTo>
                  <a:pt x="397" y="49"/>
                </a:lnTo>
                <a:lnTo>
                  <a:pt x="399" y="50"/>
                </a:lnTo>
                <a:lnTo>
                  <a:pt x="400" y="50"/>
                </a:lnTo>
                <a:lnTo>
                  <a:pt x="401" y="50"/>
                </a:lnTo>
                <a:lnTo>
                  <a:pt x="401" y="50"/>
                </a:lnTo>
                <a:lnTo>
                  <a:pt x="402" y="50"/>
                </a:lnTo>
                <a:lnTo>
                  <a:pt x="402" y="50"/>
                </a:lnTo>
                <a:lnTo>
                  <a:pt x="404" y="48"/>
                </a:lnTo>
                <a:lnTo>
                  <a:pt x="406" y="47"/>
                </a:lnTo>
                <a:lnTo>
                  <a:pt x="408" y="47"/>
                </a:lnTo>
                <a:lnTo>
                  <a:pt x="408" y="46"/>
                </a:lnTo>
                <a:lnTo>
                  <a:pt x="409" y="46"/>
                </a:lnTo>
                <a:lnTo>
                  <a:pt x="411" y="46"/>
                </a:lnTo>
                <a:lnTo>
                  <a:pt x="412" y="46"/>
                </a:lnTo>
                <a:lnTo>
                  <a:pt x="415" y="46"/>
                </a:lnTo>
                <a:lnTo>
                  <a:pt x="416" y="47"/>
                </a:lnTo>
                <a:lnTo>
                  <a:pt x="417" y="47"/>
                </a:lnTo>
                <a:lnTo>
                  <a:pt x="418" y="47"/>
                </a:lnTo>
                <a:lnTo>
                  <a:pt x="419" y="47"/>
                </a:lnTo>
                <a:lnTo>
                  <a:pt x="422" y="49"/>
                </a:lnTo>
                <a:lnTo>
                  <a:pt x="423" y="49"/>
                </a:lnTo>
                <a:lnTo>
                  <a:pt x="425" y="50"/>
                </a:lnTo>
                <a:lnTo>
                  <a:pt x="426" y="50"/>
                </a:lnTo>
                <a:lnTo>
                  <a:pt x="429" y="51"/>
                </a:lnTo>
                <a:lnTo>
                  <a:pt x="434" y="51"/>
                </a:lnTo>
                <a:lnTo>
                  <a:pt x="436" y="51"/>
                </a:lnTo>
                <a:lnTo>
                  <a:pt x="439" y="52"/>
                </a:lnTo>
                <a:lnTo>
                  <a:pt x="440" y="51"/>
                </a:lnTo>
                <a:lnTo>
                  <a:pt x="441" y="51"/>
                </a:lnTo>
                <a:lnTo>
                  <a:pt x="444" y="51"/>
                </a:lnTo>
                <a:lnTo>
                  <a:pt x="446" y="50"/>
                </a:lnTo>
                <a:lnTo>
                  <a:pt x="448" y="50"/>
                </a:lnTo>
                <a:lnTo>
                  <a:pt x="451" y="49"/>
                </a:lnTo>
                <a:lnTo>
                  <a:pt x="451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49"/>
                </a:lnTo>
                <a:lnTo>
                  <a:pt x="452" y="50"/>
                </a:lnTo>
                <a:lnTo>
                  <a:pt x="452" y="51"/>
                </a:lnTo>
                <a:lnTo>
                  <a:pt x="452" y="52"/>
                </a:lnTo>
                <a:lnTo>
                  <a:pt x="452" y="55"/>
                </a:lnTo>
                <a:lnTo>
                  <a:pt x="451" y="56"/>
                </a:lnTo>
                <a:lnTo>
                  <a:pt x="451" y="57"/>
                </a:lnTo>
                <a:lnTo>
                  <a:pt x="452" y="57"/>
                </a:lnTo>
                <a:lnTo>
                  <a:pt x="452" y="58"/>
                </a:lnTo>
                <a:lnTo>
                  <a:pt x="452" y="58"/>
                </a:lnTo>
                <a:lnTo>
                  <a:pt x="453" y="59"/>
                </a:lnTo>
                <a:lnTo>
                  <a:pt x="454" y="59"/>
                </a:lnTo>
                <a:lnTo>
                  <a:pt x="454" y="60"/>
                </a:lnTo>
                <a:lnTo>
                  <a:pt x="455" y="60"/>
                </a:lnTo>
                <a:lnTo>
                  <a:pt x="456" y="60"/>
                </a:lnTo>
                <a:lnTo>
                  <a:pt x="458" y="60"/>
                </a:lnTo>
                <a:lnTo>
                  <a:pt x="461" y="61"/>
                </a:lnTo>
                <a:lnTo>
                  <a:pt x="463" y="61"/>
                </a:lnTo>
                <a:lnTo>
                  <a:pt x="465" y="62"/>
                </a:lnTo>
                <a:lnTo>
                  <a:pt x="468" y="62"/>
                </a:lnTo>
                <a:lnTo>
                  <a:pt x="470" y="63"/>
                </a:lnTo>
                <a:lnTo>
                  <a:pt x="471" y="64"/>
                </a:lnTo>
                <a:lnTo>
                  <a:pt x="472" y="65"/>
                </a:lnTo>
                <a:lnTo>
                  <a:pt x="475" y="66"/>
                </a:lnTo>
                <a:lnTo>
                  <a:pt x="476" y="67"/>
                </a:lnTo>
                <a:lnTo>
                  <a:pt x="476" y="67"/>
                </a:lnTo>
                <a:lnTo>
                  <a:pt x="477" y="67"/>
                </a:lnTo>
                <a:lnTo>
                  <a:pt x="477" y="67"/>
                </a:lnTo>
                <a:lnTo>
                  <a:pt x="478" y="67"/>
                </a:lnTo>
                <a:lnTo>
                  <a:pt x="478" y="67"/>
                </a:lnTo>
                <a:lnTo>
                  <a:pt x="479" y="67"/>
                </a:lnTo>
                <a:lnTo>
                  <a:pt x="480" y="67"/>
                </a:lnTo>
                <a:lnTo>
                  <a:pt x="480" y="66"/>
                </a:lnTo>
                <a:lnTo>
                  <a:pt x="481" y="65"/>
                </a:lnTo>
                <a:lnTo>
                  <a:pt x="482" y="62"/>
                </a:lnTo>
                <a:lnTo>
                  <a:pt x="483" y="61"/>
                </a:lnTo>
                <a:lnTo>
                  <a:pt x="485" y="59"/>
                </a:lnTo>
                <a:lnTo>
                  <a:pt x="487" y="58"/>
                </a:lnTo>
                <a:lnTo>
                  <a:pt x="489" y="56"/>
                </a:lnTo>
                <a:lnTo>
                  <a:pt x="493" y="52"/>
                </a:lnTo>
                <a:lnTo>
                  <a:pt x="495" y="50"/>
                </a:lnTo>
                <a:lnTo>
                  <a:pt x="498" y="48"/>
                </a:lnTo>
                <a:lnTo>
                  <a:pt x="499" y="48"/>
                </a:lnTo>
                <a:lnTo>
                  <a:pt x="500" y="47"/>
                </a:lnTo>
                <a:lnTo>
                  <a:pt x="502" y="47"/>
                </a:lnTo>
                <a:lnTo>
                  <a:pt x="507" y="45"/>
                </a:lnTo>
                <a:lnTo>
                  <a:pt x="508" y="45"/>
                </a:lnTo>
                <a:lnTo>
                  <a:pt x="510" y="44"/>
                </a:lnTo>
                <a:lnTo>
                  <a:pt x="511" y="43"/>
                </a:lnTo>
                <a:lnTo>
                  <a:pt x="513" y="43"/>
                </a:lnTo>
                <a:lnTo>
                  <a:pt x="513" y="42"/>
                </a:lnTo>
                <a:lnTo>
                  <a:pt x="514" y="42"/>
                </a:lnTo>
                <a:lnTo>
                  <a:pt x="514" y="41"/>
                </a:lnTo>
                <a:lnTo>
                  <a:pt x="515" y="40"/>
                </a:lnTo>
                <a:lnTo>
                  <a:pt x="515" y="39"/>
                </a:lnTo>
                <a:lnTo>
                  <a:pt x="515" y="38"/>
                </a:lnTo>
                <a:lnTo>
                  <a:pt x="514" y="37"/>
                </a:lnTo>
                <a:lnTo>
                  <a:pt x="514" y="34"/>
                </a:lnTo>
                <a:lnTo>
                  <a:pt x="513" y="31"/>
                </a:lnTo>
                <a:lnTo>
                  <a:pt x="512" y="29"/>
                </a:lnTo>
                <a:lnTo>
                  <a:pt x="512" y="28"/>
                </a:lnTo>
                <a:lnTo>
                  <a:pt x="512" y="27"/>
                </a:lnTo>
                <a:lnTo>
                  <a:pt x="512" y="25"/>
                </a:lnTo>
                <a:lnTo>
                  <a:pt x="512" y="24"/>
                </a:lnTo>
                <a:lnTo>
                  <a:pt x="513" y="20"/>
                </a:lnTo>
                <a:lnTo>
                  <a:pt x="514" y="19"/>
                </a:lnTo>
                <a:lnTo>
                  <a:pt x="514" y="17"/>
                </a:lnTo>
                <a:lnTo>
                  <a:pt x="514" y="15"/>
                </a:lnTo>
                <a:lnTo>
                  <a:pt x="514" y="14"/>
                </a:lnTo>
                <a:lnTo>
                  <a:pt x="514" y="14"/>
                </a:lnTo>
                <a:lnTo>
                  <a:pt x="515" y="13"/>
                </a:lnTo>
                <a:lnTo>
                  <a:pt x="515" y="12"/>
                </a:lnTo>
                <a:lnTo>
                  <a:pt x="516" y="11"/>
                </a:lnTo>
                <a:lnTo>
                  <a:pt x="518" y="10"/>
                </a:lnTo>
                <a:lnTo>
                  <a:pt x="518" y="9"/>
                </a:lnTo>
                <a:lnTo>
                  <a:pt x="519" y="8"/>
                </a:lnTo>
                <a:lnTo>
                  <a:pt x="520" y="7"/>
                </a:lnTo>
                <a:lnTo>
                  <a:pt x="521" y="6"/>
                </a:lnTo>
                <a:lnTo>
                  <a:pt x="521" y="5"/>
                </a:lnTo>
                <a:lnTo>
                  <a:pt x="522" y="4"/>
                </a:lnTo>
                <a:lnTo>
                  <a:pt x="525" y="2"/>
                </a:lnTo>
                <a:lnTo>
                  <a:pt x="527" y="0"/>
                </a:lnTo>
                <a:lnTo>
                  <a:pt x="528" y="0"/>
                </a:lnTo>
                <a:lnTo>
                  <a:pt x="529" y="0"/>
                </a:lnTo>
                <a:lnTo>
                  <a:pt x="529" y="0"/>
                </a:lnTo>
                <a:lnTo>
                  <a:pt x="530" y="0"/>
                </a:lnTo>
                <a:lnTo>
                  <a:pt x="531" y="0"/>
                </a:lnTo>
                <a:lnTo>
                  <a:pt x="532" y="0"/>
                </a:lnTo>
                <a:lnTo>
                  <a:pt x="533" y="1"/>
                </a:lnTo>
                <a:lnTo>
                  <a:pt x="536" y="3"/>
                </a:lnTo>
                <a:lnTo>
                  <a:pt x="537" y="4"/>
                </a:lnTo>
                <a:lnTo>
                  <a:pt x="540" y="5"/>
                </a:lnTo>
                <a:lnTo>
                  <a:pt x="545" y="8"/>
                </a:lnTo>
                <a:lnTo>
                  <a:pt x="547" y="8"/>
                </a:lnTo>
                <a:lnTo>
                  <a:pt x="548" y="9"/>
                </a:lnTo>
                <a:lnTo>
                  <a:pt x="549" y="10"/>
                </a:lnTo>
                <a:lnTo>
                  <a:pt x="550" y="11"/>
                </a:lnTo>
                <a:lnTo>
                  <a:pt x="555" y="15"/>
                </a:lnTo>
                <a:lnTo>
                  <a:pt x="557" y="17"/>
                </a:lnTo>
                <a:lnTo>
                  <a:pt x="559" y="18"/>
                </a:lnTo>
                <a:lnTo>
                  <a:pt x="560" y="19"/>
                </a:lnTo>
                <a:lnTo>
                  <a:pt x="561" y="20"/>
                </a:lnTo>
                <a:lnTo>
                  <a:pt x="563" y="20"/>
                </a:lnTo>
                <a:lnTo>
                  <a:pt x="563" y="20"/>
                </a:lnTo>
                <a:lnTo>
                  <a:pt x="564" y="21"/>
                </a:lnTo>
                <a:lnTo>
                  <a:pt x="564" y="21"/>
                </a:lnTo>
                <a:lnTo>
                  <a:pt x="565" y="20"/>
                </a:lnTo>
                <a:lnTo>
                  <a:pt x="566" y="20"/>
                </a:lnTo>
                <a:lnTo>
                  <a:pt x="568" y="19"/>
                </a:lnTo>
                <a:lnTo>
                  <a:pt x="569" y="18"/>
                </a:lnTo>
                <a:lnTo>
                  <a:pt x="570" y="18"/>
                </a:lnTo>
                <a:lnTo>
                  <a:pt x="572" y="17"/>
                </a:lnTo>
                <a:lnTo>
                  <a:pt x="572" y="17"/>
                </a:lnTo>
                <a:lnTo>
                  <a:pt x="573" y="17"/>
                </a:lnTo>
                <a:lnTo>
                  <a:pt x="573" y="17"/>
                </a:lnTo>
                <a:lnTo>
                  <a:pt x="574" y="18"/>
                </a:lnTo>
                <a:lnTo>
                  <a:pt x="574" y="18"/>
                </a:lnTo>
                <a:lnTo>
                  <a:pt x="575" y="18"/>
                </a:lnTo>
                <a:lnTo>
                  <a:pt x="575" y="19"/>
                </a:lnTo>
                <a:lnTo>
                  <a:pt x="576" y="21"/>
                </a:lnTo>
                <a:lnTo>
                  <a:pt x="577" y="23"/>
                </a:lnTo>
                <a:lnTo>
                  <a:pt x="578" y="25"/>
                </a:lnTo>
                <a:lnTo>
                  <a:pt x="579" y="27"/>
                </a:lnTo>
                <a:lnTo>
                  <a:pt x="581" y="31"/>
                </a:lnTo>
                <a:lnTo>
                  <a:pt x="583" y="35"/>
                </a:lnTo>
                <a:lnTo>
                  <a:pt x="584" y="37"/>
                </a:lnTo>
                <a:lnTo>
                  <a:pt x="585" y="38"/>
                </a:lnTo>
                <a:lnTo>
                  <a:pt x="586" y="39"/>
                </a:lnTo>
                <a:lnTo>
                  <a:pt x="586" y="40"/>
                </a:lnTo>
                <a:lnTo>
                  <a:pt x="588" y="41"/>
                </a:lnTo>
                <a:lnTo>
                  <a:pt x="589" y="42"/>
                </a:lnTo>
                <a:lnTo>
                  <a:pt x="590" y="42"/>
                </a:lnTo>
                <a:lnTo>
                  <a:pt x="591" y="43"/>
                </a:lnTo>
                <a:lnTo>
                  <a:pt x="592" y="43"/>
                </a:lnTo>
                <a:lnTo>
                  <a:pt x="593" y="43"/>
                </a:lnTo>
                <a:lnTo>
                  <a:pt x="594" y="43"/>
                </a:lnTo>
                <a:lnTo>
                  <a:pt x="595" y="43"/>
                </a:lnTo>
                <a:lnTo>
                  <a:pt x="596" y="43"/>
                </a:lnTo>
                <a:lnTo>
                  <a:pt x="597" y="43"/>
                </a:lnTo>
                <a:lnTo>
                  <a:pt x="598" y="43"/>
                </a:lnTo>
                <a:lnTo>
                  <a:pt x="598" y="43"/>
                </a:lnTo>
                <a:lnTo>
                  <a:pt x="599" y="42"/>
                </a:lnTo>
                <a:lnTo>
                  <a:pt x="600" y="42"/>
                </a:lnTo>
                <a:lnTo>
                  <a:pt x="600" y="42"/>
                </a:lnTo>
                <a:lnTo>
                  <a:pt x="600" y="43"/>
                </a:lnTo>
                <a:lnTo>
                  <a:pt x="601" y="49"/>
                </a:lnTo>
                <a:lnTo>
                  <a:pt x="601" y="50"/>
                </a:lnTo>
                <a:lnTo>
                  <a:pt x="601" y="52"/>
                </a:lnTo>
                <a:lnTo>
                  <a:pt x="601" y="53"/>
                </a:lnTo>
                <a:lnTo>
                  <a:pt x="601" y="54"/>
                </a:lnTo>
                <a:lnTo>
                  <a:pt x="601" y="54"/>
                </a:lnTo>
                <a:lnTo>
                  <a:pt x="601" y="55"/>
                </a:lnTo>
                <a:lnTo>
                  <a:pt x="600" y="56"/>
                </a:lnTo>
                <a:lnTo>
                  <a:pt x="600" y="57"/>
                </a:lnTo>
                <a:lnTo>
                  <a:pt x="599" y="58"/>
                </a:lnTo>
                <a:lnTo>
                  <a:pt x="598" y="58"/>
                </a:lnTo>
                <a:lnTo>
                  <a:pt x="597" y="59"/>
                </a:lnTo>
                <a:lnTo>
                  <a:pt x="595" y="59"/>
                </a:lnTo>
                <a:lnTo>
                  <a:pt x="594" y="60"/>
                </a:lnTo>
                <a:lnTo>
                  <a:pt x="593" y="60"/>
                </a:lnTo>
                <a:lnTo>
                  <a:pt x="592" y="61"/>
                </a:lnTo>
                <a:lnTo>
                  <a:pt x="592" y="62"/>
                </a:lnTo>
                <a:lnTo>
                  <a:pt x="591" y="62"/>
                </a:lnTo>
                <a:lnTo>
                  <a:pt x="591" y="62"/>
                </a:lnTo>
                <a:lnTo>
                  <a:pt x="591" y="63"/>
                </a:lnTo>
                <a:lnTo>
                  <a:pt x="591" y="64"/>
                </a:lnTo>
                <a:lnTo>
                  <a:pt x="591" y="64"/>
                </a:lnTo>
                <a:lnTo>
                  <a:pt x="591" y="65"/>
                </a:lnTo>
                <a:lnTo>
                  <a:pt x="591" y="66"/>
                </a:lnTo>
                <a:lnTo>
                  <a:pt x="592" y="67"/>
                </a:lnTo>
                <a:lnTo>
                  <a:pt x="595" y="71"/>
                </a:lnTo>
                <a:lnTo>
                  <a:pt x="595" y="72"/>
                </a:lnTo>
                <a:lnTo>
                  <a:pt x="596" y="74"/>
                </a:lnTo>
                <a:lnTo>
                  <a:pt x="596" y="75"/>
                </a:lnTo>
                <a:lnTo>
                  <a:pt x="597" y="77"/>
                </a:lnTo>
                <a:lnTo>
                  <a:pt x="597" y="78"/>
                </a:lnTo>
                <a:lnTo>
                  <a:pt x="597" y="79"/>
                </a:lnTo>
                <a:lnTo>
                  <a:pt x="598" y="82"/>
                </a:lnTo>
                <a:lnTo>
                  <a:pt x="598" y="84"/>
                </a:lnTo>
                <a:lnTo>
                  <a:pt x="598" y="85"/>
                </a:lnTo>
                <a:lnTo>
                  <a:pt x="597" y="89"/>
                </a:lnTo>
                <a:lnTo>
                  <a:pt x="597" y="91"/>
                </a:lnTo>
                <a:lnTo>
                  <a:pt x="597" y="92"/>
                </a:lnTo>
                <a:lnTo>
                  <a:pt x="597" y="96"/>
                </a:lnTo>
                <a:lnTo>
                  <a:pt x="597" y="97"/>
                </a:lnTo>
                <a:lnTo>
                  <a:pt x="597" y="100"/>
                </a:lnTo>
                <a:lnTo>
                  <a:pt x="596" y="102"/>
                </a:lnTo>
                <a:lnTo>
                  <a:pt x="596" y="103"/>
                </a:lnTo>
                <a:lnTo>
                  <a:pt x="595" y="105"/>
                </a:lnTo>
                <a:lnTo>
                  <a:pt x="595" y="107"/>
                </a:lnTo>
                <a:lnTo>
                  <a:pt x="593" y="112"/>
                </a:lnTo>
                <a:lnTo>
                  <a:pt x="591" y="116"/>
                </a:lnTo>
                <a:lnTo>
                  <a:pt x="590" y="120"/>
                </a:lnTo>
                <a:lnTo>
                  <a:pt x="590" y="121"/>
                </a:lnTo>
                <a:lnTo>
                  <a:pt x="589" y="122"/>
                </a:lnTo>
                <a:lnTo>
                  <a:pt x="589" y="123"/>
                </a:lnTo>
                <a:lnTo>
                  <a:pt x="589" y="124"/>
                </a:lnTo>
                <a:lnTo>
                  <a:pt x="590" y="125"/>
                </a:lnTo>
                <a:lnTo>
                  <a:pt x="590" y="126"/>
                </a:lnTo>
                <a:lnTo>
                  <a:pt x="590" y="126"/>
                </a:lnTo>
                <a:lnTo>
                  <a:pt x="590" y="127"/>
                </a:lnTo>
                <a:lnTo>
                  <a:pt x="589" y="132"/>
                </a:lnTo>
                <a:lnTo>
                  <a:pt x="588" y="136"/>
                </a:lnTo>
                <a:lnTo>
                  <a:pt x="587" y="138"/>
                </a:lnTo>
                <a:lnTo>
                  <a:pt x="586" y="140"/>
                </a:lnTo>
                <a:lnTo>
                  <a:pt x="585" y="144"/>
                </a:lnTo>
                <a:lnTo>
                  <a:pt x="585" y="145"/>
                </a:lnTo>
                <a:lnTo>
                  <a:pt x="584" y="147"/>
                </a:lnTo>
                <a:lnTo>
                  <a:pt x="584" y="149"/>
                </a:lnTo>
                <a:lnTo>
                  <a:pt x="584" y="150"/>
                </a:lnTo>
                <a:lnTo>
                  <a:pt x="584" y="151"/>
                </a:lnTo>
                <a:lnTo>
                  <a:pt x="585" y="153"/>
                </a:lnTo>
                <a:lnTo>
                  <a:pt x="585" y="153"/>
                </a:lnTo>
                <a:lnTo>
                  <a:pt x="585" y="154"/>
                </a:lnTo>
                <a:lnTo>
                  <a:pt x="586" y="156"/>
                </a:lnTo>
                <a:lnTo>
                  <a:pt x="587" y="157"/>
                </a:lnTo>
                <a:lnTo>
                  <a:pt x="588" y="158"/>
                </a:lnTo>
                <a:lnTo>
                  <a:pt x="590" y="160"/>
                </a:lnTo>
                <a:lnTo>
                  <a:pt x="593" y="162"/>
                </a:lnTo>
                <a:lnTo>
                  <a:pt x="594" y="163"/>
                </a:lnTo>
                <a:lnTo>
                  <a:pt x="595" y="164"/>
                </a:lnTo>
                <a:lnTo>
                  <a:pt x="595" y="165"/>
                </a:lnTo>
                <a:lnTo>
                  <a:pt x="596" y="166"/>
                </a:lnTo>
                <a:lnTo>
                  <a:pt x="597" y="168"/>
                </a:lnTo>
                <a:lnTo>
                  <a:pt x="598" y="169"/>
                </a:lnTo>
                <a:lnTo>
                  <a:pt x="598" y="169"/>
                </a:lnTo>
                <a:lnTo>
                  <a:pt x="598" y="170"/>
                </a:lnTo>
                <a:lnTo>
                  <a:pt x="598" y="170"/>
                </a:lnTo>
                <a:lnTo>
                  <a:pt x="597" y="171"/>
                </a:lnTo>
                <a:lnTo>
                  <a:pt x="597" y="172"/>
                </a:lnTo>
                <a:lnTo>
                  <a:pt x="595" y="174"/>
                </a:lnTo>
                <a:lnTo>
                  <a:pt x="594" y="176"/>
                </a:lnTo>
                <a:lnTo>
                  <a:pt x="593" y="178"/>
                </a:lnTo>
                <a:lnTo>
                  <a:pt x="592" y="179"/>
                </a:lnTo>
                <a:lnTo>
                  <a:pt x="591" y="180"/>
                </a:lnTo>
                <a:lnTo>
                  <a:pt x="591" y="181"/>
                </a:lnTo>
                <a:lnTo>
                  <a:pt x="591" y="182"/>
                </a:lnTo>
                <a:lnTo>
                  <a:pt x="591" y="183"/>
                </a:lnTo>
                <a:lnTo>
                  <a:pt x="591" y="184"/>
                </a:lnTo>
                <a:lnTo>
                  <a:pt x="591" y="185"/>
                </a:lnTo>
                <a:lnTo>
                  <a:pt x="592" y="186"/>
                </a:lnTo>
                <a:lnTo>
                  <a:pt x="592" y="187"/>
                </a:lnTo>
                <a:lnTo>
                  <a:pt x="593" y="189"/>
                </a:lnTo>
                <a:lnTo>
                  <a:pt x="596" y="193"/>
                </a:lnTo>
                <a:lnTo>
                  <a:pt x="599" y="197"/>
                </a:lnTo>
                <a:lnTo>
                  <a:pt x="599" y="198"/>
                </a:lnTo>
                <a:lnTo>
                  <a:pt x="600" y="199"/>
                </a:lnTo>
                <a:lnTo>
                  <a:pt x="605" y="204"/>
                </a:lnTo>
                <a:lnTo>
                  <a:pt x="606" y="205"/>
                </a:lnTo>
                <a:lnTo>
                  <a:pt x="609" y="208"/>
                </a:lnTo>
                <a:lnTo>
                  <a:pt x="611" y="210"/>
                </a:lnTo>
                <a:lnTo>
                  <a:pt x="614" y="213"/>
                </a:lnTo>
                <a:lnTo>
                  <a:pt x="617" y="215"/>
                </a:lnTo>
                <a:lnTo>
                  <a:pt x="619" y="217"/>
                </a:lnTo>
                <a:lnTo>
                  <a:pt x="620" y="217"/>
                </a:lnTo>
                <a:lnTo>
                  <a:pt x="620" y="217"/>
                </a:lnTo>
                <a:lnTo>
                  <a:pt x="622" y="218"/>
                </a:lnTo>
                <a:lnTo>
                  <a:pt x="623" y="218"/>
                </a:lnTo>
                <a:lnTo>
                  <a:pt x="624" y="218"/>
                </a:lnTo>
                <a:lnTo>
                  <a:pt x="625" y="218"/>
                </a:lnTo>
                <a:lnTo>
                  <a:pt x="626" y="217"/>
                </a:lnTo>
                <a:lnTo>
                  <a:pt x="628" y="217"/>
                </a:lnTo>
                <a:lnTo>
                  <a:pt x="633" y="214"/>
                </a:lnTo>
                <a:lnTo>
                  <a:pt x="635" y="213"/>
                </a:lnTo>
                <a:lnTo>
                  <a:pt x="637" y="213"/>
                </a:lnTo>
                <a:lnTo>
                  <a:pt x="638" y="212"/>
                </a:lnTo>
                <a:lnTo>
                  <a:pt x="640" y="212"/>
                </a:lnTo>
                <a:lnTo>
                  <a:pt x="641" y="212"/>
                </a:lnTo>
                <a:lnTo>
                  <a:pt x="642" y="212"/>
                </a:lnTo>
                <a:lnTo>
                  <a:pt x="643" y="212"/>
                </a:lnTo>
                <a:lnTo>
                  <a:pt x="644" y="212"/>
                </a:lnTo>
                <a:lnTo>
                  <a:pt x="645" y="213"/>
                </a:lnTo>
                <a:lnTo>
                  <a:pt x="646" y="213"/>
                </a:lnTo>
                <a:lnTo>
                  <a:pt x="647" y="214"/>
                </a:lnTo>
                <a:lnTo>
                  <a:pt x="650" y="217"/>
                </a:lnTo>
                <a:lnTo>
                  <a:pt x="652" y="218"/>
                </a:lnTo>
                <a:lnTo>
                  <a:pt x="654" y="220"/>
                </a:lnTo>
                <a:lnTo>
                  <a:pt x="656" y="221"/>
                </a:lnTo>
                <a:lnTo>
                  <a:pt x="658" y="221"/>
                </a:lnTo>
                <a:lnTo>
                  <a:pt x="659" y="222"/>
                </a:lnTo>
                <a:lnTo>
                  <a:pt x="664" y="224"/>
                </a:lnTo>
                <a:lnTo>
                  <a:pt x="666" y="224"/>
                </a:lnTo>
                <a:lnTo>
                  <a:pt x="668" y="225"/>
                </a:lnTo>
                <a:lnTo>
                  <a:pt x="669" y="226"/>
                </a:lnTo>
                <a:lnTo>
                  <a:pt x="670" y="226"/>
                </a:lnTo>
                <a:lnTo>
                  <a:pt x="670" y="227"/>
                </a:lnTo>
                <a:lnTo>
                  <a:pt x="671" y="227"/>
                </a:lnTo>
                <a:lnTo>
                  <a:pt x="671" y="228"/>
                </a:lnTo>
                <a:lnTo>
                  <a:pt x="672" y="229"/>
                </a:lnTo>
                <a:lnTo>
                  <a:pt x="672" y="230"/>
                </a:lnTo>
                <a:lnTo>
                  <a:pt x="672" y="230"/>
                </a:lnTo>
                <a:lnTo>
                  <a:pt x="672" y="231"/>
                </a:lnTo>
                <a:lnTo>
                  <a:pt x="671" y="233"/>
                </a:lnTo>
                <a:lnTo>
                  <a:pt x="671" y="234"/>
                </a:lnTo>
                <a:lnTo>
                  <a:pt x="671" y="234"/>
                </a:lnTo>
                <a:lnTo>
                  <a:pt x="670" y="235"/>
                </a:lnTo>
                <a:lnTo>
                  <a:pt x="670" y="236"/>
                </a:lnTo>
                <a:lnTo>
                  <a:pt x="669" y="236"/>
                </a:lnTo>
                <a:lnTo>
                  <a:pt x="668" y="237"/>
                </a:lnTo>
                <a:lnTo>
                  <a:pt x="667" y="238"/>
                </a:lnTo>
                <a:lnTo>
                  <a:pt x="666" y="238"/>
                </a:lnTo>
                <a:lnTo>
                  <a:pt x="666" y="238"/>
                </a:lnTo>
                <a:lnTo>
                  <a:pt x="666" y="239"/>
                </a:lnTo>
                <a:lnTo>
                  <a:pt x="666" y="239"/>
                </a:lnTo>
                <a:lnTo>
                  <a:pt x="667" y="239"/>
                </a:lnTo>
                <a:lnTo>
                  <a:pt x="668" y="240"/>
                </a:lnTo>
                <a:lnTo>
                  <a:pt x="669" y="240"/>
                </a:lnTo>
                <a:lnTo>
                  <a:pt x="670" y="241"/>
                </a:lnTo>
                <a:lnTo>
                  <a:pt x="671" y="241"/>
                </a:lnTo>
                <a:lnTo>
                  <a:pt x="672" y="241"/>
                </a:lnTo>
                <a:lnTo>
                  <a:pt x="676" y="242"/>
                </a:lnTo>
                <a:lnTo>
                  <a:pt x="678" y="242"/>
                </a:lnTo>
                <a:lnTo>
                  <a:pt x="679" y="242"/>
                </a:lnTo>
                <a:lnTo>
                  <a:pt x="680" y="243"/>
                </a:lnTo>
                <a:lnTo>
                  <a:pt x="680" y="243"/>
                </a:lnTo>
                <a:lnTo>
                  <a:pt x="681" y="243"/>
                </a:lnTo>
                <a:lnTo>
                  <a:pt x="682" y="244"/>
                </a:lnTo>
                <a:lnTo>
                  <a:pt x="683" y="245"/>
                </a:lnTo>
                <a:lnTo>
                  <a:pt x="685" y="246"/>
                </a:lnTo>
                <a:lnTo>
                  <a:pt x="686" y="248"/>
                </a:lnTo>
                <a:lnTo>
                  <a:pt x="689" y="252"/>
                </a:lnTo>
                <a:lnTo>
                  <a:pt x="690" y="252"/>
                </a:lnTo>
                <a:lnTo>
                  <a:pt x="691" y="253"/>
                </a:lnTo>
                <a:lnTo>
                  <a:pt x="692" y="254"/>
                </a:lnTo>
                <a:lnTo>
                  <a:pt x="693" y="254"/>
                </a:lnTo>
                <a:lnTo>
                  <a:pt x="693" y="255"/>
                </a:lnTo>
                <a:lnTo>
                  <a:pt x="694" y="255"/>
                </a:lnTo>
                <a:lnTo>
                  <a:pt x="696" y="256"/>
                </a:lnTo>
                <a:lnTo>
                  <a:pt x="698" y="256"/>
                </a:lnTo>
                <a:lnTo>
                  <a:pt x="699" y="256"/>
                </a:lnTo>
                <a:lnTo>
                  <a:pt x="701" y="256"/>
                </a:lnTo>
                <a:lnTo>
                  <a:pt x="702" y="256"/>
                </a:lnTo>
                <a:lnTo>
                  <a:pt x="704" y="255"/>
                </a:lnTo>
                <a:lnTo>
                  <a:pt x="705" y="254"/>
                </a:lnTo>
                <a:lnTo>
                  <a:pt x="709" y="252"/>
                </a:lnTo>
                <a:lnTo>
                  <a:pt x="711" y="252"/>
                </a:lnTo>
                <a:lnTo>
                  <a:pt x="712" y="251"/>
                </a:lnTo>
                <a:lnTo>
                  <a:pt x="712" y="251"/>
                </a:lnTo>
                <a:lnTo>
                  <a:pt x="713" y="251"/>
                </a:lnTo>
                <a:lnTo>
                  <a:pt x="714" y="251"/>
                </a:lnTo>
                <a:lnTo>
                  <a:pt x="715" y="251"/>
                </a:lnTo>
                <a:lnTo>
                  <a:pt x="716" y="252"/>
                </a:lnTo>
                <a:lnTo>
                  <a:pt x="723" y="253"/>
                </a:lnTo>
                <a:lnTo>
                  <a:pt x="728" y="255"/>
                </a:lnTo>
                <a:lnTo>
                  <a:pt x="731" y="256"/>
                </a:lnTo>
                <a:lnTo>
                  <a:pt x="733" y="257"/>
                </a:lnTo>
                <a:lnTo>
                  <a:pt x="735" y="258"/>
                </a:lnTo>
                <a:lnTo>
                  <a:pt x="736" y="259"/>
                </a:lnTo>
                <a:lnTo>
                  <a:pt x="737" y="259"/>
                </a:lnTo>
                <a:lnTo>
                  <a:pt x="738" y="261"/>
                </a:lnTo>
                <a:lnTo>
                  <a:pt x="739" y="262"/>
                </a:lnTo>
                <a:lnTo>
                  <a:pt x="740" y="262"/>
                </a:lnTo>
                <a:lnTo>
                  <a:pt x="741" y="263"/>
                </a:lnTo>
                <a:lnTo>
                  <a:pt x="741" y="263"/>
                </a:lnTo>
                <a:lnTo>
                  <a:pt x="742" y="263"/>
                </a:lnTo>
                <a:lnTo>
                  <a:pt x="747" y="262"/>
                </a:lnTo>
                <a:lnTo>
                  <a:pt x="749" y="262"/>
                </a:lnTo>
                <a:lnTo>
                  <a:pt x="753" y="261"/>
                </a:lnTo>
                <a:lnTo>
                  <a:pt x="755" y="260"/>
                </a:lnTo>
                <a:lnTo>
                  <a:pt x="756" y="260"/>
                </a:lnTo>
                <a:lnTo>
                  <a:pt x="760" y="260"/>
                </a:lnTo>
                <a:lnTo>
                  <a:pt x="764" y="259"/>
                </a:lnTo>
                <a:lnTo>
                  <a:pt x="765" y="259"/>
                </a:lnTo>
                <a:lnTo>
                  <a:pt x="767" y="259"/>
                </a:lnTo>
                <a:lnTo>
                  <a:pt x="769" y="259"/>
                </a:lnTo>
                <a:lnTo>
                  <a:pt x="770" y="259"/>
                </a:lnTo>
                <a:lnTo>
                  <a:pt x="771" y="260"/>
                </a:lnTo>
                <a:lnTo>
                  <a:pt x="772" y="260"/>
                </a:lnTo>
                <a:lnTo>
                  <a:pt x="773" y="260"/>
                </a:lnTo>
                <a:lnTo>
                  <a:pt x="774" y="261"/>
                </a:lnTo>
                <a:lnTo>
                  <a:pt x="774" y="262"/>
                </a:lnTo>
                <a:lnTo>
                  <a:pt x="775" y="263"/>
                </a:lnTo>
                <a:lnTo>
                  <a:pt x="776" y="264"/>
                </a:lnTo>
                <a:lnTo>
                  <a:pt x="776" y="265"/>
                </a:lnTo>
                <a:lnTo>
                  <a:pt x="777" y="266"/>
                </a:lnTo>
                <a:lnTo>
                  <a:pt x="777" y="269"/>
                </a:lnTo>
                <a:lnTo>
                  <a:pt x="778" y="271"/>
                </a:lnTo>
                <a:lnTo>
                  <a:pt x="778" y="272"/>
                </a:lnTo>
                <a:lnTo>
                  <a:pt x="778" y="274"/>
                </a:lnTo>
                <a:lnTo>
                  <a:pt x="778" y="275"/>
                </a:lnTo>
                <a:lnTo>
                  <a:pt x="778" y="276"/>
                </a:lnTo>
                <a:lnTo>
                  <a:pt x="778" y="279"/>
                </a:lnTo>
                <a:lnTo>
                  <a:pt x="777" y="283"/>
                </a:lnTo>
                <a:lnTo>
                  <a:pt x="777" y="286"/>
                </a:lnTo>
                <a:lnTo>
                  <a:pt x="777" y="288"/>
                </a:lnTo>
                <a:lnTo>
                  <a:pt x="777" y="290"/>
                </a:lnTo>
                <a:lnTo>
                  <a:pt x="777" y="291"/>
                </a:lnTo>
                <a:lnTo>
                  <a:pt x="778" y="293"/>
                </a:lnTo>
                <a:lnTo>
                  <a:pt x="779" y="295"/>
                </a:lnTo>
                <a:lnTo>
                  <a:pt x="780" y="297"/>
                </a:lnTo>
                <a:lnTo>
                  <a:pt x="780" y="298"/>
                </a:lnTo>
                <a:lnTo>
                  <a:pt x="781" y="299"/>
                </a:lnTo>
                <a:lnTo>
                  <a:pt x="782" y="300"/>
                </a:lnTo>
                <a:lnTo>
                  <a:pt x="785" y="302"/>
                </a:lnTo>
                <a:lnTo>
                  <a:pt x="786" y="304"/>
                </a:lnTo>
                <a:lnTo>
                  <a:pt x="790" y="306"/>
                </a:lnTo>
                <a:lnTo>
                  <a:pt x="794" y="310"/>
                </a:lnTo>
                <a:lnTo>
                  <a:pt x="795" y="311"/>
                </a:lnTo>
                <a:lnTo>
                  <a:pt x="797" y="312"/>
                </a:lnTo>
                <a:lnTo>
                  <a:pt x="799" y="314"/>
                </a:lnTo>
                <a:lnTo>
                  <a:pt x="806" y="318"/>
                </a:lnTo>
                <a:lnTo>
                  <a:pt x="809" y="320"/>
                </a:lnTo>
                <a:lnTo>
                  <a:pt x="810" y="320"/>
                </a:lnTo>
                <a:lnTo>
                  <a:pt x="811" y="320"/>
                </a:lnTo>
                <a:lnTo>
                  <a:pt x="811" y="320"/>
                </a:lnTo>
                <a:lnTo>
                  <a:pt x="812" y="320"/>
                </a:lnTo>
                <a:lnTo>
                  <a:pt x="812" y="320"/>
                </a:lnTo>
                <a:lnTo>
                  <a:pt x="813" y="320"/>
                </a:lnTo>
                <a:lnTo>
                  <a:pt x="815" y="319"/>
                </a:lnTo>
                <a:lnTo>
                  <a:pt x="816" y="319"/>
                </a:lnTo>
                <a:lnTo>
                  <a:pt x="818" y="318"/>
                </a:lnTo>
                <a:lnTo>
                  <a:pt x="819" y="318"/>
                </a:lnTo>
                <a:lnTo>
                  <a:pt x="820" y="319"/>
                </a:lnTo>
                <a:lnTo>
                  <a:pt x="821" y="319"/>
                </a:lnTo>
                <a:lnTo>
                  <a:pt x="822" y="319"/>
                </a:lnTo>
                <a:lnTo>
                  <a:pt x="827" y="320"/>
                </a:lnTo>
                <a:lnTo>
                  <a:pt x="828" y="321"/>
                </a:lnTo>
                <a:lnTo>
                  <a:pt x="830" y="321"/>
                </a:lnTo>
                <a:lnTo>
                  <a:pt x="832" y="321"/>
                </a:lnTo>
                <a:lnTo>
                  <a:pt x="835" y="321"/>
                </a:lnTo>
                <a:lnTo>
                  <a:pt x="839" y="321"/>
                </a:lnTo>
                <a:lnTo>
                  <a:pt x="841" y="321"/>
                </a:lnTo>
                <a:lnTo>
                  <a:pt x="843" y="321"/>
                </a:lnTo>
                <a:lnTo>
                  <a:pt x="844" y="320"/>
                </a:lnTo>
                <a:lnTo>
                  <a:pt x="846" y="320"/>
                </a:lnTo>
                <a:lnTo>
                  <a:pt x="849" y="318"/>
                </a:lnTo>
                <a:lnTo>
                  <a:pt x="851" y="318"/>
                </a:lnTo>
                <a:lnTo>
                  <a:pt x="853" y="317"/>
                </a:lnTo>
                <a:lnTo>
                  <a:pt x="857" y="317"/>
                </a:lnTo>
                <a:lnTo>
                  <a:pt x="857" y="317"/>
                </a:lnTo>
                <a:lnTo>
                  <a:pt x="859" y="316"/>
                </a:lnTo>
                <a:lnTo>
                  <a:pt x="861" y="315"/>
                </a:lnTo>
                <a:lnTo>
                  <a:pt x="861" y="315"/>
                </a:lnTo>
                <a:lnTo>
                  <a:pt x="862" y="315"/>
                </a:lnTo>
                <a:lnTo>
                  <a:pt x="863" y="315"/>
                </a:lnTo>
                <a:lnTo>
                  <a:pt x="864" y="315"/>
                </a:lnTo>
                <a:lnTo>
                  <a:pt x="864" y="315"/>
                </a:lnTo>
                <a:lnTo>
                  <a:pt x="865" y="315"/>
                </a:lnTo>
                <a:lnTo>
                  <a:pt x="866" y="315"/>
                </a:lnTo>
                <a:lnTo>
                  <a:pt x="867" y="316"/>
                </a:lnTo>
                <a:lnTo>
                  <a:pt x="868" y="316"/>
                </a:lnTo>
                <a:lnTo>
                  <a:pt x="869" y="317"/>
                </a:lnTo>
                <a:lnTo>
                  <a:pt x="870" y="318"/>
                </a:lnTo>
                <a:lnTo>
                  <a:pt x="871" y="318"/>
                </a:lnTo>
                <a:lnTo>
                  <a:pt x="871" y="319"/>
                </a:lnTo>
                <a:lnTo>
                  <a:pt x="871" y="320"/>
                </a:lnTo>
                <a:lnTo>
                  <a:pt x="872" y="321"/>
                </a:lnTo>
                <a:lnTo>
                  <a:pt x="872" y="322"/>
                </a:lnTo>
                <a:lnTo>
                  <a:pt x="872" y="322"/>
                </a:lnTo>
                <a:lnTo>
                  <a:pt x="871" y="323"/>
                </a:lnTo>
                <a:lnTo>
                  <a:pt x="871" y="324"/>
                </a:lnTo>
                <a:lnTo>
                  <a:pt x="871" y="325"/>
                </a:lnTo>
                <a:lnTo>
                  <a:pt x="871" y="326"/>
                </a:lnTo>
                <a:lnTo>
                  <a:pt x="871" y="327"/>
                </a:lnTo>
                <a:lnTo>
                  <a:pt x="872" y="327"/>
                </a:lnTo>
                <a:lnTo>
                  <a:pt x="872" y="328"/>
                </a:lnTo>
                <a:lnTo>
                  <a:pt x="873" y="329"/>
                </a:lnTo>
                <a:lnTo>
                  <a:pt x="874" y="330"/>
                </a:lnTo>
                <a:lnTo>
                  <a:pt x="876" y="331"/>
                </a:lnTo>
                <a:lnTo>
                  <a:pt x="878" y="333"/>
                </a:lnTo>
                <a:lnTo>
                  <a:pt x="880" y="333"/>
                </a:lnTo>
                <a:lnTo>
                  <a:pt x="880" y="334"/>
                </a:lnTo>
                <a:lnTo>
                  <a:pt x="881" y="335"/>
                </a:lnTo>
                <a:lnTo>
                  <a:pt x="884" y="339"/>
                </a:lnTo>
                <a:lnTo>
                  <a:pt x="885" y="340"/>
                </a:lnTo>
                <a:lnTo>
                  <a:pt x="885" y="341"/>
                </a:lnTo>
                <a:lnTo>
                  <a:pt x="886" y="342"/>
                </a:lnTo>
                <a:lnTo>
                  <a:pt x="886" y="343"/>
                </a:lnTo>
                <a:lnTo>
                  <a:pt x="886" y="344"/>
                </a:lnTo>
                <a:lnTo>
                  <a:pt x="885" y="345"/>
                </a:lnTo>
                <a:lnTo>
                  <a:pt x="885" y="347"/>
                </a:lnTo>
                <a:lnTo>
                  <a:pt x="884" y="349"/>
                </a:lnTo>
                <a:lnTo>
                  <a:pt x="884" y="349"/>
                </a:lnTo>
                <a:lnTo>
                  <a:pt x="883" y="350"/>
                </a:lnTo>
                <a:lnTo>
                  <a:pt x="882" y="350"/>
                </a:lnTo>
                <a:lnTo>
                  <a:pt x="882" y="351"/>
                </a:lnTo>
                <a:lnTo>
                  <a:pt x="880" y="351"/>
                </a:lnTo>
                <a:lnTo>
                  <a:pt x="879" y="352"/>
                </a:lnTo>
                <a:lnTo>
                  <a:pt x="876" y="353"/>
                </a:lnTo>
                <a:lnTo>
                  <a:pt x="873" y="353"/>
                </a:lnTo>
                <a:lnTo>
                  <a:pt x="872" y="354"/>
                </a:lnTo>
                <a:lnTo>
                  <a:pt x="871" y="354"/>
                </a:lnTo>
                <a:lnTo>
                  <a:pt x="870" y="354"/>
                </a:lnTo>
                <a:lnTo>
                  <a:pt x="870" y="355"/>
                </a:lnTo>
                <a:lnTo>
                  <a:pt x="869" y="355"/>
                </a:lnTo>
                <a:lnTo>
                  <a:pt x="868" y="356"/>
                </a:lnTo>
                <a:lnTo>
                  <a:pt x="867" y="359"/>
                </a:lnTo>
                <a:lnTo>
                  <a:pt x="866" y="361"/>
                </a:lnTo>
                <a:lnTo>
                  <a:pt x="865" y="362"/>
                </a:lnTo>
                <a:lnTo>
                  <a:pt x="864" y="364"/>
                </a:lnTo>
                <a:lnTo>
                  <a:pt x="864" y="365"/>
                </a:lnTo>
                <a:lnTo>
                  <a:pt x="863" y="368"/>
                </a:lnTo>
                <a:lnTo>
                  <a:pt x="863" y="369"/>
                </a:lnTo>
                <a:lnTo>
                  <a:pt x="863" y="370"/>
                </a:lnTo>
                <a:lnTo>
                  <a:pt x="862" y="371"/>
                </a:lnTo>
                <a:lnTo>
                  <a:pt x="861" y="372"/>
                </a:lnTo>
                <a:lnTo>
                  <a:pt x="859" y="376"/>
                </a:lnTo>
                <a:lnTo>
                  <a:pt x="859" y="377"/>
                </a:lnTo>
                <a:lnTo>
                  <a:pt x="858" y="378"/>
                </a:lnTo>
                <a:lnTo>
                  <a:pt x="857" y="382"/>
                </a:lnTo>
                <a:lnTo>
                  <a:pt x="856" y="383"/>
                </a:lnTo>
                <a:lnTo>
                  <a:pt x="856" y="384"/>
                </a:lnTo>
                <a:lnTo>
                  <a:pt x="855" y="385"/>
                </a:lnTo>
                <a:lnTo>
                  <a:pt x="854" y="386"/>
                </a:lnTo>
                <a:lnTo>
                  <a:pt x="851" y="390"/>
                </a:lnTo>
                <a:lnTo>
                  <a:pt x="849" y="392"/>
                </a:lnTo>
                <a:lnTo>
                  <a:pt x="848" y="392"/>
                </a:lnTo>
                <a:lnTo>
                  <a:pt x="846" y="395"/>
                </a:lnTo>
                <a:lnTo>
                  <a:pt x="845" y="397"/>
                </a:lnTo>
                <a:lnTo>
                  <a:pt x="844" y="398"/>
                </a:lnTo>
                <a:lnTo>
                  <a:pt x="843" y="400"/>
                </a:lnTo>
                <a:lnTo>
                  <a:pt x="843" y="400"/>
                </a:lnTo>
                <a:lnTo>
                  <a:pt x="843" y="401"/>
                </a:lnTo>
                <a:lnTo>
                  <a:pt x="843" y="402"/>
                </a:lnTo>
                <a:lnTo>
                  <a:pt x="843" y="402"/>
                </a:lnTo>
                <a:lnTo>
                  <a:pt x="843" y="403"/>
                </a:lnTo>
                <a:lnTo>
                  <a:pt x="843" y="404"/>
                </a:lnTo>
                <a:lnTo>
                  <a:pt x="843" y="404"/>
                </a:lnTo>
                <a:lnTo>
                  <a:pt x="844" y="404"/>
                </a:lnTo>
                <a:lnTo>
                  <a:pt x="845" y="405"/>
                </a:lnTo>
                <a:lnTo>
                  <a:pt x="845" y="405"/>
                </a:lnTo>
                <a:lnTo>
                  <a:pt x="848" y="405"/>
                </a:lnTo>
                <a:lnTo>
                  <a:pt x="849" y="405"/>
                </a:lnTo>
                <a:lnTo>
                  <a:pt x="850" y="405"/>
                </a:lnTo>
                <a:lnTo>
                  <a:pt x="851" y="406"/>
                </a:lnTo>
                <a:lnTo>
                  <a:pt x="852" y="406"/>
                </a:lnTo>
                <a:lnTo>
                  <a:pt x="852" y="406"/>
                </a:lnTo>
                <a:lnTo>
                  <a:pt x="853" y="407"/>
                </a:lnTo>
                <a:lnTo>
                  <a:pt x="854" y="408"/>
                </a:lnTo>
                <a:lnTo>
                  <a:pt x="855" y="409"/>
                </a:lnTo>
                <a:lnTo>
                  <a:pt x="856" y="412"/>
                </a:lnTo>
                <a:lnTo>
                  <a:pt x="857" y="413"/>
                </a:lnTo>
                <a:lnTo>
                  <a:pt x="858" y="414"/>
                </a:lnTo>
                <a:lnTo>
                  <a:pt x="859" y="415"/>
                </a:lnTo>
                <a:lnTo>
                  <a:pt x="860" y="416"/>
                </a:lnTo>
                <a:lnTo>
                  <a:pt x="862" y="417"/>
                </a:lnTo>
                <a:lnTo>
                  <a:pt x="864" y="418"/>
                </a:lnTo>
                <a:lnTo>
                  <a:pt x="867" y="419"/>
                </a:lnTo>
                <a:lnTo>
                  <a:pt x="869" y="421"/>
                </a:lnTo>
                <a:lnTo>
                  <a:pt x="871" y="421"/>
                </a:lnTo>
                <a:lnTo>
                  <a:pt x="872" y="422"/>
                </a:lnTo>
                <a:lnTo>
                  <a:pt x="875" y="424"/>
                </a:lnTo>
                <a:lnTo>
                  <a:pt x="876" y="425"/>
                </a:lnTo>
                <a:lnTo>
                  <a:pt x="877" y="426"/>
                </a:lnTo>
                <a:lnTo>
                  <a:pt x="877" y="427"/>
                </a:lnTo>
                <a:lnTo>
                  <a:pt x="878" y="428"/>
                </a:lnTo>
                <a:lnTo>
                  <a:pt x="879" y="429"/>
                </a:lnTo>
                <a:lnTo>
                  <a:pt x="879" y="430"/>
                </a:lnTo>
                <a:lnTo>
                  <a:pt x="881" y="433"/>
                </a:lnTo>
                <a:lnTo>
                  <a:pt x="881" y="434"/>
                </a:lnTo>
                <a:lnTo>
                  <a:pt x="882" y="435"/>
                </a:lnTo>
                <a:lnTo>
                  <a:pt x="882" y="435"/>
                </a:lnTo>
                <a:lnTo>
                  <a:pt x="882" y="436"/>
                </a:lnTo>
                <a:lnTo>
                  <a:pt x="880" y="438"/>
                </a:lnTo>
                <a:lnTo>
                  <a:pt x="879" y="439"/>
                </a:lnTo>
                <a:lnTo>
                  <a:pt x="879" y="439"/>
                </a:lnTo>
                <a:lnTo>
                  <a:pt x="878" y="439"/>
                </a:lnTo>
                <a:lnTo>
                  <a:pt x="878" y="440"/>
                </a:lnTo>
                <a:lnTo>
                  <a:pt x="876" y="440"/>
                </a:lnTo>
                <a:lnTo>
                  <a:pt x="876" y="440"/>
                </a:lnTo>
                <a:lnTo>
                  <a:pt x="875" y="440"/>
                </a:lnTo>
                <a:lnTo>
                  <a:pt x="875" y="441"/>
                </a:lnTo>
                <a:lnTo>
                  <a:pt x="875" y="442"/>
                </a:lnTo>
                <a:lnTo>
                  <a:pt x="875" y="442"/>
                </a:lnTo>
                <a:lnTo>
                  <a:pt x="874" y="444"/>
                </a:lnTo>
                <a:lnTo>
                  <a:pt x="874" y="445"/>
                </a:lnTo>
                <a:lnTo>
                  <a:pt x="873" y="446"/>
                </a:lnTo>
                <a:lnTo>
                  <a:pt x="872" y="446"/>
                </a:lnTo>
                <a:lnTo>
                  <a:pt x="872" y="447"/>
                </a:lnTo>
                <a:lnTo>
                  <a:pt x="872" y="447"/>
                </a:lnTo>
                <a:lnTo>
                  <a:pt x="872" y="447"/>
                </a:lnTo>
                <a:lnTo>
                  <a:pt x="873" y="448"/>
                </a:lnTo>
                <a:lnTo>
                  <a:pt x="873" y="448"/>
                </a:lnTo>
                <a:lnTo>
                  <a:pt x="873" y="448"/>
                </a:lnTo>
                <a:lnTo>
                  <a:pt x="873" y="449"/>
                </a:lnTo>
                <a:lnTo>
                  <a:pt x="872" y="449"/>
                </a:lnTo>
                <a:lnTo>
                  <a:pt x="870" y="450"/>
                </a:lnTo>
                <a:lnTo>
                  <a:pt x="870" y="451"/>
                </a:lnTo>
                <a:lnTo>
                  <a:pt x="869" y="451"/>
                </a:lnTo>
                <a:lnTo>
                  <a:pt x="868" y="451"/>
                </a:lnTo>
                <a:lnTo>
                  <a:pt x="868" y="452"/>
                </a:lnTo>
                <a:lnTo>
                  <a:pt x="867" y="452"/>
                </a:lnTo>
                <a:lnTo>
                  <a:pt x="867" y="453"/>
                </a:lnTo>
                <a:lnTo>
                  <a:pt x="865" y="458"/>
                </a:lnTo>
                <a:lnTo>
                  <a:pt x="864" y="460"/>
                </a:lnTo>
                <a:lnTo>
                  <a:pt x="863" y="461"/>
                </a:lnTo>
                <a:lnTo>
                  <a:pt x="863" y="461"/>
                </a:lnTo>
                <a:lnTo>
                  <a:pt x="862" y="461"/>
                </a:lnTo>
                <a:lnTo>
                  <a:pt x="861" y="460"/>
                </a:lnTo>
                <a:lnTo>
                  <a:pt x="859" y="459"/>
                </a:lnTo>
                <a:lnTo>
                  <a:pt x="857" y="458"/>
                </a:lnTo>
                <a:lnTo>
                  <a:pt x="855" y="456"/>
                </a:lnTo>
                <a:lnTo>
                  <a:pt x="853" y="454"/>
                </a:lnTo>
                <a:lnTo>
                  <a:pt x="851" y="452"/>
                </a:lnTo>
                <a:lnTo>
                  <a:pt x="849" y="450"/>
                </a:lnTo>
                <a:lnTo>
                  <a:pt x="845" y="445"/>
                </a:lnTo>
                <a:lnTo>
                  <a:pt x="843" y="443"/>
                </a:lnTo>
                <a:lnTo>
                  <a:pt x="842" y="442"/>
                </a:lnTo>
                <a:lnTo>
                  <a:pt x="841" y="441"/>
                </a:lnTo>
                <a:lnTo>
                  <a:pt x="839" y="439"/>
                </a:lnTo>
                <a:lnTo>
                  <a:pt x="837" y="438"/>
                </a:lnTo>
                <a:lnTo>
                  <a:pt x="836" y="437"/>
                </a:lnTo>
                <a:lnTo>
                  <a:pt x="834" y="437"/>
                </a:lnTo>
                <a:lnTo>
                  <a:pt x="833" y="436"/>
                </a:lnTo>
                <a:lnTo>
                  <a:pt x="831" y="436"/>
                </a:lnTo>
                <a:lnTo>
                  <a:pt x="829" y="435"/>
                </a:lnTo>
                <a:lnTo>
                  <a:pt x="826" y="435"/>
                </a:lnTo>
                <a:lnTo>
                  <a:pt x="825" y="434"/>
                </a:lnTo>
                <a:lnTo>
                  <a:pt x="819" y="433"/>
                </a:lnTo>
                <a:lnTo>
                  <a:pt x="817" y="432"/>
                </a:lnTo>
                <a:lnTo>
                  <a:pt x="815" y="432"/>
                </a:lnTo>
                <a:lnTo>
                  <a:pt x="814" y="432"/>
                </a:lnTo>
                <a:lnTo>
                  <a:pt x="812" y="431"/>
                </a:lnTo>
                <a:lnTo>
                  <a:pt x="811" y="430"/>
                </a:lnTo>
                <a:lnTo>
                  <a:pt x="809" y="429"/>
                </a:lnTo>
                <a:lnTo>
                  <a:pt x="806" y="428"/>
                </a:lnTo>
                <a:lnTo>
                  <a:pt x="800" y="424"/>
                </a:lnTo>
                <a:lnTo>
                  <a:pt x="795" y="420"/>
                </a:lnTo>
                <a:lnTo>
                  <a:pt x="793" y="418"/>
                </a:lnTo>
                <a:lnTo>
                  <a:pt x="791" y="417"/>
                </a:lnTo>
                <a:lnTo>
                  <a:pt x="788" y="416"/>
                </a:lnTo>
                <a:lnTo>
                  <a:pt x="786" y="415"/>
                </a:lnTo>
                <a:lnTo>
                  <a:pt x="783" y="414"/>
                </a:lnTo>
                <a:lnTo>
                  <a:pt x="782" y="414"/>
                </a:lnTo>
                <a:lnTo>
                  <a:pt x="780" y="413"/>
                </a:lnTo>
                <a:lnTo>
                  <a:pt x="778" y="413"/>
                </a:lnTo>
                <a:lnTo>
                  <a:pt x="776" y="413"/>
                </a:lnTo>
                <a:lnTo>
                  <a:pt x="773" y="413"/>
                </a:lnTo>
                <a:lnTo>
                  <a:pt x="769" y="414"/>
                </a:lnTo>
                <a:lnTo>
                  <a:pt x="768" y="414"/>
                </a:lnTo>
                <a:lnTo>
                  <a:pt x="766" y="414"/>
                </a:lnTo>
                <a:lnTo>
                  <a:pt x="764" y="413"/>
                </a:lnTo>
                <a:lnTo>
                  <a:pt x="762" y="413"/>
                </a:lnTo>
                <a:lnTo>
                  <a:pt x="761" y="413"/>
                </a:lnTo>
                <a:lnTo>
                  <a:pt x="760" y="412"/>
                </a:lnTo>
                <a:lnTo>
                  <a:pt x="758" y="412"/>
                </a:lnTo>
                <a:lnTo>
                  <a:pt x="755" y="410"/>
                </a:lnTo>
                <a:lnTo>
                  <a:pt x="754" y="410"/>
                </a:lnTo>
                <a:lnTo>
                  <a:pt x="753" y="410"/>
                </a:lnTo>
                <a:lnTo>
                  <a:pt x="753" y="410"/>
                </a:lnTo>
                <a:lnTo>
                  <a:pt x="752" y="410"/>
                </a:lnTo>
                <a:lnTo>
                  <a:pt x="752" y="410"/>
                </a:lnTo>
                <a:lnTo>
                  <a:pt x="751" y="410"/>
                </a:lnTo>
                <a:lnTo>
                  <a:pt x="751" y="410"/>
                </a:lnTo>
                <a:lnTo>
                  <a:pt x="750" y="411"/>
                </a:lnTo>
                <a:lnTo>
                  <a:pt x="750" y="412"/>
                </a:lnTo>
                <a:lnTo>
                  <a:pt x="750" y="413"/>
                </a:lnTo>
                <a:lnTo>
                  <a:pt x="748" y="417"/>
                </a:lnTo>
                <a:lnTo>
                  <a:pt x="748" y="419"/>
                </a:lnTo>
                <a:lnTo>
                  <a:pt x="746" y="421"/>
                </a:lnTo>
                <a:lnTo>
                  <a:pt x="745" y="425"/>
                </a:lnTo>
                <a:lnTo>
                  <a:pt x="744" y="426"/>
                </a:lnTo>
                <a:lnTo>
                  <a:pt x="743" y="427"/>
                </a:lnTo>
                <a:lnTo>
                  <a:pt x="742" y="428"/>
                </a:lnTo>
                <a:lnTo>
                  <a:pt x="741" y="428"/>
                </a:lnTo>
                <a:lnTo>
                  <a:pt x="740" y="429"/>
                </a:lnTo>
                <a:lnTo>
                  <a:pt x="740" y="429"/>
                </a:lnTo>
                <a:lnTo>
                  <a:pt x="738" y="429"/>
                </a:lnTo>
                <a:lnTo>
                  <a:pt x="737" y="429"/>
                </a:lnTo>
                <a:lnTo>
                  <a:pt x="733" y="430"/>
                </a:lnTo>
                <a:lnTo>
                  <a:pt x="729" y="430"/>
                </a:lnTo>
                <a:lnTo>
                  <a:pt x="727" y="430"/>
                </a:lnTo>
                <a:lnTo>
                  <a:pt x="725" y="430"/>
                </a:lnTo>
                <a:lnTo>
                  <a:pt x="723" y="431"/>
                </a:lnTo>
                <a:lnTo>
                  <a:pt x="720" y="432"/>
                </a:lnTo>
                <a:lnTo>
                  <a:pt x="718" y="433"/>
                </a:lnTo>
                <a:lnTo>
                  <a:pt x="713" y="435"/>
                </a:lnTo>
                <a:lnTo>
                  <a:pt x="711" y="436"/>
                </a:lnTo>
                <a:lnTo>
                  <a:pt x="710" y="436"/>
                </a:lnTo>
                <a:lnTo>
                  <a:pt x="709" y="436"/>
                </a:lnTo>
                <a:lnTo>
                  <a:pt x="708" y="437"/>
                </a:lnTo>
                <a:lnTo>
                  <a:pt x="705" y="437"/>
                </a:lnTo>
                <a:lnTo>
                  <a:pt x="703" y="437"/>
                </a:lnTo>
                <a:lnTo>
                  <a:pt x="703" y="437"/>
                </a:lnTo>
                <a:lnTo>
                  <a:pt x="702" y="437"/>
                </a:lnTo>
                <a:lnTo>
                  <a:pt x="701" y="436"/>
                </a:lnTo>
                <a:lnTo>
                  <a:pt x="701" y="436"/>
                </a:lnTo>
                <a:lnTo>
                  <a:pt x="700" y="436"/>
                </a:lnTo>
                <a:lnTo>
                  <a:pt x="700" y="436"/>
                </a:lnTo>
                <a:lnTo>
                  <a:pt x="700" y="435"/>
                </a:lnTo>
                <a:lnTo>
                  <a:pt x="700" y="435"/>
                </a:lnTo>
                <a:lnTo>
                  <a:pt x="700" y="434"/>
                </a:lnTo>
                <a:lnTo>
                  <a:pt x="699" y="433"/>
                </a:lnTo>
                <a:lnTo>
                  <a:pt x="699" y="432"/>
                </a:lnTo>
                <a:lnTo>
                  <a:pt x="700" y="427"/>
                </a:lnTo>
                <a:lnTo>
                  <a:pt x="700" y="426"/>
                </a:lnTo>
                <a:lnTo>
                  <a:pt x="700" y="425"/>
                </a:lnTo>
                <a:lnTo>
                  <a:pt x="699" y="424"/>
                </a:lnTo>
                <a:lnTo>
                  <a:pt x="699" y="422"/>
                </a:lnTo>
                <a:lnTo>
                  <a:pt x="698" y="419"/>
                </a:lnTo>
                <a:lnTo>
                  <a:pt x="698" y="418"/>
                </a:lnTo>
                <a:lnTo>
                  <a:pt x="697" y="414"/>
                </a:lnTo>
                <a:lnTo>
                  <a:pt x="696" y="411"/>
                </a:lnTo>
                <a:lnTo>
                  <a:pt x="695" y="410"/>
                </a:lnTo>
                <a:lnTo>
                  <a:pt x="695" y="409"/>
                </a:lnTo>
                <a:lnTo>
                  <a:pt x="694" y="409"/>
                </a:lnTo>
                <a:lnTo>
                  <a:pt x="693" y="408"/>
                </a:lnTo>
                <a:lnTo>
                  <a:pt x="693" y="407"/>
                </a:lnTo>
                <a:lnTo>
                  <a:pt x="692" y="406"/>
                </a:lnTo>
                <a:lnTo>
                  <a:pt x="690" y="405"/>
                </a:lnTo>
                <a:lnTo>
                  <a:pt x="689" y="404"/>
                </a:lnTo>
                <a:lnTo>
                  <a:pt x="687" y="404"/>
                </a:lnTo>
                <a:lnTo>
                  <a:pt x="685" y="404"/>
                </a:lnTo>
                <a:lnTo>
                  <a:pt x="683" y="403"/>
                </a:lnTo>
                <a:lnTo>
                  <a:pt x="680" y="403"/>
                </a:lnTo>
                <a:lnTo>
                  <a:pt x="678" y="403"/>
                </a:lnTo>
                <a:lnTo>
                  <a:pt x="674" y="403"/>
                </a:lnTo>
                <a:lnTo>
                  <a:pt x="672" y="403"/>
                </a:lnTo>
                <a:lnTo>
                  <a:pt x="670" y="403"/>
                </a:lnTo>
                <a:lnTo>
                  <a:pt x="668" y="402"/>
                </a:lnTo>
                <a:lnTo>
                  <a:pt x="666" y="402"/>
                </a:lnTo>
                <a:lnTo>
                  <a:pt x="665" y="402"/>
                </a:lnTo>
                <a:lnTo>
                  <a:pt x="663" y="401"/>
                </a:lnTo>
                <a:lnTo>
                  <a:pt x="662" y="401"/>
                </a:lnTo>
                <a:lnTo>
                  <a:pt x="661" y="400"/>
                </a:lnTo>
                <a:lnTo>
                  <a:pt x="660" y="399"/>
                </a:lnTo>
                <a:lnTo>
                  <a:pt x="659" y="398"/>
                </a:lnTo>
                <a:lnTo>
                  <a:pt x="656" y="396"/>
                </a:lnTo>
                <a:lnTo>
                  <a:pt x="655" y="395"/>
                </a:lnTo>
                <a:lnTo>
                  <a:pt x="654" y="395"/>
                </a:lnTo>
                <a:lnTo>
                  <a:pt x="654" y="394"/>
                </a:lnTo>
                <a:lnTo>
                  <a:pt x="653" y="394"/>
                </a:lnTo>
                <a:lnTo>
                  <a:pt x="652" y="393"/>
                </a:lnTo>
                <a:lnTo>
                  <a:pt x="651" y="393"/>
                </a:lnTo>
                <a:lnTo>
                  <a:pt x="646" y="392"/>
                </a:lnTo>
                <a:lnTo>
                  <a:pt x="641" y="391"/>
                </a:lnTo>
                <a:lnTo>
                  <a:pt x="640" y="391"/>
                </a:lnTo>
                <a:lnTo>
                  <a:pt x="639" y="391"/>
                </a:lnTo>
                <a:lnTo>
                  <a:pt x="638" y="391"/>
                </a:lnTo>
                <a:lnTo>
                  <a:pt x="636" y="391"/>
                </a:lnTo>
                <a:lnTo>
                  <a:pt x="635" y="392"/>
                </a:lnTo>
                <a:lnTo>
                  <a:pt x="633" y="392"/>
                </a:lnTo>
                <a:lnTo>
                  <a:pt x="631" y="393"/>
                </a:lnTo>
                <a:lnTo>
                  <a:pt x="630" y="394"/>
                </a:lnTo>
                <a:lnTo>
                  <a:pt x="629" y="395"/>
                </a:lnTo>
                <a:lnTo>
                  <a:pt x="629" y="395"/>
                </a:lnTo>
                <a:lnTo>
                  <a:pt x="628" y="396"/>
                </a:lnTo>
                <a:lnTo>
                  <a:pt x="628" y="396"/>
                </a:lnTo>
                <a:lnTo>
                  <a:pt x="628" y="397"/>
                </a:lnTo>
                <a:lnTo>
                  <a:pt x="627" y="400"/>
                </a:lnTo>
                <a:lnTo>
                  <a:pt x="627" y="402"/>
                </a:lnTo>
                <a:lnTo>
                  <a:pt x="626" y="403"/>
                </a:lnTo>
                <a:lnTo>
                  <a:pt x="626" y="405"/>
                </a:lnTo>
                <a:lnTo>
                  <a:pt x="625" y="407"/>
                </a:lnTo>
                <a:lnTo>
                  <a:pt x="623" y="410"/>
                </a:lnTo>
                <a:lnTo>
                  <a:pt x="622" y="412"/>
                </a:lnTo>
                <a:lnTo>
                  <a:pt x="622" y="413"/>
                </a:lnTo>
                <a:lnTo>
                  <a:pt x="621" y="415"/>
                </a:lnTo>
                <a:lnTo>
                  <a:pt x="621" y="417"/>
                </a:lnTo>
                <a:lnTo>
                  <a:pt x="620" y="418"/>
                </a:lnTo>
                <a:lnTo>
                  <a:pt x="620" y="420"/>
                </a:lnTo>
                <a:lnTo>
                  <a:pt x="620" y="421"/>
                </a:lnTo>
                <a:lnTo>
                  <a:pt x="620" y="423"/>
                </a:lnTo>
                <a:lnTo>
                  <a:pt x="620" y="426"/>
                </a:lnTo>
                <a:lnTo>
                  <a:pt x="620" y="429"/>
                </a:lnTo>
                <a:lnTo>
                  <a:pt x="620" y="432"/>
                </a:lnTo>
                <a:lnTo>
                  <a:pt x="621" y="436"/>
                </a:lnTo>
                <a:lnTo>
                  <a:pt x="621" y="442"/>
                </a:lnTo>
                <a:lnTo>
                  <a:pt x="622" y="447"/>
                </a:lnTo>
                <a:lnTo>
                  <a:pt x="622" y="449"/>
                </a:lnTo>
                <a:lnTo>
                  <a:pt x="624" y="457"/>
                </a:lnTo>
                <a:lnTo>
                  <a:pt x="624" y="459"/>
                </a:lnTo>
                <a:lnTo>
                  <a:pt x="624" y="461"/>
                </a:lnTo>
                <a:lnTo>
                  <a:pt x="624" y="463"/>
                </a:lnTo>
                <a:lnTo>
                  <a:pt x="624" y="465"/>
                </a:lnTo>
                <a:lnTo>
                  <a:pt x="624" y="467"/>
                </a:lnTo>
                <a:lnTo>
                  <a:pt x="624" y="469"/>
                </a:lnTo>
                <a:lnTo>
                  <a:pt x="623" y="472"/>
                </a:lnTo>
                <a:lnTo>
                  <a:pt x="621" y="481"/>
                </a:lnTo>
                <a:lnTo>
                  <a:pt x="621" y="482"/>
                </a:lnTo>
                <a:lnTo>
                  <a:pt x="620" y="485"/>
                </a:lnTo>
                <a:lnTo>
                  <a:pt x="620" y="486"/>
                </a:lnTo>
                <a:lnTo>
                  <a:pt x="619" y="489"/>
                </a:lnTo>
                <a:lnTo>
                  <a:pt x="619" y="491"/>
                </a:lnTo>
                <a:lnTo>
                  <a:pt x="619" y="493"/>
                </a:lnTo>
                <a:lnTo>
                  <a:pt x="619" y="496"/>
                </a:lnTo>
                <a:lnTo>
                  <a:pt x="619" y="501"/>
                </a:lnTo>
                <a:lnTo>
                  <a:pt x="619" y="502"/>
                </a:lnTo>
                <a:lnTo>
                  <a:pt x="619" y="503"/>
                </a:lnTo>
                <a:lnTo>
                  <a:pt x="619" y="504"/>
                </a:lnTo>
                <a:lnTo>
                  <a:pt x="618" y="505"/>
                </a:lnTo>
                <a:lnTo>
                  <a:pt x="617" y="508"/>
                </a:lnTo>
                <a:lnTo>
                  <a:pt x="616" y="511"/>
                </a:lnTo>
                <a:lnTo>
                  <a:pt x="614" y="517"/>
                </a:lnTo>
                <a:lnTo>
                  <a:pt x="613" y="522"/>
                </a:lnTo>
                <a:lnTo>
                  <a:pt x="612" y="524"/>
                </a:lnTo>
                <a:lnTo>
                  <a:pt x="612" y="526"/>
                </a:lnTo>
                <a:lnTo>
                  <a:pt x="612" y="528"/>
                </a:lnTo>
                <a:lnTo>
                  <a:pt x="611" y="531"/>
                </a:lnTo>
                <a:lnTo>
                  <a:pt x="611" y="533"/>
                </a:lnTo>
                <a:lnTo>
                  <a:pt x="611" y="535"/>
                </a:lnTo>
                <a:lnTo>
                  <a:pt x="611" y="536"/>
                </a:lnTo>
                <a:lnTo>
                  <a:pt x="612" y="538"/>
                </a:lnTo>
                <a:lnTo>
                  <a:pt x="612" y="539"/>
                </a:lnTo>
                <a:lnTo>
                  <a:pt x="612" y="540"/>
                </a:lnTo>
                <a:lnTo>
                  <a:pt x="613" y="541"/>
                </a:lnTo>
                <a:lnTo>
                  <a:pt x="615" y="544"/>
                </a:lnTo>
                <a:lnTo>
                  <a:pt x="616" y="545"/>
                </a:lnTo>
                <a:lnTo>
                  <a:pt x="616" y="546"/>
                </a:lnTo>
                <a:lnTo>
                  <a:pt x="617" y="547"/>
                </a:lnTo>
                <a:lnTo>
                  <a:pt x="617" y="548"/>
                </a:lnTo>
                <a:lnTo>
                  <a:pt x="617" y="550"/>
                </a:lnTo>
                <a:lnTo>
                  <a:pt x="617" y="551"/>
                </a:lnTo>
                <a:lnTo>
                  <a:pt x="616" y="552"/>
                </a:lnTo>
                <a:lnTo>
                  <a:pt x="616" y="553"/>
                </a:lnTo>
                <a:lnTo>
                  <a:pt x="615" y="554"/>
                </a:lnTo>
                <a:lnTo>
                  <a:pt x="614" y="555"/>
                </a:lnTo>
                <a:lnTo>
                  <a:pt x="612" y="556"/>
                </a:lnTo>
                <a:lnTo>
                  <a:pt x="611" y="557"/>
                </a:lnTo>
                <a:lnTo>
                  <a:pt x="610" y="557"/>
                </a:lnTo>
                <a:lnTo>
                  <a:pt x="609" y="557"/>
                </a:lnTo>
                <a:lnTo>
                  <a:pt x="607" y="557"/>
                </a:lnTo>
                <a:lnTo>
                  <a:pt x="604" y="557"/>
                </a:lnTo>
                <a:lnTo>
                  <a:pt x="602" y="556"/>
                </a:lnTo>
                <a:lnTo>
                  <a:pt x="595" y="555"/>
                </a:lnTo>
                <a:lnTo>
                  <a:pt x="591" y="553"/>
                </a:lnTo>
                <a:lnTo>
                  <a:pt x="589" y="553"/>
                </a:lnTo>
                <a:lnTo>
                  <a:pt x="587" y="552"/>
                </a:lnTo>
                <a:lnTo>
                  <a:pt x="582" y="550"/>
                </a:lnTo>
                <a:lnTo>
                  <a:pt x="581" y="550"/>
                </a:lnTo>
                <a:lnTo>
                  <a:pt x="578" y="548"/>
                </a:lnTo>
                <a:lnTo>
                  <a:pt x="577" y="548"/>
                </a:lnTo>
                <a:lnTo>
                  <a:pt x="575" y="547"/>
                </a:lnTo>
                <a:lnTo>
                  <a:pt x="573" y="547"/>
                </a:lnTo>
                <a:lnTo>
                  <a:pt x="567" y="546"/>
                </a:lnTo>
                <a:lnTo>
                  <a:pt x="563" y="545"/>
                </a:lnTo>
                <a:lnTo>
                  <a:pt x="561" y="545"/>
                </a:lnTo>
                <a:lnTo>
                  <a:pt x="560" y="545"/>
                </a:lnTo>
                <a:lnTo>
                  <a:pt x="558" y="545"/>
                </a:lnTo>
                <a:lnTo>
                  <a:pt x="557" y="545"/>
                </a:lnTo>
                <a:lnTo>
                  <a:pt x="555" y="545"/>
                </a:lnTo>
                <a:lnTo>
                  <a:pt x="554" y="545"/>
                </a:lnTo>
                <a:lnTo>
                  <a:pt x="553" y="546"/>
                </a:lnTo>
                <a:lnTo>
                  <a:pt x="552" y="546"/>
                </a:lnTo>
                <a:lnTo>
                  <a:pt x="551" y="546"/>
                </a:lnTo>
                <a:lnTo>
                  <a:pt x="551" y="547"/>
                </a:lnTo>
                <a:lnTo>
                  <a:pt x="550" y="548"/>
                </a:lnTo>
                <a:lnTo>
                  <a:pt x="549" y="548"/>
                </a:lnTo>
                <a:lnTo>
                  <a:pt x="548" y="549"/>
                </a:lnTo>
                <a:lnTo>
                  <a:pt x="548" y="551"/>
                </a:lnTo>
                <a:lnTo>
                  <a:pt x="547" y="552"/>
                </a:lnTo>
                <a:lnTo>
                  <a:pt x="547" y="553"/>
                </a:lnTo>
                <a:lnTo>
                  <a:pt x="546" y="558"/>
                </a:lnTo>
                <a:lnTo>
                  <a:pt x="545" y="565"/>
                </a:lnTo>
                <a:lnTo>
                  <a:pt x="544" y="567"/>
                </a:lnTo>
                <a:lnTo>
                  <a:pt x="544" y="571"/>
                </a:lnTo>
                <a:lnTo>
                  <a:pt x="543" y="573"/>
                </a:lnTo>
                <a:lnTo>
                  <a:pt x="543" y="574"/>
                </a:lnTo>
                <a:lnTo>
                  <a:pt x="542" y="575"/>
                </a:lnTo>
                <a:lnTo>
                  <a:pt x="542" y="576"/>
                </a:lnTo>
                <a:lnTo>
                  <a:pt x="541" y="578"/>
                </a:lnTo>
                <a:lnTo>
                  <a:pt x="539" y="580"/>
                </a:lnTo>
                <a:lnTo>
                  <a:pt x="537" y="582"/>
                </a:lnTo>
                <a:lnTo>
                  <a:pt x="535" y="585"/>
                </a:lnTo>
                <a:lnTo>
                  <a:pt x="534" y="586"/>
                </a:lnTo>
                <a:lnTo>
                  <a:pt x="532" y="588"/>
                </a:lnTo>
                <a:lnTo>
                  <a:pt x="531" y="589"/>
                </a:lnTo>
                <a:lnTo>
                  <a:pt x="529" y="590"/>
                </a:lnTo>
                <a:lnTo>
                  <a:pt x="525" y="593"/>
                </a:lnTo>
                <a:lnTo>
                  <a:pt x="520" y="597"/>
                </a:lnTo>
                <a:lnTo>
                  <a:pt x="518" y="598"/>
                </a:lnTo>
                <a:lnTo>
                  <a:pt x="517" y="600"/>
                </a:lnTo>
                <a:lnTo>
                  <a:pt x="516" y="601"/>
                </a:lnTo>
                <a:lnTo>
                  <a:pt x="515" y="602"/>
                </a:lnTo>
                <a:lnTo>
                  <a:pt x="514" y="604"/>
                </a:lnTo>
                <a:lnTo>
                  <a:pt x="512" y="606"/>
                </a:lnTo>
                <a:lnTo>
                  <a:pt x="511" y="609"/>
                </a:lnTo>
                <a:lnTo>
                  <a:pt x="510" y="611"/>
                </a:lnTo>
                <a:lnTo>
                  <a:pt x="509" y="614"/>
                </a:lnTo>
                <a:lnTo>
                  <a:pt x="508" y="618"/>
                </a:lnTo>
                <a:lnTo>
                  <a:pt x="507" y="620"/>
                </a:lnTo>
                <a:lnTo>
                  <a:pt x="507" y="622"/>
                </a:lnTo>
                <a:lnTo>
                  <a:pt x="507" y="624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7" y="637"/>
                </a:lnTo>
                <a:lnTo>
                  <a:pt x="507" y="640"/>
                </a:lnTo>
                <a:lnTo>
                  <a:pt x="507" y="642"/>
                </a:lnTo>
                <a:lnTo>
                  <a:pt x="507" y="645"/>
                </a:lnTo>
                <a:lnTo>
                  <a:pt x="506" y="652"/>
                </a:lnTo>
                <a:lnTo>
                  <a:pt x="506" y="657"/>
                </a:lnTo>
                <a:lnTo>
                  <a:pt x="506" y="658"/>
                </a:lnTo>
                <a:lnTo>
                  <a:pt x="506" y="660"/>
                </a:lnTo>
                <a:lnTo>
                  <a:pt x="505" y="661"/>
                </a:lnTo>
                <a:lnTo>
                  <a:pt x="505" y="663"/>
                </a:lnTo>
                <a:lnTo>
                  <a:pt x="504" y="664"/>
                </a:lnTo>
                <a:lnTo>
                  <a:pt x="504" y="666"/>
                </a:lnTo>
                <a:lnTo>
                  <a:pt x="503" y="667"/>
                </a:lnTo>
                <a:lnTo>
                  <a:pt x="502" y="668"/>
                </a:lnTo>
                <a:lnTo>
                  <a:pt x="501" y="670"/>
                </a:lnTo>
                <a:lnTo>
                  <a:pt x="500" y="671"/>
                </a:lnTo>
                <a:lnTo>
                  <a:pt x="500" y="671"/>
                </a:lnTo>
                <a:lnTo>
                  <a:pt x="499" y="672"/>
                </a:lnTo>
                <a:lnTo>
                  <a:pt x="498" y="672"/>
                </a:lnTo>
                <a:lnTo>
                  <a:pt x="498" y="672"/>
                </a:lnTo>
                <a:lnTo>
                  <a:pt x="497" y="673"/>
                </a:lnTo>
                <a:lnTo>
                  <a:pt x="496" y="673"/>
                </a:lnTo>
                <a:lnTo>
                  <a:pt x="495" y="673"/>
                </a:lnTo>
                <a:lnTo>
                  <a:pt x="494" y="673"/>
                </a:lnTo>
                <a:lnTo>
                  <a:pt x="492" y="674"/>
                </a:lnTo>
                <a:lnTo>
                  <a:pt x="491" y="674"/>
                </a:lnTo>
                <a:lnTo>
                  <a:pt x="490" y="673"/>
                </a:lnTo>
                <a:lnTo>
                  <a:pt x="489" y="673"/>
                </a:lnTo>
                <a:lnTo>
                  <a:pt x="488" y="673"/>
                </a:lnTo>
                <a:lnTo>
                  <a:pt x="487" y="673"/>
                </a:lnTo>
                <a:lnTo>
                  <a:pt x="486" y="672"/>
                </a:lnTo>
                <a:lnTo>
                  <a:pt x="486" y="672"/>
                </a:lnTo>
                <a:lnTo>
                  <a:pt x="485" y="671"/>
                </a:lnTo>
                <a:lnTo>
                  <a:pt x="484" y="670"/>
                </a:lnTo>
                <a:lnTo>
                  <a:pt x="483" y="670"/>
                </a:lnTo>
                <a:lnTo>
                  <a:pt x="482" y="668"/>
                </a:lnTo>
                <a:lnTo>
                  <a:pt x="479" y="664"/>
                </a:lnTo>
                <a:lnTo>
                  <a:pt x="478" y="663"/>
                </a:lnTo>
                <a:lnTo>
                  <a:pt x="477" y="662"/>
                </a:lnTo>
                <a:lnTo>
                  <a:pt x="476" y="661"/>
                </a:lnTo>
                <a:lnTo>
                  <a:pt x="474" y="660"/>
                </a:lnTo>
                <a:lnTo>
                  <a:pt x="473" y="660"/>
                </a:lnTo>
                <a:lnTo>
                  <a:pt x="471" y="659"/>
                </a:lnTo>
                <a:lnTo>
                  <a:pt x="470" y="658"/>
                </a:lnTo>
                <a:lnTo>
                  <a:pt x="469" y="658"/>
                </a:lnTo>
                <a:lnTo>
                  <a:pt x="468" y="657"/>
                </a:lnTo>
                <a:lnTo>
                  <a:pt x="467" y="656"/>
                </a:lnTo>
                <a:lnTo>
                  <a:pt x="466" y="655"/>
                </a:lnTo>
                <a:lnTo>
                  <a:pt x="466" y="654"/>
                </a:lnTo>
                <a:lnTo>
                  <a:pt x="463" y="651"/>
                </a:lnTo>
                <a:lnTo>
                  <a:pt x="462" y="650"/>
                </a:lnTo>
                <a:lnTo>
                  <a:pt x="461" y="649"/>
                </a:lnTo>
                <a:lnTo>
                  <a:pt x="461" y="648"/>
                </a:lnTo>
                <a:lnTo>
                  <a:pt x="460" y="648"/>
                </a:lnTo>
                <a:lnTo>
                  <a:pt x="459" y="648"/>
                </a:lnTo>
                <a:lnTo>
                  <a:pt x="458" y="647"/>
                </a:lnTo>
                <a:lnTo>
                  <a:pt x="457" y="648"/>
                </a:lnTo>
                <a:lnTo>
                  <a:pt x="456" y="648"/>
                </a:lnTo>
                <a:lnTo>
                  <a:pt x="455" y="648"/>
                </a:lnTo>
                <a:lnTo>
                  <a:pt x="454" y="649"/>
                </a:lnTo>
                <a:lnTo>
                  <a:pt x="445" y="654"/>
                </a:lnTo>
                <a:lnTo>
                  <a:pt x="444" y="655"/>
                </a:lnTo>
                <a:lnTo>
                  <a:pt x="442" y="656"/>
                </a:lnTo>
                <a:lnTo>
                  <a:pt x="441" y="656"/>
                </a:lnTo>
                <a:lnTo>
                  <a:pt x="440" y="657"/>
                </a:lnTo>
                <a:lnTo>
                  <a:pt x="439" y="657"/>
                </a:lnTo>
                <a:lnTo>
                  <a:pt x="438" y="657"/>
                </a:lnTo>
                <a:lnTo>
                  <a:pt x="437" y="657"/>
                </a:lnTo>
                <a:lnTo>
                  <a:pt x="436" y="657"/>
                </a:lnTo>
                <a:lnTo>
                  <a:pt x="435" y="657"/>
                </a:lnTo>
                <a:lnTo>
                  <a:pt x="434" y="656"/>
                </a:lnTo>
                <a:lnTo>
                  <a:pt x="430" y="655"/>
                </a:lnTo>
                <a:lnTo>
                  <a:pt x="424" y="653"/>
                </a:lnTo>
                <a:lnTo>
                  <a:pt x="422" y="652"/>
                </a:lnTo>
                <a:lnTo>
                  <a:pt x="417" y="650"/>
                </a:lnTo>
                <a:lnTo>
                  <a:pt x="415" y="649"/>
                </a:lnTo>
                <a:lnTo>
                  <a:pt x="414" y="648"/>
                </a:lnTo>
                <a:lnTo>
                  <a:pt x="413" y="648"/>
                </a:lnTo>
                <a:lnTo>
                  <a:pt x="412" y="647"/>
                </a:lnTo>
                <a:lnTo>
                  <a:pt x="411" y="646"/>
                </a:lnTo>
                <a:lnTo>
                  <a:pt x="409" y="643"/>
                </a:lnTo>
                <a:lnTo>
                  <a:pt x="407" y="642"/>
                </a:lnTo>
                <a:lnTo>
                  <a:pt x="403" y="638"/>
                </a:lnTo>
                <a:lnTo>
                  <a:pt x="401" y="636"/>
                </a:lnTo>
                <a:lnTo>
                  <a:pt x="400" y="635"/>
                </a:lnTo>
                <a:lnTo>
                  <a:pt x="399" y="634"/>
                </a:lnTo>
                <a:lnTo>
                  <a:pt x="398" y="634"/>
                </a:lnTo>
                <a:lnTo>
                  <a:pt x="398" y="634"/>
                </a:lnTo>
                <a:lnTo>
                  <a:pt x="396" y="634"/>
                </a:lnTo>
                <a:lnTo>
                  <a:pt x="396" y="634"/>
                </a:lnTo>
                <a:lnTo>
                  <a:pt x="395" y="634"/>
                </a:lnTo>
                <a:lnTo>
                  <a:pt x="394" y="635"/>
                </a:lnTo>
                <a:lnTo>
                  <a:pt x="393" y="635"/>
                </a:lnTo>
                <a:lnTo>
                  <a:pt x="393" y="636"/>
                </a:lnTo>
                <a:lnTo>
                  <a:pt x="392" y="636"/>
                </a:lnTo>
                <a:lnTo>
                  <a:pt x="392" y="637"/>
                </a:lnTo>
                <a:lnTo>
                  <a:pt x="391" y="637"/>
                </a:lnTo>
                <a:lnTo>
                  <a:pt x="391" y="638"/>
                </a:lnTo>
                <a:lnTo>
                  <a:pt x="391" y="639"/>
                </a:lnTo>
                <a:lnTo>
                  <a:pt x="391" y="644"/>
                </a:lnTo>
                <a:lnTo>
                  <a:pt x="390" y="646"/>
                </a:lnTo>
                <a:lnTo>
                  <a:pt x="390" y="648"/>
                </a:lnTo>
                <a:lnTo>
                  <a:pt x="389" y="651"/>
                </a:lnTo>
                <a:lnTo>
                  <a:pt x="388" y="655"/>
                </a:lnTo>
                <a:lnTo>
                  <a:pt x="388" y="656"/>
                </a:lnTo>
                <a:lnTo>
                  <a:pt x="387" y="658"/>
                </a:lnTo>
                <a:lnTo>
                  <a:pt x="387" y="659"/>
                </a:lnTo>
                <a:lnTo>
                  <a:pt x="386" y="661"/>
                </a:lnTo>
                <a:lnTo>
                  <a:pt x="385" y="662"/>
                </a:lnTo>
                <a:lnTo>
                  <a:pt x="384" y="663"/>
                </a:lnTo>
                <a:lnTo>
                  <a:pt x="383" y="664"/>
                </a:lnTo>
                <a:lnTo>
                  <a:pt x="382" y="665"/>
                </a:lnTo>
                <a:lnTo>
                  <a:pt x="381" y="666"/>
                </a:lnTo>
                <a:lnTo>
                  <a:pt x="381" y="667"/>
                </a:lnTo>
                <a:lnTo>
                  <a:pt x="380" y="667"/>
                </a:lnTo>
                <a:lnTo>
                  <a:pt x="379" y="667"/>
                </a:lnTo>
                <a:lnTo>
                  <a:pt x="378" y="668"/>
                </a:lnTo>
                <a:lnTo>
                  <a:pt x="377" y="668"/>
                </a:lnTo>
                <a:lnTo>
                  <a:pt x="372" y="668"/>
                </a:lnTo>
                <a:lnTo>
                  <a:pt x="370" y="669"/>
                </a:lnTo>
                <a:lnTo>
                  <a:pt x="368" y="669"/>
                </a:lnTo>
                <a:lnTo>
                  <a:pt x="367" y="669"/>
                </a:lnTo>
                <a:lnTo>
                  <a:pt x="367" y="670"/>
                </a:lnTo>
                <a:lnTo>
                  <a:pt x="366" y="670"/>
                </a:lnTo>
                <a:lnTo>
                  <a:pt x="365" y="671"/>
                </a:lnTo>
                <a:lnTo>
                  <a:pt x="365" y="671"/>
                </a:lnTo>
                <a:lnTo>
                  <a:pt x="364" y="673"/>
                </a:lnTo>
                <a:lnTo>
                  <a:pt x="363" y="675"/>
                </a:lnTo>
                <a:lnTo>
                  <a:pt x="362" y="677"/>
                </a:lnTo>
                <a:lnTo>
                  <a:pt x="362" y="677"/>
                </a:lnTo>
                <a:lnTo>
                  <a:pt x="362" y="678"/>
                </a:lnTo>
                <a:lnTo>
                  <a:pt x="361" y="679"/>
                </a:lnTo>
                <a:lnTo>
                  <a:pt x="360" y="679"/>
                </a:lnTo>
                <a:lnTo>
                  <a:pt x="359" y="680"/>
                </a:lnTo>
                <a:lnTo>
                  <a:pt x="358" y="680"/>
                </a:lnTo>
                <a:lnTo>
                  <a:pt x="356" y="681"/>
                </a:lnTo>
                <a:lnTo>
                  <a:pt x="354" y="682"/>
                </a:lnTo>
                <a:lnTo>
                  <a:pt x="353" y="682"/>
                </a:lnTo>
                <a:lnTo>
                  <a:pt x="352" y="682"/>
                </a:lnTo>
                <a:lnTo>
                  <a:pt x="351" y="683"/>
                </a:lnTo>
                <a:lnTo>
                  <a:pt x="350" y="684"/>
                </a:lnTo>
                <a:lnTo>
                  <a:pt x="349" y="684"/>
                </a:lnTo>
                <a:lnTo>
                  <a:pt x="346" y="687"/>
                </a:lnTo>
                <a:lnTo>
                  <a:pt x="345" y="688"/>
                </a:lnTo>
                <a:lnTo>
                  <a:pt x="344" y="689"/>
                </a:lnTo>
                <a:lnTo>
                  <a:pt x="343" y="690"/>
                </a:lnTo>
                <a:lnTo>
                  <a:pt x="342" y="690"/>
                </a:lnTo>
                <a:lnTo>
                  <a:pt x="340" y="690"/>
                </a:lnTo>
                <a:lnTo>
                  <a:pt x="339" y="690"/>
                </a:lnTo>
                <a:lnTo>
                  <a:pt x="339" y="690"/>
                </a:lnTo>
                <a:lnTo>
                  <a:pt x="338" y="690"/>
                </a:lnTo>
                <a:lnTo>
                  <a:pt x="337" y="689"/>
                </a:lnTo>
                <a:lnTo>
                  <a:pt x="333" y="688"/>
                </a:lnTo>
                <a:lnTo>
                  <a:pt x="328" y="685"/>
                </a:lnTo>
                <a:lnTo>
                  <a:pt x="324" y="683"/>
                </a:lnTo>
                <a:lnTo>
                  <a:pt x="313" y="678"/>
                </a:lnTo>
                <a:lnTo>
                  <a:pt x="311" y="677"/>
                </a:lnTo>
                <a:lnTo>
                  <a:pt x="309" y="676"/>
                </a:lnTo>
                <a:lnTo>
                  <a:pt x="308" y="676"/>
                </a:lnTo>
                <a:lnTo>
                  <a:pt x="307" y="675"/>
                </a:lnTo>
                <a:lnTo>
                  <a:pt x="302" y="675"/>
                </a:lnTo>
                <a:lnTo>
                  <a:pt x="299" y="674"/>
                </a:lnTo>
                <a:lnTo>
                  <a:pt x="297" y="674"/>
                </a:lnTo>
                <a:lnTo>
                  <a:pt x="291" y="671"/>
                </a:lnTo>
                <a:lnTo>
                  <a:pt x="284" y="669"/>
                </a:lnTo>
                <a:lnTo>
                  <a:pt x="280" y="668"/>
                </a:lnTo>
                <a:lnTo>
                  <a:pt x="279" y="668"/>
                </a:lnTo>
                <a:lnTo>
                  <a:pt x="277" y="667"/>
                </a:lnTo>
                <a:lnTo>
                  <a:pt x="274" y="667"/>
                </a:lnTo>
                <a:lnTo>
                  <a:pt x="269" y="667"/>
                </a:lnTo>
                <a:lnTo>
                  <a:pt x="268" y="667"/>
                </a:lnTo>
                <a:lnTo>
                  <a:pt x="266" y="667"/>
                </a:lnTo>
                <a:lnTo>
                  <a:pt x="260" y="666"/>
                </a:lnTo>
                <a:lnTo>
                  <a:pt x="258" y="665"/>
                </a:lnTo>
                <a:lnTo>
                  <a:pt x="254" y="665"/>
                </a:lnTo>
                <a:lnTo>
                  <a:pt x="253" y="665"/>
                </a:lnTo>
                <a:lnTo>
                  <a:pt x="251" y="665"/>
                </a:lnTo>
                <a:lnTo>
                  <a:pt x="246" y="666"/>
                </a:lnTo>
                <a:lnTo>
                  <a:pt x="244" y="666"/>
                </a:lnTo>
                <a:lnTo>
                  <a:pt x="242" y="666"/>
                </a:lnTo>
                <a:lnTo>
                  <a:pt x="241" y="666"/>
                </a:lnTo>
                <a:lnTo>
                  <a:pt x="240" y="666"/>
                </a:lnTo>
                <a:lnTo>
                  <a:pt x="239" y="666"/>
                </a:lnTo>
                <a:lnTo>
                  <a:pt x="238" y="665"/>
                </a:lnTo>
                <a:lnTo>
                  <a:pt x="235" y="664"/>
                </a:lnTo>
                <a:lnTo>
                  <a:pt x="234" y="663"/>
                </a:lnTo>
                <a:lnTo>
                  <a:pt x="231" y="663"/>
                </a:lnTo>
                <a:lnTo>
                  <a:pt x="227" y="662"/>
                </a:lnTo>
                <a:lnTo>
                  <a:pt x="226" y="661"/>
                </a:lnTo>
                <a:lnTo>
                  <a:pt x="225" y="661"/>
                </a:lnTo>
                <a:lnTo>
                  <a:pt x="224" y="661"/>
                </a:lnTo>
                <a:lnTo>
                  <a:pt x="222" y="659"/>
                </a:lnTo>
                <a:lnTo>
                  <a:pt x="219" y="656"/>
                </a:lnTo>
                <a:lnTo>
                  <a:pt x="218" y="655"/>
                </a:lnTo>
                <a:lnTo>
                  <a:pt x="217" y="655"/>
                </a:lnTo>
                <a:lnTo>
                  <a:pt x="216" y="653"/>
                </a:lnTo>
                <a:lnTo>
                  <a:pt x="215" y="652"/>
                </a:lnTo>
                <a:lnTo>
                  <a:pt x="215" y="651"/>
                </a:lnTo>
                <a:lnTo>
                  <a:pt x="214" y="650"/>
                </a:lnTo>
                <a:lnTo>
                  <a:pt x="213" y="647"/>
                </a:lnTo>
                <a:lnTo>
                  <a:pt x="212" y="646"/>
                </a:lnTo>
                <a:lnTo>
                  <a:pt x="212" y="645"/>
                </a:lnTo>
                <a:lnTo>
                  <a:pt x="211" y="645"/>
                </a:lnTo>
                <a:lnTo>
                  <a:pt x="211" y="644"/>
                </a:lnTo>
                <a:lnTo>
                  <a:pt x="209" y="642"/>
                </a:lnTo>
                <a:lnTo>
                  <a:pt x="208" y="641"/>
                </a:lnTo>
                <a:lnTo>
                  <a:pt x="207" y="640"/>
                </a:lnTo>
                <a:lnTo>
                  <a:pt x="206" y="639"/>
                </a:lnTo>
                <a:lnTo>
                  <a:pt x="205" y="638"/>
                </a:lnTo>
                <a:lnTo>
                  <a:pt x="205" y="637"/>
                </a:lnTo>
                <a:lnTo>
                  <a:pt x="204" y="636"/>
                </a:lnTo>
                <a:lnTo>
                  <a:pt x="204" y="635"/>
                </a:lnTo>
                <a:lnTo>
                  <a:pt x="204" y="634"/>
                </a:lnTo>
                <a:lnTo>
                  <a:pt x="204" y="634"/>
                </a:lnTo>
                <a:lnTo>
                  <a:pt x="205" y="633"/>
                </a:lnTo>
                <a:lnTo>
                  <a:pt x="205" y="632"/>
                </a:lnTo>
                <a:lnTo>
                  <a:pt x="205" y="631"/>
                </a:lnTo>
                <a:lnTo>
                  <a:pt x="206" y="630"/>
                </a:lnTo>
                <a:lnTo>
                  <a:pt x="207" y="630"/>
                </a:lnTo>
                <a:lnTo>
                  <a:pt x="207" y="629"/>
                </a:lnTo>
                <a:lnTo>
                  <a:pt x="209" y="628"/>
                </a:lnTo>
                <a:lnTo>
                  <a:pt x="210" y="627"/>
                </a:lnTo>
                <a:lnTo>
                  <a:pt x="211" y="626"/>
                </a:lnTo>
                <a:lnTo>
                  <a:pt x="215" y="625"/>
                </a:lnTo>
                <a:lnTo>
                  <a:pt x="216" y="624"/>
                </a:lnTo>
                <a:lnTo>
                  <a:pt x="216" y="624"/>
                </a:lnTo>
                <a:lnTo>
                  <a:pt x="217" y="623"/>
                </a:lnTo>
                <a:lnTo>
                  <a:pt x="217" y="622"/>
                </a:lnTo>
                <a:lnTo>
                  <a:pt x="218" y="622"/>
                </a:lnTo>
                <a:lnTo>
                  <a:pt x="218" y="621"/>
                </a:lnTo>
                <a:lnTo>
                  <a:pt x="219" y="620"/>
                </a:lnTo>
                <a:lnTo>
                  <a:pt x="219" y="618"/>
                </a:lnTo>
                <a:lnTo>
                  <a:pt x="219" y="617"/>
                </a:lnTo>
                <a:lnTo>
                  <a:pt x="219" y="616"/>
                </a:lnTo>
                <a:lnTo>
                  <a:pt x="218" y="615"/>
                </a:lnTo>
                <a:lnTo>
                  <a:pt x="218" y="614"/>
                </a:lnTo>
                <a:lnTo>
                  <a:pt x="217" y="614"/>
                </a:lnTo>
                <a:lnTo>
                  <a:pt x="217" y="613"/>
                </a:lnTo>
                <a:lnTo>
                  <a:pt x="216" y="612"/>
                </a:lnTo>
                <a:lnTo>
                  <a:pt x="212" y="609"/>
                </a:lnTo>
                <a:lnTo>
                  <a:pt x="210" y="608"/>
                </a:lnTo>
                <a:lnTo>
                  <a:pt x="209" y="607"/>
                </a:lnTo>
                <a:lnTo>
                  <a:pt x="208" y="605"/>
                </a:lnTo>
                <a:lnTo>
                  <a:pt x="205" y="601"/>
                </a:lnTo>
                <a:lnTo>
                  <a:pt x="203" y="599"/>
                </a:lnTo>
                <a:lnTo>
                  <a:pt x="201" y="597"/>
                </a:lnTo>
                <a:lnTo>
                  <a:pt x="200" y="595"/>
                </a:lnTo>
                <a:lnTo>
                  <a:pt x="198" y="594"/>
                </a:lnTo>
                <a:lnTo>
                  <a:pt x="197" y="593"/>
                </a:lnTo>
                <a:lnTo>
                  <a:pt x="196" y="592"/>
                </a:lnTo>
                <a:lnTo>
                  <a:pt x="195" y="591"/>
                </a:lnTo>
                <a:lnTo>
                  <a:pt x="194" y="591"/>
                </a:lnTo>
                <a:lnTo>
                  <a:pt x="193" y="590"/>
                </a:lnTo>
                <a:lnTo>
                  <a:pt x="190" y="589"/>
                </a:lnTo>
                <a:lnTo>
                  <a:pt x="186" y="588"/>
                </a:lnTo>
                <a:lnTo>
                  <a:pt x="184" y="587"/>
                </a:lnTo>
                <a:lnTo>
                  <a:pt x="182" y="586"/>
                </a:lnTo>
                <a:lnTo>
                  <a:pt x="180" y="585"/>
                </a:lnTo>
                <a:lnTo>
                  <a:pt x="178" y="584"/>
                </a:lnTo>
                <a:lnTo>
                  <a:pt x="177" y="584"/>
                </a:lnTo>
                <a:lnTo>
                  <a:pt x="172" y="580"/>
                </a:lnTo>
                <a:lnTo>
                  <a:pt x="171" y="579"/>
                </a:lnTo>
                <a:lnTo>
                  <a:pt x="170" y="578"/>
                </a:lnTo>
                <a:lnTo>
                  <a:pt x="168" y="577"/>
                </a:lnTo>
                <a:lnTo>
                  <a:pt x="167" y="575"/>
                </a:lnTo>
                <a:lnTo>
                  <a:pt x="165" y="573"/>
                </a:lnTo>
                <a:lnTo>
                  <a:pt x="159" y="566"/>
                </a:lnTo>
                <a:lnTo>
                  <a:pt x="156" y="564"/>
                </a:lnTo>
                <a:lnTo>
                  <a:pt x="154" y="562"/>
                </a:lnTo>
                <a:lnTo>
                  <a:pt x="152" y="560"/>
                </a:lnTo>
                <a:lnTo>
                  <a:pt x="150" y="559"/>
                </a:lnTo>
                <a:lnTo>
                  <a:pt x="148" y="557"/>
                </a:lnTo>
                <a:lnTo>
                  <a:pt x="146" y="555"/>
                </a:lnTo>
                <a:lnTo>
                  <a:pt x="144" y="554"/>
                </a:lnTo>
                <a:lnTo>
                  <a:pt x="142" y="553"/>
                </a:lnTo>
                <a:lnTo>
                  <a:pt x="140" y="552"/>
                </a:lnTo>
                <a:lnTo>
                  <a:pt x="138" y="551"/>
                </a:lnTo>
                <a:lnTo>
                  <a:pt x="136" y="550"/>
                </a:lnTo>
                <a:lnTo>
                  <a:pt x="134" y="549"/>
                </a:lnTo>
                <a:lnTo>
                  <a:pt x="125" y="547"/>
                </a:lnTo>
                <a:lnTo>
                  <a:pt x="123" y="546"/>
                </a:lnTo>
                <a:lnTo>
                  <a:pt x="121" y="545"/>
                </a:lnTo>
                <a:lnTo>
                  <a:pt x="120" y="545"/>
                </a:lnTo>
                <a:lnTo>
                  <a:pt x="118" y="544"/>
                </a:lnTo>
                <a:lnTo>
                  <a:pt x="117" y="543"/>
                </a:lnTo>
                <a:lnTo>
                  <a:pt x="117" y="543"/>
                </a:lnTo>
                <a:lnTo>
                  <a:pt x="116" y="542"/>
                </a:lnTo>
                <a:lnTo>
                  <a:pt x="115" y="541"/>
                </a:lnTo>
                <a:lnTo>
                  <a:pt x="115" y="539"/>
                </a:lnTo>
                <a:lnTo>
                  <a:pt x="114" y="537"/>
                </a:lnTo>
                <a:lnTo>
                  <a:pt x="114" y="536"/>
                </a:lnTo>
                <a:lnTo>
                  <a:pt x="113" y="532"/>
                </a:lnTo>
                <a:lnTo>
                  <a:pt x="113" y="530"/>
                </a:lnTo>
                <a:lnTo>
                  <a:pt x="113" y="529"/>
                </a:lnTo>
                <a:lnTo>
                  <a:pt x="112" y="527"/>
                </a:lnTo>
                <a:lnTo>
                  <a:pt x="111" y="524"/>
                </a:lnTo>
                <a:lnTo>
                  <a:pt x="108" y="518"/>
                </a:lnTo>
                <a:lnTo>
                  <a:pt x="107" y="516"/>
                </a:lnTo>
                <a:lnTo>
                  <a:pt x="107" y="514"/>
                </a:lnTo>
                <a:lnTo>
                  <a:pt x="105" y="512"/>
                </a:lnTo>
                <a:lnTo>
                  <a:pt x="105" y="511"/>
                </a:lnTo>
                <a:lnTo>
                  <a:pt x="104" y="511"/>
                </a:lnTo>
                <a:lnTo>
                  <a:pt x="103" y="510"/>
                </a:lnTo>
                <a:lnTo>
                  <a:pt x="103" y="509"/>
                </a:lnTo>
                <a:lnTo>
                  <a:pt x="99" y="507"/>
                </a:lnTo>
                <a:lnTo>
                  <a:pt x="98" y="506"/>
                </a:lnTo>
                <a:lnTo>
                  <a:pt x="97" y="505"/>
                </a:lnTo>
                <a:lnTo>
                  <a:pt x="97" y="504"/>
                </a:lnTo>
                <a:lnTo>
                  <a:pt x="96" y="504"/>
                </a:lnTo>
                <a:lnTo>
                  <a:pt x="95" y="503"/>
                </a:lnTo>
                <a:lnTo>
                  <a:pt x="95" y="501"/>
                </a:lnTo>
                <a:lnTo>
                  <a:pt x="94" y="500"/>
                </a:lnTo>
                <a:lnTo>
                  <a:pt x="93" y="498"/>
                </a:lnTo>
                <a:lnTo>
                  <a:pt x="92" y="496"/>
                </a:lnTo>
                <a:lnTo>
                  <a:pt x="90" y="490"/>
                </a:lnTo>
                <a:lnTo>
                  <a:pt x="88" y="485"/>
                </a:lnTo>
                <a:lnTo>
                  <a:pt x="87" y="482"/>
                </a:lnTo>
                <a:lnTo>
                  <a:pt x="86" y="480"/>
                </a:lnTo>
                <a:lnTo>
                  <a:pt x="85" y="479"/>
                </a:lnTo>
                <a:lnTo>
                  <a:pt x="84" y="477"/>
                </a:lnTo>
                <a:lnTo>
                  <a:pt x="83" y="476"/>
                </a:lnTo>
                <a:lnTo>
                  <a:pt x="82" y="475"/>
                </a:lnTo>
                <a:lnTo>
                  <a:pt x="82" y="475"/>
                </a:lnTo>
                <a:lnTo>
                  <a:pt x="81" y="475"/>
                </a:lnTo>
                <a:lnTo>
                  <a:pt x="80" y="474"/>
                </a:lnTo>
                <a:lnTo>
                  <a:pt x="79" y="474"/>
                </a:lnTo>
                <a:lnTo>
                  <a:pt x="75" y="475"/>
                </a:lnTo>
                <a:lnTo>
                  <a:pt x="72" y="475"/>
                </a:lnTo>
                <a:lnTo>
                  <a:pt x="70" y="475"/>
                </a:lnTo>
                <a:lnTo>
                  <a:pt x="66" y="475"/>
                </a:lnTo>
                <a:lnTo>
                  <a:pt x="65" y="475"/>
                </a:lnTo>
                <a:lnTo>
                  <a:pt x="63" y="475"/>
                </a:lnTo>
                <a:lnTo>
                  <a:pt x="61" y="474"/>
                </a:lnTo>
                <a:lnTo>
                  <a:pt x="60" y="474"/>
                </a:lnTo>
                <a:lnTo>
                  <a:pt x="58" y="473"/>
                </a:lnTo>
                <a:lnTo>
                  <a:pt x="58" y="473"/>
                </a:lnTo>
                <a:lnTo>
                  <a:pt x="57" y="472"/>
                </a:lnTo>
                <a:lnTo>
                  <a:pt x="56" y="471"/>
                </a:lnTo>
                <a:lnTo>
                  <a:pt x="55" y="470"/>
                </a:lnTo>
                <a:lnTo>
                  <a:pt x="51" y="466"/>
                </a:lnTo>
                <a:lnTo>
                  <a:pt x="50" y="465"/>
                </a:lnTo>
                <a:lnTo>
                  <a:pt x="49" y="463"/>
                </a:lnTo>
                <a:lnTo>
                  <a:pt x="47" y="461"/>
                </a:lnTo>
                <a:lnTo>
                  <a:pt x="46" y="458"/>
                </a:lnTo>
                <a:lnTo>
                  <a:pt x="43" y="453"/>
                </a:lnTo>
                <a:lnTo>
                  <a:pt x="42" y="450"/>
                </a:lnTo>
                <a:lnTo>
                  <a:pt x="40" y="444"/>
                </a:lnTo>
                <a:lnTo>
                  <a:pt x="37" y="439"/>
                </a:lnTo>
                <a:lnTo>
                  <a:pt x="36" y="435"/>
                </a:lnTo>
                <a:lnTo>
                  <a:pt x="35" y="434"/>
                </a:lnTo>
                <a:lnTo>
                  <a:pt x="35" y="433"/>
                </a:lnTo>
                <a:lnTo>
                  <a:pt x="34" y="433"/>
                </a:lnTo>
                <a:lnTo>
                  <a:pt x="34" y="433"/>
                </a:lnTo>
                <a:lnTo>
                  <a:pt x="34" y="432"/>
                </a:lnTo>
                <a:lnTo>
                  <a:pt x="33" y="432"/>
                </a:lnTo>
                <a:lnTo>
                  <a:pt x="32" y="432"/>
                </a:lnTo>
                <a:lnTo>
                  <a:pt x="29" y="432"/>
                </a:lnTo>
                <a:lnTo>
                  <a:pt x="28" y="432"/>
                </a:lnTo>
                <a:lnTo>
                  <a:pt x="27" y="432"/>
                </a:lnTo>
                <a:lnTo>
                  <a:pt x="26" y="431"/>
                </a:lnTo>
                <a:lnTo>
                  <a:pt x="25" y="430"/>
                </a:lnTo>
                <a:lnTo>
                  <a:pt x="24" y="429"/>
                </a:lnTo>
                <a:lnTo>
                  <a:pt x="23" y="427"/>
                </a:lnTo>
                <a:lnTo>
                  <a:pt x="21" y="424"/>
                </a:lnTo>
                <a:lnTo>
                  <a:pt x="20" y="423"/>
                </a:lnTo>
                <a:lnTo>
                  <a:pt x="19" y="422"/>
                </a:lnTo>
                <a:lnTo>
                  <a:pt x="18" y="421"/>
                </a:lnTo>
                <a:lnTo>
                  <a:pt x="17" y="420"/>
                </a:lnTo>
                <a:lnTo>
                  <a:pt x="16" y="419"/>
                </a:lnTo>
                <a:lnTo>
                  <a:pt x="15" y="419"/>
                </a:lnTo>
                <a:lnTo>
                  <a:pt x="14" y="418"/>
                </a:lnTo>
                <a:lnTo>
                  <a:pt x="13" y="418"/>
                </a:lnTo>
                <a:lnTo>
                  <a:pt x="12" y="418"/>
                </a:lnTo>
                <a:lnTo>
                  <a:pt x="10" y="417"/>
                </a:lnTo>
                <a:lnTo>
                  <a:pt x="8" y="417"/>
                </a:lnTo>
                <a:lnTo>
                  <a:pt x="6" y="417"/>
                </a:lnTo>
                <a:lnTo>
                  <a:pt x="5" y="417"/>
                </a:lnTo>
                <a:lnTo>
                  <a:pt x="4" y="417"/>
                </a:lnTo>
                <a:lnTo>
                  <a:pt x="4" y="417"/>
                </a:lnTo>
                <a:lnTo>
                  <a:pt x="4" y="415"/>
                </a:lnTo>
                <a:lnTo>
                  <a:pt x="2" y="410"/>
                </a:lnTo>
                <a:lnTo>
                  <a:pt x="1" y="409"/>
                </a:lnTo>
                <a:lnTo>
                  <a:pt x="1" y="407"/>
                </a:lnTo>
                <a:lnTo>
                  <a:pt x="1" y="406"/>
                </a:lnTo>
                <a:lnTo>
                  <a:pt x="1" y="405"/>
                </a:lnTo>
                <a:lnTo>
                  <a:pt x="0" y="403"/>
                </a:lnTo>
                <a:lnTo>
                  <a:pt x="0" y="401"/>
                </a:lnTo>
                <a:lnTo>
                  <a:pt x="0" y="399"/>
                </a:lnTo>
                <a:lnTo>
                  <a:pt x="0" y="397"/>
                </a:lnTo>
                <a:lnTo>
                  <a:pt x="1" y="395"/>
                </a:lnTo>
                <a:lnTo>
                  <a:pt x="1" y="393"/>
                </a:lnTo>
                <a:lnTo>
                  <a:pt x="2" y="389"/>
                </a:lnTo>
                <a:lnTo>
                  <a:pt x="2" y="387"/>
                </a:lnTo>
                <a:lnTo>
                  <a:pt x="3" y="384"/>
                </a:lnTo>
                <a:lnTo>
                  <a:pt x="3" y="383"/>
                </a:lnTo>
                <a:lnTo>
                  <a:pt x="4" y="381"/>
                </a:lnTo>
                <a:lnTo>
                  <a:pt x="5" y="379"/>
                </a:lnTo>
                <a:lnTo>
                  <a:pt x="6" y="376"/>
                </a:lnTo>
                <a:lnTo>
                  <a:pt x="8" y="373"/>
                </a:lnTo>
                <a:lnTo>
                  <a:pt x="9" y="371"/>
                </a:lnTo>
                <a:lnTo>
                  <a:pt x="10" y="370"/>
                </a:lnTo>
                <a:lnTo>
                  <a:pt x="11" y="369"/>
                </a:lnTo>
                <a:lnTo>
                  <a:pt x="12" y="368"/>
                </a:lnTo>
                <a:lnTo>
                  <a:pt x="13" y="367"/>
                </a:lnTo>
                <a:lnTo>
                  <a:pt x="14" y="367"/>
                </a:lnTo>
                <a:lnTo>
                  <a:pt x="15" y="366"/>
                </a:lnTo>
                <a:lnTo>
                  <a:pt x="16" y="366"/>
                </a:lnTo>
                <a:lnTo>
                  <a:pt x="19" y="364"/>
                </a:lnTo>
                <a:lnTo>
                  <a:pt x="20" y="364"/>
                </a:lnTo>
                <a:lnTo>
                  <a:pt x="21" y="363"/>
                </a:lnTo>
                <a:lnTo>
                  <a:pt x="23" y="362"/>
                </a:lnTo>
                <a:lnTo>
                  <a:pt x="23" y="361"/>
                </a:lnTo>
                <a:lnTo>
                  <a:pt x="24" y="360"/>
                </a:lnTo>
                <a:lnTo>
                  <a:pt x="25" y="359"/>
                </a:lnTo>
                <a:lnTo>
                  <a:pt x="25" y="359"/>
                </a:lnTo>
                <a:lnTo>
                  <a:pt x="26" y="358"/>
                </a:lnTo>
                <a:lnTo>
                  <a:pt x="26" y="357"/>
                </a:lnTo>
                <a:lnTo>
                  <a:pt x="26" y="356"/>
                </a:lnTo>
                <a:lnTo>
                  <a:pt x="27" y="355"/>
                </a:lnTo>
                <a:lnTo>
                  <a:pt x="27" y="353"/>
                </a:lnTo>
                <a:lnTo>
                  <a:pt x="27" y="351"/>
                </a:lnTo>
                <a:lnTo>
                  <a:pt x="27" y="349"/>
                </a:lnTo>
                <a:lnTo>
                  <a:pt x="27" y="347"/>
                </a:lnTo>
                <a:lnTo>
                  <a:pt x="25" y="341"/>
                </a:lnTo>
                <a:lnTo>
                  <a:pt x="25" y="340"/>
                </a:lnTo>
                <a:lnTo>
                  <a:pt x="24" y="338"/>
                </a:lnTo>
                <a:lnTo>
                  <a:pt x="23" y="334"/>
                </a:lnTo>
                <a:lnTo>
                  <a:pt x="22" y="333"/>
                </a:lnTo>
                <a:lnTo>
                  <a:pt x="22" y="331"/>
                </a:lnTo>
                <a:lnTo>
                  <a:pt x="22" y="330"/>
                </a:lnTo>
                <a:lnTo>
                  <a:pt x="22" y="329"/>
                </a:lnTo>
                <a:lnTo>
                  <a:pt x="22" y="327"/>
                </a:lnTo>
                <a:lnTo>
                  <a:pt x="23" y="324"/>
                </a:lnTo>
                <a:lnTo>
                  <a:pt x="23" y="322"/>
                </a:lnTo>
                <a:lnTo>
                  <a:pt x="24" y="320"/>
                </a:lnTo>
                <a:lnTo>
                  <a:pt x="24" y="314"/>
                </a:lnTo>
                <a:lnTo>
                  <a:pt x="24" y="312"/>
                </a:lnTo>
                <a:lnTo>
                  <a:pt x="25" y="309"/>
                </a:lnTo>
                <a:lnTo>
                  <a:pt x="26" y="304"/>
                </a:lnTo>
                <a:lnTo>
                  <a:pt x="26" y="303"/>
                </a:lnTo>
                <a:lnTo>
                  <a:pt x="26" y="302"/>
                </a:lnTo>
                <a:lnTo>
                  <a:pt x="27" y="302"/>
                </a:lnTo>
                <a:lnTo>
                  <a:pt x="27" y="302"/>
                </a:lnTo>
                <a:lnTo>
                  <a:pt x="28" y="302"/>
                </a:lnTo>
                <a:lnTo>
                  <a:pt x="29" y="302"/>
                </a:lnTo>
                <a:lnTo>
                  <a:pt x="30" y="302"/>
                </a:lnTo>
                <a:lnTo>
                  <a:pt x="35" y="303"/>
                </a:lnTo>
                <a:lnTo>
                  <a:pt x="37" y="303"/>
                </a:lnTo>
                <a:lnTo>
                  <a:pt x="38" y="303"/>
                </a:lnTo>
                <a:lnTo>
                  <a:pt x="39" y="303"/>
                </a:lnTo>
                <a:lnTo>
                  <a:pt x="40" y="303"/>
                </a:lnTo>
                <a:lnTo>
                  <a:pt x="41" y="303"/>
                </a:lnTo>
                <a:lnTo>
                  <a:pt x="42" y="302"/>
                </a:lnTo>
                <a:lnTo>
                  <a:pt x="44" y="302"/>
                </a:lnTo>
                <a:lnTo>
                  <a:pt x="45" y="301"/>
                </a:lnTo>
                <a:lnTo>
                  <a:pt x="46" y="301"/>
                </a:lnTo>
                <a:lnTo>
                  <a:pt x="48" y="300"/>
                </a:lnTo>
                <a:lnTo>
                  <a:pt x="50" y="298"/>
                </a:lnTo>
                <a:lnTo>
                  <a:pt x="54" y="295"/>
                </a:lnTo>
                <a:lnTo>
                  <a:pt x="55" y="294"/>
                </a:lnTo>
                <a:lnTo>
                  <a:pt x="57" y="293"/>
                </a:lnTo>
                <a:lnTo>
                  <a:pt x="59" y="292"/>
                </a:lnTo>
                <a:lnTo>
                  <a:pt x="63" y="290"/>
                </a:lnTo>
                <a:lnTo>
                  <a:pt x="64" y="290"/>
                </a:lnTo>
                <a:lnTo>
                  <a:pt x="65" y="290"/>
                </a:lnTo>
                <a:lnTo>
                  <a:pt x="65" y="289"/>
                </a:lnTo>
                <a:lnTo>
                  <a:pt x="66" y="288"/>
                </a:lnTo>
                <a:lnTo>
                  <a:pt x="66" y="288"/>
                </a:lnTo>
                <a:lnTo>
                  <a:pt x="67" y="284"/>
                </a:lnTo>
                <a:lnTo>
                  <a:pt x="69" y="279"/>
                </a:lnTo>
                <a:lnTo>
                  <a:pt x="69" y="277"/>
                </a:lnTo>
                <a:lnTo>
                  <a:pt x="70" y="276"/>
                </a:lnTo>
                <a:lnTo>
                  <a:pt x="71" y="275"/>
                </a:lnTo>
                <a:lnTo>
                  <a:pt x="72" y="273"/>
                </a:lnTo>
                <a:lnTo>
                  <a:pt x="73" y="272"/>
                </a:lnTo>
                <a:lnTo>
                  <a:pt x="75" y="270"/>
                </a:lnTo>
                <a:lnTo>
                  <a:pt x="75" y="269"/>
                </a:lnTo>
                <a:lnTo>
                  <a:pt x="76" y="269"/>
                </a:lnTo>
                <a:lnTo>
                  <a:pt x="76" y="268"/>
                </a:lnTo>
                <a:lnTo>
                  <a:pt x="76" y="267"/>
                </a:lnTo>
                <a:lnTo>
                  <a:pt x="76" y="266"/>
                </a:lnTo>
                <a:lnTo>
                  <a:pt x="76" y="265"/>
                </a:lnTo>
                <a:lnTo>
                  <a:pt x="76" y="264"/>
                </a:lnTo>
                <a:lnTo>
                  <a:pt x="76" y="262"/>
                </a:lnTo>
                <a:lnTo>
                  <a:pt x="75" y="261"/>
                </a:lnTo>
                <a:lnTo>
                  <a:pt x="75" y="260"/>
                </a:lnTo>
                <a:lnTo>
                  <a:pt x="74" y="259"/>
                </a:lnTo>
                <a:lnTo>
                  <a:pt x="72" y="256"/>
                </a:lnTo>
                <a:lnTo>
                  <a:pt x="71" y="255"/>
                </a:lnTo>
                <a:lnTo>
                  <a:pt x="70" y="253"/>
                </a:lnTo>
                <a:lnTo>
                  <a:pt x="69" y="251"/>
                </a:lnTo>
                <a:lnTo>
                  <a:pt x="69" y="250"/>
                </a:lnTo>
                <a:lnTo>
                  <a:pt x="69" y="249"/>
                </a:lnTo>
                <a:lnTo>
                  <a:pt x="69" y="248"/>
                </a:lnTo>
                <a:lnTo>
                  <a:pt x="69" y="247"/>
                </a:lnTo>
                <a:lnTo>
                  <a:pt x="69" y="246"/>
                </a:lnTo>
                <a:lnTo>
                  <a:pt x="70" y="245"/>
                </a:lnTo>
                <a:lnTo>
                  <a:pt x="70" y="244"/>
                </a:lnTo>
                <a:lnTo>
                  <a:pt x="71" y="243"/>
                </a:lnTo>
                <a:lnTo>
                  <a:pt x="72" y="242"/>
                </a:lnTo>
                <a:lnTo>
                  <a:pt x="74" y="241"/>
                </a:lnTo>
                <a:lnTo>
                  <a:pt x="75" y="238"/>
                </a:lnTo>
                <a:lnTo>
                  <a:pt x="76" y="238"/>
                </a:lnTo>
                <a:lnTo>
                  <a:pt x="77" y="237"/>
                </a:lnTo>
                <a:lnTo>
                  <a:pt x="79" y="236"/>
                </a:lnTo>
                <a:lnTo>
                  <a:pt x="79" y="236"/>
                </a:lnTo>
                <a:lnTo>
                  <a:pt x="80" y="236"/>
                </a:lnTo>
                <a:lnTo>
                  <a:pt x="80" y="235"/>
                </a:lnTo>
                <a:lnTo>
                  <a:pt x="81" y="235"/>
                </a:lnTo>
                <a:lnTo>
                  <a:pt x="81" y="234"/>
                </a:lnTo>
                <a:lnTo>
                  <a:pt x="82" y="232"/>
                </a:lnTo>
                <a:lnTo>
                  <a:pt x="82" y="231"/>
                </a:lnTo>
                <a:lnTo>
                  <a:pt x="82" y="231"/>
                </a:lnTo>
                <a:lnTo>
                  <a:pt x="82" y="230"/>
                </a:lnTo>
                <a:lnTo>
                  <a:pt x="82" y="230"/>
                </a:lnTo>
                <a:lnTo>
                  <a:pt x="81" y="229"/>
                </a:lnTo>
                <a:lnTo>
                  <a:pt x="81" y="229"/>
                </a:lnTo>
                <a:lnTo>
                  <a:pt x="79" y="227"/>
                </a:lnTo>
                <a:lnTo>
                  <a:pt x="78" y="226"/>
                </a:lnTo>
                <a:lnTo>
                  <a:pt x="77" y="225"/>
                </a:lnTo>
                <a:lnTo>
                  <a:pt x="76" y="225"/>
                </a:lnTo>
                <a:lnTo>
                  <a:pt x="76" y="224"/>
                </a:lnTo>
                <a:lnTo>
                  <a:pt x="76" y="223"/>
                </a:lnTo>
                <a:lnTo>
                  <a:pt x="75" y="222"/>
                </a:lnTo>
                <a:lnTo>
                  <a:pt x="75" y="221"/>
                </a:lnTo>
                <a:lnTo>
                  <a:pt x="75" y="221"/>
                </a:lnTo>
                <a:lnTo>
                  <a:pt x="75" y="220"/>
                </a:lnTo>
                <a:lnTo>
                  <a:pt x="75" y="219"/>
                </a:lnTo>
                <a:lnTo>
                  <a:pt x="75" y="218"/>
                </a:lnTo>
                <a:lnTo>
                  <a:pt x="75" y="218"/>
                </a:lnTo>
                <a:lnTo>
                  <a:pt x="75" y="217"/>
                </a:lnTo>
                <a:lnTo>
                  <a:pt x="75" y="217"/>
                </a:lnTo>
                <a:lnTo>
                  <a:pt x="76" y="216"/>
                </a:lnTo>
                <a:lnTo>
                  <a:pt x="76" y="216"/>
                </a:lnTo>
                <a:lnTo>
                  <a:pt x="77" y="216"/>
                </a:lnTo>
                <a:lnTo>
                  <a:pt x="80" y="214"/>
                </a:lnTo>
                <a:lnTo>
                  <a:pt x="81" y="213"/>
                </a:lnTo>
                <a:lnTo>
                  <a:pt x="81" y="213"/>
                </a:lnTo>
                <a:lnTo>
                  <a:pt x="82" y="212"/>
                </a:lnTo>
                <a:lnTo>
                  <a:pt x="82" y="212"/>
                </a:lnTo>
                <a:lnTo>
                  <a:pt x="83" y="211"/>
                </a:lnTo>
                <a:lnTo>
                  <a:pt x="83" y="210"/>
                </a:lnTo>
                <a:lnTo>
                  <a:pt x="83" y="209"/>
                </a:lnTo>
                <a:lnTo>
                  <a:pt x="84" y="209"/>
                </a:lnTo>
                <a:lnTo>
                  <a:pt x="84" y="208"/>
                </a:lnTo>
                <a:lnTo>
                  <a:pt x="84" y="207"/>
                </a:lnTo>
                <a:lnTo>
                  <a:pt x="84" y="206"/>
                </a:lnTo>
                <a:lnTo>
                  <a:pt x="83" y="204"/>
                </a:lnTo>
                <a:lnTo>
                  <a:pt x="83" y="202"/>
                </a:lnTo>
                <a:lnTo>
                  <a:pt x="83" y="201"/>
                </a:lnTo>
                <a:lnTo>
                  <a:pt x="83" y="200"/>
                </a:lnTo>
                <a:lnTo>
                  <a:pt x="84" y="199"/>
                </a:lnTo>
                <a:lnTo>
                  <a:pt x="84" y="197"/>
                </a:lnTo>
                <a:lnTo>
                  <a:pt x="84" y="196"/>
                </a:lnTo>
                <a:lnTo>
                  <a:pt x="85" y="195"/>
                </a:lnTo>
                <a:lnTo>
                  <a:pt x="86" y="194"/>
                </a:lnTo>
                <a:lnTo>
                  <a:pt x="88" y="192"/>
                </a:lnTo>
                <a:lnTo>
                  <a:pt x="89" y="191"/>
                </a:lnTo>
                <a:lnTo>
                  <a:pt x="91" y="189"/>
                </a:lnTo>
                <a:lnTo>
                  <a:pt x="94" y="187"/>
                </a:lnTo>
                <a:lnTo>
                  <a:pt x="98" y="184"/>
                </a:lnTo>
                <a:lnTo>
                  <a:pt x="99" y="183"/>
                </a:lnTo>
                <a:lnTo>
                  <a:pt x="100" y="183"/>
                </a:lnTo>
                <a:lnTo>
                  <a:pt x="100" y="181"/>
                </a:lnTo>
                <a:lnTo>
                  <a:pt x="101" y="180"/>
                </a:lnTo>
                <a:lnTo>
                  <a:pt x="102" y="178"/>
                </a:lnTo>
                <a:lnTo>
                  <a:pt x="103" y="174"/>
                </a:lnTo>
                <a:lnTo>
                  <a:pt x="104" y="172"/>
                </a:lnTo>
                <a:lnTo>
                  <a:pt x="105" y="170"/>
                </a:lnTo>
                <a:lnTo>
                  <a:pt x="107" y="167"/>
                </a:lnTo>
                <a:lnTo>
                  <a:pt x="108" y="166"/>
                </a:lnTo>
                <a:lnTo>
                  <a:pt x="108" y="165"/>
                </a:lnTo>
                <a:lnTo>
                  <a:pt x="109" y="163"/>
                </a:lnTo>
                <a:lnTo>
                  <a:pt x="109" y="160"/>
                </a:lnTo>
                <a:lnTo>
                  <a:pt x="110" y="159"/>
                </a:lnTo>
                <a:lnTo>
                  <a:pt x="110" y="158"/>
                </a:lnTo>
                <a:lnTo>
                  <a:pt x="110" y="156"/>
                </a:lnTo>
                <a:lnTo>
                  <a:pt x="109" y="155"/>
                </a:lnTo>
                <a:lnTo>
                  <a:pt x="109" y="154"/>
                </a:lnTo>
                <a:lnTo>
                  <a:pt x="108" y="154"/>
                </a:lnTo>
                <a:lnTo>
                  <a:pt x="106" y="151"/>
                </a:lnTo>
                <a:lnTo>
                  <a:pt x="105" y="150"/>
                </a:lnTo>
                <a:lnTo>
                  <a:pt x="104" y="148"/>
                </a:lnTo>
                <a:lnTo>
                  <a:pt x="102" y="144"/>
                </a:lnTo>
                <a:lnTo>
                  <a:pt x="101" y="142"/>
                </a:lnTo>
                <a:lnTo>
                  <a:pt x="101" y="140"/>
                </a:lnTo>
                <a:lnTo>
                  <a:pt x="100" y="137"/>
                </a:lnTo>
                <a:lnTo>
                  <a:pt x="100" y="135"/>
                </a:lnTo>
                <a:lnTo>
                  <a:pt x="100" y="133"/>
                </a:lnTo>
                <a:lnTo>
                  <a:pt x="100" y="131"/>
                </a:lnTo>
                <a:lnTo>
                  <a:pt x="101" y="127"/>
                </a:lnTo>
                <a:lnTo>
                  <a:pt x="101" y="125"/>
                </a:lnTo>
                <a:lnTo>
                  <a:pt x="101" y="124"/>
                </a:lnTo>
                <a:lnTo>
                  <a:pt x="102" y="122"/>
                </a:lnTo>
                <a:lnTo>
                  <a:pt x="103" y="120"/>
                </a:lnTo>
                <a:lnTo>
                  <a:pt x="104" y="119"/>
                </a:lnTo>
                <a:lnTo>
                  <a:pt x="107" y="114"/>
                </a:lnTo>
                <a:lnTo>
                  <a:pt x="108" y="113"/>
                </a:lnTo>
                <a:lnTo>
                  <a:pt x="108" y="112"/>
                </a:lnTo>
                <a:lnTo>
                  <a:pt x="108" y="112"/>
                </a:lnTo>
                <a:lnTo>
                  <a:pt x="107" y="111"/>
                </a:lnTo>
                <a:lnTo>
                  <a:pt x="107" y="109"/>
                </a:lnTo>
                <a:lnTo>
                  <a:pt x="106" y="108"/>
                </a:lnTo>
                <a:lnTo>
                  <a:pt x="105" y="105"/>
                </a:lnTo>
                <a:lnTo>
                  <a:pt x="104" y="102"/>
                </a:lnTo>
                <a:lnTo>
                  <a:pt x="103" y="100"/>
                </a:lnTo>
                <a:lnTo>
                  <a:pt x="103" y="99"/>
                </a:lnTo>
                <a:lnTo>
                  <a:pt x="102" y="96"/>
                </a:lnTo>
                <a:lnTo>
                  <a:pt x="102" y="94"/>
                </a:lnTo>
                <a:lnTo>
                  <a:pt x="102" y="88"/>
                </a:lnTo>
                <a:lnTo>
                  <a:pt x="101" y="87"/>
                </a:lnTo>
                <a:lnTo>
                  <a:pt x="101" y="85"/>
                </a:lnTo>
                <a:lnTo>
                  <a:pt x="101" y="83"/>
                </a:lnTo>
                <a:lnTo>
                  <a:pt x="100" y="82"/>
                </a:lnTo>
                <a:lnTo>
                  <a:pt x="100" y="81"/>
                </a:lnTo>
                <a:lnTo>
                  <a:pt x="100" y="81"/>
                </a:lnTo>
                <a:lnTo>
                  <a:pt x="98" y="79"/>
                </a:lnTo>
                <a:lnTo>
                  <a:pt x="97" y="78"/>
                </a:lnTo>
                <a:lnTo>
                  <a:pt x="97" y="77"/>
                </a:lnTo>
                <a:lnTo>
                  <a:pt x="97" y="76"/>
                </a:lnTo>
                <a:lnTo>
                  <a:pt x="97" y="76"/>
                </a:lnTo>
                <a:lnTo>
                  <a:pt x="97" y="75"/>
                </a:lnTo>
                <a:lnTo>
                  <a:pt x="97" y="74"/>
                </a:lnTo>
                <a:lnTo>
                  <a:pt x="97" y="74"/>
                </a:lnTo>
                <a:lnTo>
                  <a:pt x="97" y="72"/>
                </a:lnTo>
                <a:lnTo>
                  <a:pt x="99" y="66"/>
                </a:lnTo>
                <a:lnTo>
                  <a:pt x="99" y="65"/>
                </a:lnTo>
                <a:lnTo>
                  <a:pt x="100" y="64"/>
                </a:lnTo>
                <a:lnTo>
                  <a:pt x="100" y="63"/>
                </a:lnTo>
                <a:lnTo>
                  <a:pt x="101" y="62"/>
                </a:lnTo>
                <a:lnTo>
                  <a:pt x="101" y="61"/>
                </a:lnTo>
                <a:lnTo>
                  <a:pt x="102" y="61"/>
                </a:lnTo>
                <a:lnTo>
                  <a:pt x="102" y="61"/>
                </a:lnTo>
                <a:lnTo>
                  <a:pt x="103" y="61"/>
                </a:lnTo>
                <a:lnTo>
                  <a:pt x="103" y="61"/>
                </a:lnTo>
                <a:lnTo>
                  <a:pt x="104" y="61"/>
                </a:lnTo>
                <a:lnTo>
                  <a:pt x="104" y="62"/>
                </a:lnTo>
                <a:lnTo>
                  <a:pt x="106" y="62"/>
                </a:lnTo>
                <a:lnTo>
                  <a:pt x="108" y="61"/>
                </a:lnTo>
                <a:lnTo>
                  <a:pt x="109" y="61"/>
                </a:lnTo>
                <a:lnTo>
                  <a:pt x="113" y="60"/>
                </a:lnTo>
                <a:lnTo>
                  <a:pt x="119" y="58"/>
                </a:lnTo>
                <a:lnTo>
                  <a:pt x="121" y="57"/>
                </a:lnTo>
                <a:lnTo>
                  <a:pt x="124" y="56"/>
                </a:lnTo>
                <a:lnTo>
                  <a:pt x="125" y="56"/>
                </a:lnTo>
                <a:lnTo>
                  <a:pt x="125" y="56"/>
                </a:lnTo>
                <a:lnTo>
                  <a:pt x="126" y="56"/>
                </a:lnTo>
                <a:lnTo>
                  <a:pt x="127" y="56"/>
                </a:lnTo>
                <a:lnTo>
                  <a:pt x="127" y="56"/>
                </a:lnTo>
                <a:lnTo>
                  <a:pt x="128" y="56"/>
                </a:lnTo>
                <a:lnTo>
                  <a:pt x="129" y="57"/>
                </a:lnTo>
                <a:lnTo>
                  <a:pt x="132" y="60"/>
                </a:lnTo>
                <a:lnTo>
                  <a:pt x="133" y="60"/>
                </a:lnTo>
                <a:lnTo>
                  <a:pt x="133" y="61"/>
                </a:lnTo>
                <a:lnTo>
                  <a:pt x="134" y="61"/>
                </a:lnTo>
                <a:lnTo>
                  <a:pt x="135" y="61"/>
                </a:lnTo>
                <a:lnTo>
                  <a:pt x="136" y="61"/>
                </a:lnTo>
                <a:lnTo>
                  <a:pt x="136" y="61"/>
                </a:lnTo>
                <a:lnTo>
                  <a:pt x="137" y="60"/>
                </a:lnTo>
                <a:lnTo>
                  <a:pt x="138" y="60"/>
                </a:lnTo>
                <a:lnTo>
                  <a:pt x="140" y="60"/>
                </a:lnTo>
                <a:lnTo>
                  <a:pt x="143" y="58"/>
                </a:lnTo>
                <a:lnTo>
                  <a:pt x="144" y="57"/>
                </a:lnTo>
                <a:lnTo>
                  <a:pt x="146" y="57"/>
                </a:lnTo>
                <a:lnTo>
                  <a:pt x="147" y="57"/>
                </a:lnTo>
                <a:lnTo>
                  <a:pt x="148" y="57"/>
                </a:lnTo>
                <a:lnTo>
                  <a:pt x="148" y="57"/>
                </a:lnTo>
                <a:lnTo>
                  <a:pt x="149" y="58"/>
                </a:lnTo>
                <a:lnTo>
                  <a:pt x="150" y="58"/>
                </a:lnTo>
                <a:lnTo>
                  <a:pt x="153" y="61"/>
                </a:lnTo>
                <a:lnTo>
                  <a:pt x="154" y="61"/>
                </a:lnTo>
                <a:lnTo>
                  <a:pt x="156" y="62"/>
                </a:lnTo>
                <a:lnTo>
                  <a:pt x="157" y="63"/>
                </a:lnTo>
                <a:lnTo>
                  <a:pt x="158" y="63"/>
                </a:lnTo>
                <a:lnTo>
                  <a:pt x="159" y="64"/>
                </a:lnTo>
                <a:lnTo>
                  <a:pt x="159" y="65"/>
                </a:lnTo>
                <a:lnTo>
                  <a:pt x="160" y="65"/>
                </a:lnTo>
                <a:lnTo>
                  <a:pt x="161" y="65"/>
                </a:lnTo>
                <a:lnTo>
                  <a:pt x="163" y="66"/>
                </a:lnTo>
                <a:lnTo>
                  <a:pt x="164" y="67"/>
                </a:lnTo>
                <a:lnTo>
                  <a:pt x="166" y="67"/>
                </a:lnTo>
                <a:lnTo>
                  <a:pt x="167" y="68"/>
                </a:lnTo>
                <a:lnTo>
                  <a:pt x="168" y="68"/>
                </a:lnTo>
                <a:lnTo>
                  <a:pt x="170" y="68"/>
                </a:lnTo>
                <a:lnTo>
                  <a:pt x="171" y="68"/>
                </a:lnTo>
                <a:lnTo>
                  <a:pt x="172" y="67"/>
                </a:lnTo>
                <a:lnTo>
                  <a:pt x="174" y="67"/>
                </a:lnTo>
                <a:lnTo>
                  <a:pt x="175" y="66"/>
                </a:lnTo>
                <a:lnTo>
                  <a:pt x="176" y="66"/>
                </a:lnTo>
                <a:lnTo>
                  <a:pt x="178" y="64"/>
                </a:lnTo>
                <a:lnTo>
                  <a:pt x="179" y="64"/>
                </a:lnTo>
                <a:lnTo>
                  <a:pt x="180" y="63"/>
                </a:lnTo>
                <a:lnTo>
                  <a:pt x="182" y="63"/>
                </a:lnTo>
                <a:lnTo>
                  <a:pt x="183" y="62"/>
                </a:lnTo>
                <a:lnTo>
                  <a:pt x="188" y="62"/>
                </a:lnTo>
                <a:lnTo>
                  <a:pt x="189" y="62"/>
                </a:lnTo>
                <a:lnTo>
                  <a:pt x="190" y="61"/>
                </a:lnTo>
                <a:lnTo>
                  <a:pt x="191" y="61"/>
                </a:lnTo>
                <a:lnTo>
                  <a:pt x="192" y="60"/>
                </a:lnTo>
                <a:lnTo>
                  <a:pt x="194" y="59"/>
                </a:lnTo>
                <a:lnTo>
                  <a:pt x="196" y="58"/>
                </a:lnTo>
                <a:lnTo>
                  <a:pt x="197" y="57"/>
                </a:lnTo>
                <a:lnTo>
                  <a:pt x="198" y="57"/>
                </a:lnTo>
                <a:lnTo>
                  <a:pt x="201" y="56"/>
                </a:lnTo>
                <a:lnTo>
                  <a:pt x="201" y="56"/>
                </a:lnTo>
                <a:lnTo>
                  <a:pt x="201" y="56"/>
                </a:lnTo>
                <a:lnTo>
                  <a:pt x="202" y="55"/>
                </a:lnTo>
                <a:lnTo>
                  <a:pt x="203" y="55"/>
                </a:lnTo>
                <a:lnTo>
                  <a:pt x="204" y="53"/>
                </a:lnTo>
                <a:lnTo>
                  <a:pt x="205" y="51"/>
                </a:lnTo>
                <a:lnTo>
                  <a:pt x="205" y="50"/>
                </a:lnTo>
                <a:lnTo>
                  <a:pt x="206" y="49"/>
                </a:lnTo>
                <a:lnTo>
                  <a:pt x="207" y="46"/>
                </a:lnTo>
                <a:lnTo>
                  <a:pt x="208" y="43"/>
                </a:lnTo>
                <a:lnTo>
                  <a:pt x="209" y="42"/>
                </a:lnTo>
                <a:lnTo>
                  <a:pt x="209" y="41"/>
                </a:lnTo>
                <a:lnTo>
                  <a:pt x="210" y="40"/>
                </a:lnTo>
                <a:lnTo>
                  <a:pt x="210" y="40"/>
                </a:lnTo>
                <a:lnTo>
                  <a:pt x="211" y="39"/>
                </a:lnTo>
                <a:lnTo>
                  <a:pt x="213" y="38"/>
                </a:lnTo>
                <a:lnTo>
                  <a:pt x="218" y="36"/>
                </a:lnTo>
                <a:lnTo>
                  <a:pt x="221" y="34"/>
                </a:lnTo>
                <a:lnTo>
                  <a:pt x="223" y="33"/>
                </a:lnTo>
                <a:lnTo>
                  <a:pt x="225" y="33"/>
                </a:lnTo>
                <a:lnTo>
                  <a:pt x="227" y="32"/>
                </a:lnTo>
                <a:lnTo>
                  <a:pt x="230" y="31"/>
                </a:lnTo>
                <a:lnTo>
                  <a:pt x="230" y="31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 265">
            <a:extLst>
              <a:ext uri="{FF2B5EF4-FFF2-40B4-BE49-F238E27FC236}">
                <a16:creationId xmlns:a16="http://schemas.microsoft.com/office/drawing/2014/main" id="{8FB11F28-B0D8-47C1-938F-A2AE9BC0E266}"/>
              </a:ext>
            </a:extLst>
          </p:cNvPr>
          <p:cNvSpPr>
            <a:spLocks/>
          </p:cNvSpPr>
          <p:nvPr/>
        </p:nvSpPr>
        <p:spPr bwMode="auto">
          <a:xfrm>
            <a:off x="7962513" y="4955711"/>
            <a:ext cx="1246873" cy="1224854"/>
          </a:xfrm>
          <a:custGeom>
            <a:avLst/>
            <a:gdLst>
              <a:gd name="T0" fmla="*/ 6 w 656"/>
              <a:gd name="T1" fmla="*/ 51 h 589"/>
              <a:gd name="T2" fmla="*/ 37 w 656"/>
              <a:gd name="T3" fmla="*/ 51 h 589"/>
              <a:gd name="T4" fmla="*/ 70 w 656"/>
              <a:gd name="T5" fmla="*/ 35 h 589"/>
              <a:gd name="T6" fmla="*/ 96 w 656"/>
              <a:gd name="T7" fmla="*/ 36 h 589"/>
              <a:gd name="T8" fmla="*/ 114 w 656"/>
              <a:gd name="T9" fmla="*/ 52 h 589"/>
              <a:gd name="T10" fmla="*/ 136 w 656"/>
              <a:gd name="T11" fmla="*/ 48 h 589"/>
              <a:gd name="T12" fmla="*/ 147 w 656"/>
              <a:gd name="T13" fmla="*/ 39 h 589"/>
              <a:gd name="T14" fmla="*/ 171 w 656"/>
              <a:gd name="T15" fmla="*/ 50 h 589"/>
              <a:gd name="T16" fmla="*/ 195 w 656"/>
              <a:gd name="T17" fmla="*/ 50 h 589"/>
              <a:gd name="T18" fmla="*/ 222 w 656"/>
              <a:gd name="T19" fmla="*/ 51 h 589"/>
              <a:gd name="T20" fmla="*/ 238 w 656"/>
              <a:gd name="T21" fmla="*/ 62 h 589"/>
              <a:gd name="T22" fmla="*/ 255 w 656"/>
              <a:gd name="T23" fmla="*/ 59 h 589"/>
              <a:gd name="T24" fmla="*/ 285 w 656"/>
              <a:gd name="T25" fmla="*/ 40 h 589"/>
              <a:gd name="T26" fmla="*/ 285 w 656"/>
              <a:gd name="T27" fmla="*/ 13 h 589"/>
              <a:gd name="T28" fmla="*/ 302 w 656"/>
              <a:gd name="T29" fmla="*/ 0 h 589"/>
              <a:gd name="T30" fmla="*/ 334 w 656"/>
              <a:gd name="T31" fmla="*/ 21 h 589"/>
              <a:gd name="T32" fmla="*/ 348 w 656"/>
              <a:gd name="T33" fmla="*/ 25 h 589"/>
              <a:gd name="T34" fmla="*/ 367 w 656"/>
              <a:gd name="T35" fmla="*/ 43 h 589"/>
              <a:gd name="T36" fmla="*/ 368 w 656"/>
              <a:gd name="T37" fmla="*/ 58 h 589"/>
              <a:gd name="T38" fmla="*/ 366 w 656"/>
              <a:gd name="T39" fmla="*/ 74 h 589"/>
              <a:gd name="T40" fmla="*/ 365 w 656"/>
              <a:gd name="T41" fmla="*/ 107 h 589"/>
              <a:gd name="T42" fmla="*/ 355 w 656"/>
              <a:gd name="T43" fmla="*/ 145 h 589"/>
              <a:gd name="T44" fmla="*/ 367 w 656"/>
              <a:gd name="T45" fmla="*/ 168 h 589"/>
              <a:gd name="T46" fmla="*/ 362 w 656"/>
              <a:gd name="T47" fmla="*/ 186 h 589"/>
              <a:gd name="T48" fmla="*/ 393 w 656"/>
              <a:gd name="T49" fmla="*/ 218 h 589"/>
              <a:gd name="T50" fmla="*/ 420 w 656"/>
              <a:gd name="T51" fmla="*/ 217 h 589"/>
              <a:gd name="T52" fmla="*/ 442 w 656"/>
              <a:gd name="T53" fmla="*/ 231 h 589"/>
              <a:gd name="T54" fmla="*/ 441 w 656"/>
              <a:gd name="T55" fmla="*/ 241 h 589"/>
              <a:gd name="T56" fmla="*/ 463 w 656"/>
              <a:gd name="T57" fmla="*/ 255 h 589"/>
              <a:gd name="T58" fmla="*/ 493 w 656"/>
              <a:gd name="T59" fmla="*/ 253 h 589"/>
              <a:gd name="T60" fmla="*/ 526 w 656"/>
              <a:gd name="T61" fmla="*/ 260 h 589"/>
              <a:gd name="T62" fmla="*/ 548 w 656"/>
              <a:gd name="T63" fmla="*/ 271 h 589"/>
              <a:gd name="T64" fmla="*/ 555 w 656"/>
              <a:gd name="T65" fmla="*/ 302 h 589"/>
              <a:gd name="T66" fmla="*/ 588 w 656"/>
              <a:gd name="T67" fmla="*/ 318 h 589"/>
              <a:gd name="T68" fmla="*/ 623 w 656"/>
              <a:gd name="T69" fmla="*/ 317 h 589"/>
              <a:gd name="T70" fmla="*/ 641 w 656"/>
              <a:gd name="T71" fmla="*/ 319 h 589"/>
              <a:gd name="T72" fmla="*/ 650 w 656"/>
              <a:gd name="T73" fmla="*/ 334 h 589"/>
              <a:gd name="T74" fmla="*/ 646 w 656"/>
              <a:gd name="T75" fmla="*/ 353 h 589"/>
              <a:gd name="T76" fmla="*/ 631 w 656"/>
              <a:gd name="T77" fmla="*/ 372 h 589"/>
              <a:gd name="T78" fmla="*/ 613 w 656"/>
              <a:gd name="T79" fmla="*/ 401 h 589"/>
              <a:gd name="T80" fmla="*/ 625 w 656"/>
              <a:gd name="T81" fmla="*/ 409 h 589"/>
              <a:gd name="T82" fmla="*/ 649 w 656"/>
              <a:gd name="T83" fmla="*/ 429 h 589"/>
              <a:gd name="T84" fmla="*/ 645 w 656"/>
              <a:gd name="T85" fmla="*/ 442 h 589"/>
              <a:gd name="T86" fmla="*/ 638 w 656"/>
              <a:gd name="T87" fmla="*/ 452 h 589"/>
              <a:gd name="T88" fmla="*/ 612 w 656"/>
              <a:gd name="T89" fmla="*/ 442 h 589"/>
              <a:gd name="T90" fmla="*/ 579 w 656"/>
              <a:gd name="T91" fmla="*/ 429 h 589"/>
              <a:gd name="T92" fmla="*/ 534 w 656"/>
              <a:gd name="T93" fmla="*/ 413 h 589"/>
              <a:gd name="T94" fmla="*/ 518 w 656"/>
              <a:gd name="T95" fmla="*/ 419 h 589"/>
              <a:gd name="T96" fmla="*/ 488 w 656"/>
              <a:gd name="T97" fmla="*/ 433 h 589"/>
              <a:gd name="T98" fmla="*/ 469 w 656"/>
              <a:gd name="T99" fmla="*/ 433 h 589"/>
              <a:gd name="T100" fmla="*/ 460 w 656"/>
              <a:gd name="T101" fmla="*/ 405 h 589"/>
              <a:gd name="T102" fmla="*/ 429 w 656"/>
              <a:gd name="T103" fmla="*/ 398 h 589"/>
              <a:gd name="T104" fmla="*/ 400 w 656"/>
              <a:gd name="T105" fmla="*/ 394 h 589"/>
              <a:gd name="T106" fmla="*/ 390 w 656"/>
              <a:gd name="T107" fmla="*/ 420 h 589"/>
              <a:gd name="T108" fmla="*/ 393 w 656"/>
              <a:gd name="T109" fmla="*/ 472 h 589"/>
              <a:gd name="T110" fmla="*/ 383 w 656"/>
              <a:gd name="T111" fmla="*/ 522 h 589"/>
              <a:gd name="T112" fmla="*/ 387 w 656"/>
              <a:gd name="T113" fmla="*/ 550 h 589"/>
              <a:gd name="T114" fmla="*/ 352 w 656"/>
              <a:gd name="T115" fmla="*/ 550 h 589"/>
              <a:gd name="T116" fmla="*/ 321 w 656"/>
              <a:gd name="T117" fmla="*/ 547 h 589"/>
              <a:gd name="T118" fmla="*/ 307 w 656"/>
              <a:gd name="T119" fmla="*/ 582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56" h="589">
                <a:moveTo>
                  <a:pt x="0" y="31"/>
                </a:moveTo>
                <a:lnTo>
                  <a:pt x="0" y="31"/>
                </a:lnTo>
                <a:lnTo>
                  <a:pt x="1" y="32"/>
                </a:lnTo>
                <a:lnTo>
                  <a:pt x="1" y="33"/>
                </a:lnTo>
                <a:lnTo>
                  <a:pt x="1" y="33"/>
                </a:lnTo>
                <a:lnTo>
                  <a:pt x="1" y="35"/>
                </a:lnTo>
                <a:lnTo>
                  <a:pt x="1" y="41"/>
                </a:lnTo>
                <a:lnTo>
                  <a:pt x="1" y="43"/>
                </a:lnTo>
                <a:lnTo>
                  <a:pt x="2" y="44"/>
                </a:lnTo>
                <a:lnTo>
                  <a:pt x="2" y="46"/>
                </a:lnTo>
                <a:lnTo>
                  <a:pt x="2" y="47"/>
                </a:lnTo>
                <a:lnTo>
                  <a:pt x="2" y="48"/>
                </a:lnTo>
                <a:lnTo>
                  <a:pt x="3" y="49"/>
                </a:lnTo>
                <a:lnTo>
                  <a:pt x="4" y="49"/>
                </a:lnTo>
                <a:lnTo>
                  <a:pt x="4" y="50"/>
                </a:lnTo>
                <a:lnTo>
                  <a:pt x="5" y="51"/>
                </a:lnTo>
                <a:lnTo>
                  <a:pt x="6" y="51"/>
                </a:lnTo>
                <a:lnTo>
                  <a:pt x="7" y="52"/>
                </a:lnTo>
                <a:lnTo>
                  <a:pt x="8" y="52"/>
                </a:lnTo>
                <a:lnTo>
                  <a:pt x="10" y="52"/>
                </a:lnTo>
                <a:lnTo>
                  <a:pt x="11" y="52"/>
                </a:lnTo>
                <a:lnTo>
                  <a:pt x="13" y="52"/>
                </a:lnTo>
                <a:lnTo>
                  <a:pt x="14" y="52"/>
                </a:lnTo>
                <a:lnTo>
                  <a:pt x="16" y="51"/>
                </a:lnTo>
                <a:lnTo>
                  <a:pt x="17" y="51"/>
                </a:lnTo>
                <a:lnTo>
                  <a:pt x="18" y="51"/>
                </a:lnTo>
                <a:lnTo>
                  <a:pt x="21" y="52"/>
                </a:lnTo>
                <a:lnTo>
                  <a:pt x="23" y="52"/>
                </a:lnTo>
                <a:lnTo>
                  <a:pt x="24" y="52"/>
                </a:lnTo>
                <a:lnTo>
                  <a:pt x="27" y="51"/>
                </a:lnTo>
                <a:lnTo>
                  <a:pt x="29" y="51"/>
                </a:lnTo>
                <a:lnTo>
                  <a:pt x="31" y="51"/>
                </a:lnTo>
                <a:lnTo>
                  <a:pt x="35" y="51"/>
                </a:lnTo>
                <a:lnTo>
                  <a:pt x="37" y="51"/>
                </a:lnTo>
                <a:lnTo>
                  <a:pt x="48" y="50"/>
                </a:lnTo>
                <a:lnTo>
                  <a:pt x="53" y="50"/>
                </a:lnTo>
                <a:lnTo>
                  <a:pt x="55" y="49"/>
                </a:lnTo>
                <a:lnTo>
                  <a:pt x="57" y="49"/>
                </a:lnTo>
                <a:lnTo>
                  <a:pt x="59" y="49"/>
                </a:lnTo>
                <a:lnTo>
                  <a:pt x="60" y="49"/>
                </a:lnTo>
                <a:lnTo>
                  <a:pt x="60" y="49"/>
                </a:lnTo>
                <a:lnTo>
                  <a:pt x="61" y="49"/>
                </a:lnTo>
                <a:lnTo>
                  <a:pt x="62" y="48"/>
                </a:lnTo>
                <a:lnTo>
                  <a:pt x="63" y="48"/>
                </a:lnTo>
                <a:lnTo>
                  <a:pt x="63" y="47"/>
                </a:lnTo>
                <a:lnTo>
                  <a:pt x="64" y="45"/>
                </a:lnTo>
                <a:lnTo>
                  <a:pt x="66" y="43"/>
                </a:lnTo>
                <a:lnTo>
                  <a:pt x="67" y="41"/>
                </a:lnTo>
                <a:lnTo>
                  <a:pt x="68" y="39"/>
                </a:lnTo>
                <a:lnTo>
                  <a:pt x="69" y="36"/>
                </a:lnTo>
                <a:lnTo>
                  <a:pt x="70" y="35"/>
                </a:lnTo>
                <a:lnTo>
                  <a:pt x="71" y="34"/>
                </a:lnTo>
                <a:lnTo>
                  <a:pt x="72" y="33"/>
                </a:lnTo>
                <a:lnTo>
                  <a:pt x="73" y="33"/>
                </a:lnTo>
                <a:lnTo>
                  <a:pt x="74" y="32"/>
                </a:lnTo>
                <a:lnTo>
                  <a:pt x="79" y="31"/>
                </a:lnTo>
                <a:lnTo>
                  <a:pt x="81" y="31"/>
                </a:lnTo>
                <a:lnTo>
                  <a:pt x="82" y="30"/>
                </a:lnTo>
                <a:lnTo>
                  <a:pt x="84" y="30"/>
                </a:lnTo>
                <a:lnTo>
                  <a:pt x="85" y="30"/>
                </a:lnTo>
                <a:lnTo>
                  <a:pt x="86" y="30"/>
                </a:lnTo>
                <a:lnTo>
                  <a:pt x="87" y="31"/>
                </a:lnTo>
                <a:lnTo>
                  <a:pt x="89" y="31"/>
                </a:lnTo>
                <a:lnTo>
                  <a:pt x="91" y="32"/>
                </a:lnTo>
                <a:lnTo>
                  <a:pt x="93" y="33"/>
                </a:lnTo>
                <a:lnTo>
                  <a:pt x="94" y="34"/>
                </a:lnTo>
                <a:lnTo>
                  <a:pt x="95" y="35"/>
                </a:lnTo>
                <a:lnTo>
                  <a:pt x="96" y="36"/>
                </a:lnTo>
                <a:lnTo>
                  <a:pt x="98" y="38"/>
                </a:lnTo>
                <a:lnTo>
                  <a:pt x="98" y="39"/>
                </a:lnTo>
                <a:lnTo>
                  <a:pt x="99" y="40"/>
                </a:lnTo>
                <a:lnTo>
                  <a:pt x="100" y="40"/>
                </a:lnTo>
                <a:lnTo>
                  <a:pt x="101" y="41"/>
                </a:lnTo>
                <a:lnTo>
                  <a:pt x="101" y="41"/>
                </a:lnTo>
                <a:lnTo>
                  <a:pt x="104" y="42"/>
                </a:lnTo>
                <a:lnTo>
                  <a:pt x="106" y="43"/>
                </a:lnTo>
                <a:lnTo>
                  <a:pt x="108" y="44"/>
                </a:lnTo>
                <a:lnTo>
                  <a:pt x="109" y="45"/>
                </a:lnTo>
                <a:lnTo>
                  <a:pt x="109" y="45"/>
                </a:lnTo>
                <a:lnTo>
                  <a:pt x="110" y="46"/>
                </a:lnTo>
                <a:lnTo>
                  <a:pt x="111" y="47"/>
                </a:lnTo>
                <a:lnTo>
                  <a:pt x="112" y="48"/>
                </a:lnTo>
                <a:lnTo>
                  <a:pt x="112" y="49"/>
                </a:lnTo>
                <a:lnTo>
                  <a:pt x="113" y="49"/>
                </a:lnTo>
                <a:lnTo>
                  <a:pt x="114" y="52"/>
                </a:lnTo>
                <a:lnTo>
                  <a:pt x="114" y="53"/>
                </a:lnTo>
                <a:lnTo>
                  <a:pt x="115" y="53"/>
                </a:lnTo>
                <a:lnTo>
                  <a:pt x="115" y="53"/>
                </a:lnTo>
                <a:lnTo>
                  <a:pt x="115" y="53"/>
                </a:lnTo>
                <a:lnTo>
                  <a:pt x="116" y="54"/>
                </a:lnTo>
                <a:lnTo>
                  <a:pt x="119" y="54"/>
                </a:lnTo>
                <a:lnTo>
                  <a:pt x="121" y="54"/>
                </a:lnTo>
                <a:lnTo>
                  <a:pt x="123" y="55"/>
                </a:lnTo>
                <a:lnTo>
                  <a:pt x="124" y="55"/>
                </a:lnTo>
                <a:lnTo>
                  <a:pt x="125" y="55"/>
                </a:lnTo>
                <a:lnTo>
                  <a:pt x="128" y="54"/>
                </a:lnTo>
                <a:lnTo>
                  <a:pt x="128" y="54"/>
                </a:lnTo>
                <a:lnTo>
                  <a:pt x="129" y="53"/>
                </a:lnTo>
                <a:lnTo>
                  <a:pt x="130" y="53"/>
                </a:lnTo>
                <a:lnTo>
                  <a:pt x="134" y="50"/>
                </a:lnTo>
                <a:lnTo>
                  <a:pt x="135" y="49"/>
                </a:lnTo>
                <a:lnTo>
                  <a:pt x="136" y="48"/>
                </a:lnTo>
                <a:lnTo>
                  <a:pt x="138" y="48"/>
                </a:lnTo>
                <a:lnTo>
                  <a:pt x="139" y="47"/>
                </a:lnTo>
                <a:lnTo>
                  <a:pt x="140" y="47"/>
                </a:lnTo>
                <a:lnTo>
                  <a:pt x="142" y="47"/>
                </a:lnTo>
                <a:lnTo>
                  <a:pt x="144" y="47"/>
                </a:lnTo>
                <a:lnTo>
                  <a:pt x="145" y="47"/>
                </a:lnTo>
                <a:lnTo>
                  <a:pt x="145" y="47"/>
                </a:lnTo>
                <a:lnTo>
                  <a:pt x="146" y="47"/>
                </a:lnTo>
                <a:lnTo>
                  <a:pt x="146" y="47"/>
                </a:lnTo>
                <a:lnTo>
                  <a:pt x="146" y="46"/>
                </a:lnTo>
                <a:lnTo>
                  <a:pt x="146" y="46"/>
                </a:lnTo>
                <a:lnTo>
                  <a:pt x="146" y="44"/>
                </a:lnTo>
                <a:lnTo>
                  <a:pt x="146" y="41"/>
                </a:lnTo>
                <a:lnTo>
                  <a:pt x="146" y="40"/>
                </a:lnTo>
                <a:lnTo>
                  <a:pt x="146" y="40"/>
                </a:lnTo>
                <a:lnTo>
                  <a:pt x="146" y="40"/>
                </a:lnTo>
                <a:lnTo>
                  <a:pt x="147" y="39"/>
                </a:lnTo>
                <a:lnTo>
                  <a:pt x="147" y="39"/>
                </a:lnTo>
                <a:lnTo>
                  <a:pt x="148" y="39"/>
                </a:lnTo>
                <a:lnTo>
                  <a:pt x="148" y="38"/>
                </a:lnTo>
                <a:lnTo>
                  <a:pt x="149" y="39"/>
                </a:lnTo>
                <a:lnTo>
                  <a:pt x="150" y="39"/>
                </a:lnTo>
                <a:lnTo>
                  <a:pt x="154" y="41"/>
                </a:lnTo>
                <a:lnTo>
                  <a:pt x="155" y="42"/>
                </a:lnTo>
                <a:lnTo>
                  <a:pt x="156" y="43"/>
                </a:lnTo>
                <a:lnTo>
                  <a:pt x="159" y="44"/>
                </a:lnTo>
                <a:lnTo>
                  <a:pt x="160" y="44"/>
                </a:lnTo>
                <a:lnTo>
                  <a:pt x="161" y="45"/>
                </a:lnTo>
                <a:lnTo>
                  <a:pt x="166" y="48"/>
                </a:lnTo>
                <a:lnTo>
                  <a:pt x="167" y="49"/>
                </a:lnTo>
                <a:lnTo>
                  <a:pt x="169" y="50"/>
                </a:lnTo>
                <a:lnTo>
                  <a:pt x="170" y="50"/>
                </a:lnTo>
                <a:lnTo>
                  <a:pt x="171" y="50"/>
                </a:lnTo>
                <a:lnTo>
                  <a:pt x="171" y="50"/>
                </a:lnTo>
                <a:lnTo>
                  <a:pt x="172" y="50"/>
                </a:lnTo>
                <a:lnTo>
                  <a:pt x="172" y="50"/>
                </a:lnTo>
                <a:lnTo>
                  <a:pt x="174" y="48"/>
                </a:lnTo>
                <a:lnTo>
                  <a:pt x="176" y="47"/>
                </a:lnTo>
                <a:lnTo>
                  <a:pt x="178" y="47"/>
                </a:lnTo>
                <a:lnTo>
                  <a:pt x="178" y="46"/>
                </a:lnTo>
                <a:lnTo>
                  <a:pt x="179" y="46"/>
                </a:lnTo>
                <a:lnTo>
                  <a:pt x="181" y="46"/>
                </a:lnTo>
                <a:lnTo>
                  <a:pt x="182" y="46"/>
                </a:lnTo>
                <a:lnTo>
                  <a:pt x="185" y="46"/>
                </a:lnTo>
                <a:lnTo>
                  <a:pt x="186" y="47"/>
                </a:lnTo>
                <a:lnTo>
                  <a:pt x="187" y="47"/>
                </a:lnTo>
                <a:lnTo>
                  <a:pt x="188" y="47"/>
                </a:lnTo>
                <a:lnTo>
                  <a:pt x="189" y="47"/>
                </a:lnTo>
                <a:lnTo>
                  <a:pt x="192" y="49"/>
                </a:lnTo>
                <a:lnTo>
                  <a:pt x="193" y="49"/>
                </a:lnTo>
                <a:lnTo>
                  <a:pt x="195" y="50"/>
                </a:lnTo>
                <a:lnTo>
                  <a:pt x="196" y="50"/>
                </a:lnTo>
                <a:lnTo>
                  <a:pt x="199" y="51"/>
                </a:lnTo>
                <a:lnTo>
                  <a:pt x="204" y="51"/>
                </a:lnTo>
                <a:lnTo>
                  <a:pt x="206" y="51"/>
                </a:lnTo>
                <a:lnTo>
                  <a:pt x="209" y="52"/>
                </a:lnTo>
                <a:lnTo>
                  <a:pt x="210" y="51"/>
                </a:lnTo>
                <a:lnTo>
                  <a:pt x="211" y="51"/>
                </a:lnTo>
                <a:lnTo>
                  <a:pt x="214" y="51"/>
                </a:lnTo>
                <a:lnTo>
                  <a:pt x="216" y="50"/>
                </a:lnTo>
                <a:lnTo>
                  <a:pt x="218" y="50"/>
                </a:lnTo>
                <a:lnTo>
                  <a:pt x="221" y="49"/>
                </a:lnTo>
                <a:lnTo>
                  <a:pt x="221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49"/>
                </a:lnTo>
                <a:lnTo>
                  <a:pt x="222" y="50"/>
                </a:lnTo>
                <a:lnTo>
                  <a:pt x="222" y="51"/>
                </a:lnTo>
                <a:lnTo>
                  <a:pt x="222" y="52"/>
                </a:lnTo>
                <a:lnTo>
                  <a:pt x="222" y="55"/>
                </a:lnTo>
                <a:lnTo>
                  <a:pt x="221" y="56"/>
                </a:lnTo>
                <a:lnTo>
                  <a:pt x="221" y="57"/>
                </a:lnTo>
                <a:lnTo>
                  <a:pt x="222" y="57"/>
                </a:lnTo>
                <a:lnTo>
                  <a:pt x="222" y="58"/>
                </a:lnTo>
                <a:lnTo>
                  <a:pt x="222" y="58"/>
                </a:lnTo>
                <a:lnTo>
                  <a:pt x="223" y="59"/>
                </a:lnTo>
                <a:lnTo>
                  <a:pt x="224" y="59"/>
                </a:lnTo>
                <a:lnTo>
                  <a:pt x="224" y="60"/>
                </a:lnTo>
                <a:lnTo>
                  <a:pt x="225" y="60"/>
                </a:lnTo>
                <a:lnTo>
                  <a:pt x="226" y="60"/>
                </a:lnTo>
                <a:lnTo>
                  <a:pt x="228" y="60"/>
                </a:lnTo>
                <a:lnTo>
                  <a:pt x="231" y="61"/>
                </a:lnTo>
                <a:lnTo>
                  <a:pt x="233" y="61"/>
                </a:lnTo>
                <a:lnTo>
                  <a:pt x="235" y="62"/>
                </a:lnTo>
                <a:lnTo>
                  <a:pt x="238" y="62"/>
                </a:lnTo>
                <a:lnTo>
                  <a:pt x="240" y="63"/>
                </a:lnTo>
                <a:lnTo>
                  <a:pt x="241" y="64"/>
                </a:lnTo>
                <a:lnTo>
                  <a:pt x="242" y="65"/>
                </a:lnTo>
                <a:lnTo>
                  <a:pt x="245" y="66"/>
                </a:lnTo>
                <a:lnTo>
                  <a:pt x="246" y="67"/>
                </a:lnTo>
                <a:lnTo>
                  <a:pt x="246" y="67"/>
                </a:lnTo>
                <a:lnTo>
                  <a:pt x="247" y="67"/>
                </a:lnTo>
                <a:lnTo>
                  <a:pt x="247" y="67"/>
                </a:lnTo>
                <a:lnTo>
                  <a:pt x="248" y="67"/>
                </a:lnTo>
                <a:lnTo>
                  <a:pt x="248" y="67"/>
                </a:lnTo>
                <a:lnTo>
                  <a:pt x="249" y="67"/>
                </a:lnTo>
                <a:lnTo>
                  <a:pt x="250" y="67"/>
                </a:lnTo>
                <a:lnTo>
                  <a:pt x="250" y="66"/>
                </a:lnTo>
                <a:lnTo>
                  <a:pt x="251" y="65"/>
                </a:lnTo>
                <a:lnTo>
                  <a:pt x="252" y="62"/>
                </a:lnTo>
                <a:lnTo>
                  <a:pt x="253" y="61"/>
                </a:lnTo>
                <a:lnTo>
                  <a:pt x="255" y="59"/>
                </a:lnTo>
                <a:lnTo>
                  <a:pt x="257" y="58"/>
                </a:lnTo>
                <a:lnTo>
                  <a:pt x="259" y="56"/>
                </a:lnTo>
                <a:lnTo>
                  <a:pt x="263" y="52"/>
                </a:lnTo>
                <a:lnTo>
                  <a:pt x="265" y="50"/>
                </a:lnTo>
                <a:lnTo>
                  <a:pt x="268" y="48"/>
                </a:lnTo>
                <a:lnTo>
                  <a:pt x="269" y="48"/>
                </a:lnTo>
                <a:lnTo>
                  <a:pt x="270" y="47"/>
                </a:lnTo>
                <a:lnTo>
                  <a:pt x="272" y="47"/>
                </a:lnTo>
                <a:lnTo>
                  <a:pt x="277" y="45"/>
                </a:lnTo>
                <a:lnTo>
                  <a:pt x="278" y="45"/>
                </a:lnTo>
                <a:lnTo>
                  <a:pt x="280" y="44"/>
                </a:lnTo>
                <a:lnTo>
                  <a:pt x="281" y="43"/>
                </a:lnTo>
                <a:lnTo>
                  <a:pt x="283" y="43"/>
                </a:lnTo>
                <a:lnTo>
                  <a:pt x="283" y="42"/>
                </a:lnTo>
                <a:lnTo>
                  <a:pt x="284" y="42"/>
                </a:lnTo>
                <a:lnTo>
                  <a:pt x="284" y="41"/>
                </a:lnTo>
                <a:lnTo>
                  <a:pt x="285" y="40"/>
                </a:lnTo>
                <a:lnTo>
                  <a:pt x="285" y="39"/>
                </a:lnTo>
                <a:lnTo>
                  <a:pt x="285" y="38"/>
                </a:lnTo>
                <a:lnTo>
                  <a:pt x="284" y="37"/>
                </a:lnTo>
                <a:lnTo>
                  <a:pt x="284" y="34"/>
                </a:lnTo>
                <a:lnTo>
                  <a:pt x="283" y="31"/>
                </a:lnTo>
                <a:lnTo>
                  <a:pt x="282" y="29"/>
                </a:lnTo>
                <a:lnTo>
                  <a:pt x="282" y="28"/>
                </a:lnTo>
                <a:lnTo>
                  <a:pt x="282" y="27"/>
                </a:lnTo>
                <a:lnTo>
                  <a:pt x="282" y="25"/>
                </a:lnTo>
                <a:lnTo>
                  <a:pt x="282" y="24"/>
                </a:lnTo>
                <a:lnTo>
                  <a:pt x="283" y="20"/>
                </a:lnTo>
                <a:lnTo>
                  <a:pt x="284" y="19"/>
                </a:lnTo>
                <a:lnTo>
                  <a:pt x="284" y="17"/>
                </a:lnTo>
                <a:lnTo>
                  <a:pt x="284" y="15"/>
                </a:lnTo>
                <a:lnTo>
                  <a:pt x="284" y="14"/>
                </a:lnTo>
                <a:lnTo>
                  <a:pt x="284" y="14"/>
                </a:lnTo>
                <a:lnTo>
                  <a:pt x="285" y="13"/>
                </a:lnTo>
                <a:lnTo>
                  <a:pt x="285" y="12"/>
                </a:lnTo>
                <a:lnTo>
                  <a:pt x="286" y="11"/>
                </a:lnTo>
                <a:lnTo>
                  <a:pt x="288" y="10"/>
                </a:lnTo>
                <a:lnTo>
                  <a:pt x="288" y="9"/>
                </a:lnTo>
                <a:lnTo>
                  <a:pt x="289" y="8"/>
                </a:lnTo>
                <a:lnTo>
                  <a:pt x="290" y="7"/>
                </a:lnTo>
                <a:lnTo>
                  <a:pt x="291" y="6"/>
                </a:lnTo>
                <a:lnTo>
                  <a:pt x="291" y="5"/>
                </a:lnTo>
                <a:lnTo>
                  <a:pt x="292" y="4"/>
                </a:lnTo>
                <a:lnTo>
                  <a:pt x="295" y="2"/>
                </a:lnTo>
                <a:lnTo>
                  <a:pt x="297" y="0"/>
                </a:lnTo>
                <a:lnTo>
                  <a:pt x="298" y="0"/>
                </a:lnTo>
                <a:lnTo>
                  <a:pt x="299" y="0"/>
                </a:lnTo>
                <a:lnTo>
                  <a:pt x="299" y="0"/>
                </a:lnTo>
                <a:lnTo>
                  <a:pt x="300" y="0"/>
                </a:lnTo>
                <a:lnTo>
                  <a:pt x="301" y="0"/>
                </a:lnTo>
                <a:lnTo>
                  <a:pt x="302" y="0"/>
                </a:lnTo>
                <a:lnTo>
                  <a:pt x="303" y="1"/>
                </a:lnTo>
                <a:lnTo>
                  <a:pt x="306" y="3"/>
                </a:lnTo>
                <a:lnTo>
                  <a:pt x="307" y="4"/>
                </a:lnTo>
                <a:lnTo>
                  <a:pt x="310" y="5"/>
                </a:lnTo>
                <a:lnTo>
                  <a:pt x="315" y="8"/>
                </a:lnTo>
                <a:lnTo>
                  <a:pt x="317" y="8"/>
                </a:lnTo>
                <a:lnTo>
                  <a:pt x="318" y="9"/>
                </a:lnTo>
                <a:lnTo>
                  <a:pt x="319" y="10"/>
                </a:lnTo>
                <a:lnTo>
                  <a:pt x="320" y="11"/>
                </a:lnTo>
                <a:lnTo>
                  <a:pt x="325" y="15"/>
                </a:lnTo>
                <a:lnTo>
                  <a:pt x="327" y="17"/>
                </a:lnTo>
                <a:lnTo>
                  <a:pt x="329" y="18"/>
                </a:lnTo>
                <a:lnTo>
                  <a:pt x="330" y="19"/>
                </a:lnTo>
                <a:lnTo>
                  <a:pt x="331" y="20"/>
                </a:lnTo>
                <a:lnTo>
                  <a:pt x="333" y="20"/>
                </a:lnTo>
                <a:lnTo>
                  <a:pt x="333" y="20"/>
                </a:lnTo>
                <a:lnTo>
                  <a:pt x="334" y="21"/>
                </a:lnTo>
                <a:lnTo>
                  <a:pt x="334" y="21"/>
                </a:lnTo>
                <a:lnTo>
                  <a:pt x="335" y="20"/>
                </a:lnTo>
                <a:lnTo>
                  <a:pt x="336" y="20"/>
                </a:lnTo>
                <a:lnTo>
                  <a:pt x="338" y="19"/>
                </a:lnTo>
                <a:lnTo>
                  <a:pt x="339" y="18"/>
                </a:lnTo>
                <a:lnTo>
                  <a:pt x="340" y="18"/>
                </a:lnTo>
                <a:lnTo>
                  <a:pt x="342" y="17"/>
                </a:lnTo>
                <a:lnTo>
                  <a:pt x="342" y="17"/>
                </a:lnTo>
                <a:lnTo>
                  <a:pt x="343" y="17"/>
                </a:lnTo>
                <a:lnTo>
                  <a:pt x="343" y="17"/>
                </a:lnTo>
                <a:lnTo>
                  <a:pt x="344" y="18"/>
                </a:lnTo>
                <a:lnTo>
                  <a:pt x="344" y="18"/>
                </a:lnTo>
                <a:lnTo>
                  <a:pt x="345" y="18"/>
                </a:lnTo>
                <a:lnTo>
                  <a:pt x="345" y="19"/>
                </a:lnTo>
                <a:lnTo>
                  <a:pt x="346" y="21"/>
                </a:lnTo>
                <a:lnTo>
                  <a:pt x="347" y="23"/>
                </a:lnTo>
                <a:lnTo>
                  <a:pt x="348" y="25"/>
                </a:lnTo>
                <a:lnTo>
                  <a:pt x="349" y="27"/>
                </a:lnTo>
                <a:lnTo>
                  <a:pt x="351" y="31"/>
                </a:lnTo>
                <a:lnTo>
                  <a:pt x="353" y="35"/>
                </a:lnTo>
                <a:lnTo>
                  <a:pt x="354" y="37"/>
                </a:lnTo>
                <a:lnTo>
                  <a:pt x="355" y="38"/>
                </a:lnTo>
                <a:lnTo>
                  <a:pt x="356" y="39"/>
                </a:lnTo>
                <a:lnTo>
                  <a:pt x="356" y="40"/>
                </a:lnTo>
                <a:lnTo>
                  <a:pt x="358" y="41"/>
                </a:lnTo>
                <a:lnTo>
                  <a:pt x="359" y="42"/>
                </a:lnTo>
                <a:lnTo>
                  <a:pt x="360" y="42"/>
                </a:lnTo>
                <a:lnTo>
                  <a:pt x="361" y="43"/>
                </a:lnTo>
                <a:lnTo>
                  <a:pt x="362" y="43"/>
                </a:lnTo>
                <a:lnTo>
                  <a:pt x="363" y="43"/>
                </a:lnTo>
                <a:lnTo>
                  <a:pt x="364" y="43"/>
                </a:lnTo>
                <a:lnTo>
                  <a:pt x="365" y="43"/>
                </a:lnTo>
                <a:lnTo>
                  <a:pt x="366" y="43"/>
                </a:lnTo>
                <a:lnTo>
                  <a:pt x="367" y="43"/>
                </a:lnTo>
                <a:lnTo>
                  <a:pt x="368" y="43"/>
                </a:lnTo>
                <a:lnTo>
                  <a:pt x="368" y="43"/>
                </a:lnTo>
                <a:lnTo>
                  <a:pt x="369" y="42"/>
                </a:lnTo>
                <a:lnTo>
                  <a:pt x="370" y="42"/>
                </a:lnTo>
                <a:lnTo>
                  <a:pt x="370" y="42"/>
                </a:lnTo>
                <a:lnTo>
                  <a:pt x="370" y="43"/>
                </a:lnTo>
                <a:lnTo>
                  <a:pt x="371" y="49"/>
                </a:lnTo>
                <a:lnTo>
                  <a:pt x="371" y="50"/>
                </a:lnTo>
                <a:lnTo>
                  <a:pt x="371" y="52"/>
                </a:lnTo>
                <a:lnTo>
                  <a:pt x="371" y="53"/>
                </a:lnTo>
                <a:lnTo>
                  <a:pt x="371" y="54"/>
                </a:lnTo>
                <a:lnTo>
                  <a:pt x="371" y="54"/>
                </a:lnTo>
                <a:lnTo>
                  <a:pt x="371" y="55"/>
                </a:lnTo>
                <a:lnTo>
                  <a:pt x="370" y="56"/>
                </a:lnTo>
                <a:lnTo>
                  <a:pt x="370" y="57"/>
                </a:lnTo>
                <a:lnTo>
                  <a:pt x="369" y="58"/>
                </a:lnTo>
                <a:lnTo>
                  <a:pt x="368" y="58"/>
                </a:lnTo>
                <a:lnTo>
                  <a:pt x="367" y="59"/>
                </a:lnTo>
                <a:lnTo>
                  <a:pt x="365" y="59"/>
                </a:lnTo>
                <a:lnTo>
                  <a:pt x="364" y="60"/>
                </a:lnTo>
                <a:lnTo>
                  <a:pt x="363" y="60"/>
                </a:lnTo>
                <a:lnTo>
                  <a:pt x="362" y="61"/>
                </a:lnTo>
                <a:lnTo>
                  <a:pt x="362" y="62"/>
                </a:lnTo>
                <a:lnTo>
                  <a:pt x="361" y="62"/>
                </a:lnTo>
                <a:lnTo>
                  <a:pt x="361" y="62"/>
                </a:lnTo>
                <a:lnTo>
                  <a:pt x="361" y="63"/>
                </a:lnTo>
                <a:lnTo>
                  <a:pt x="361" y="64"/>
                </a:lnTo>
                <a:lnTo>
                  <a:pt x="361" y="64"/>
                </a:lnTo>
                <a:lnTo>
                  <a:pt x="361" y="65"/>
                </a:lnTo>
                <a:lnTo>
                  <a:pt x="361" y="66"/>
                </a:lnTo>
                <a:lnTo>
                  <a:pt x="362" y="67"/>
                </a:lnTo>
                <a:lnTo>
                  <a:pt x="365" y="71"/>
                </a:lnTo>
                <a:lnTo>
                  <a:pt x="365" y="72"/>
                </a:lnTo>
                <a:lnTo>
                  <a:pt x="366" y="74"/>
                </a:lnTo>
                <a:lnTo>
                  <a:pt x="366" y="75"/>
                </a:lnTo>
                <a:lnTo>
                  <a:pt x="367" y="77"/>
                </a:lnTo>
                <a:lnTo>
                  <a:pt x="367" y="78"/>
                </a:lnTo>
                <a:lnTo>
                  <a:pt x="367" y="79"/>
                </a:lnTo>
                <a:lnTo>
                  <a:pt x="368" y="82"/>
                </a:lnTo>
                <a:lnTo>
                  <a:pt x="368" y="84"/>
                </a:lnTo>
                <a:lnTo>
                  <a:pt x="368" y="85"/>
                </a:lnTo>
                <a:lnTo>
                  <a:pt x="367" y="89"/>
                </a:lnTo>
                <a:lnTo>
                  <a:pt x="367" y="91"/>
                </a:lnTo>
                <a:lnTo>
                  <a:pt x="367" y="92"/>
                </a:lnTo>
                <a:lnTo>
                  <a:pt x="367" y="96"/>
                </a:lnTo>
                <a:lnTo>
                  <a:pt x="367" y="97"/>
                </a:lnTo>
                <a:lnTo>
                  <a:pt x="367" y="100"/>
                </a:lnTo>
                <a:lnTo>
                  <a:pt x="366" y="102"/>
                </a:lnTo>
                <a:lnTo>
                  <a:pt x="366" y="103"/>
                </a:lnTo>
                <a:lnTo>
                  <a:pt x="365" y="105"/>
                </a:lnTo>
                <a:lnTo>
                  <a:pt x="365" y="107"/>
                </a:lnTo>
                <a:lnTo>
                  <a:pt x="363" y="112"/>
                </a:lnTo>
                <a:lnTo>
                  <a:pt x="361" y="116"/>
                </a:lnTo>
                <a:lnTo>
                  <a:pt x="360" y="120"/>
                </a:lnTo>
                <a:lnTo>
                  <a:pt x="360" y="121"/>
                </a:lnTo>
                <a:lnTo>
                  <a:pt x="359" y="122"/>
                </a:lnTo>
                <a:lnTo>
                  <a:pt x="359" y="123"/>
                </a:lnTo>
                <a:lnTo>
                  <a:pt x="359" y="124"/>
                </a:lnTo>
                <a:lnTo>
                  <a:pt x="360" y="125"/>
                </a:lnTo>
                <a:lnTo>
                  <a:pt x="360" y="126"/>
                </a:lnTo>
                <a:lnTo>
                  <a:pt x="360" y="126"/>
                </a:lnTo>
                <a:lnTo>
                  <a:pt x="360" y="127"/>
                </a:lnTo>
                <a:lnTo>
                  <a:pt x="359" y="132"/>
                </a:lnTo>
                <a:lnTo>
                  <a:pt x="358" y="136"/>
                </a:lnTo>
                <a:lnTo>
                  <a:pt x="357" y="138"/>
                </a:lnTo>
                <a:lnTo>
                  <a:pt x="356" y="140"/>
                </a:lnTo>
                <a:lnTo>
                  <a:pt x="355" y="144"/>
                </a:lnTo>
                <a:lnTo>
                  <a:pt x="355" y="145"/>
                </a:lnTo>
                <a:lnTo>
                  <a:pt x="354" y="147"/>
                </a:lnTo>
                <a:lnTo>
                  <a:pt x="354" y="149"/>
                </a:lnTo>
                <a:lnTo>
                  <a:pt x="354" y="150"/>
                </a:lnTo>
                <a:lnTo>
                  <a:pt x="354" y="151"/>
                </a:lnTo>
                <a:lnTo>
                  <a:pt x="355" y="153"/>
                </a:lnTo>
                <a:lnTo>
                  <a:pt x="355" y="153"/>
                </a:lnTo>
                <a:lnTo>
                  <a:pt x="355" y="154"/>
                </a:lnTo>
                <a:lnTo>
                  <a:pt x="356" y="156"/>
                </a:lnTo>
                <a:lnTo>
                  <a:pt x="357" y="157"/>
                </a:lnTo>
                <a:lnTo>
                  <a:pt x="358" y="158"/>
                </a:lnTo>
                <a:lnTo>
                  <a:pt x="360" y="160"/>
                </a:lnTo>
                <a:lnTo>
                  <a:pt x="363" y="162"/>
                </a:lnTo>
                <a:lnTo>
                  <a:pt x="364" y="163"/>
                </a:lnTo>
                <a:lnTo>
                  <a:pt x="365" y="164"/>
                </a:lnTo>
                <a:lnTo>
                  <a:pt x="365" y="165"/>
                </a:lnTo>
                <a:lnTo>
                  <a:pt x="366" y="166"/>
                </a:lnTo>
                <a:lnTo>
                  <a:pt x="367" y="168"/>
                </a:lnTo>
                <a:lnTo>
                  <a:pt x="368" y="169"/>
                </a:lnTo>
                <a:lnTo>
                  <a:pt x="368" y="169"/>
                </a:lnTo>
                <a:lnTo>
                  <a:pt x="368" y="170"/>
                </a:lnTo>
                <a:lnTo>
                  <a:pt x="368" y="170"/>
                </a:lnTo>
                <a:lnTo>
                  <a:pt x="367" y="171"/>
                </a:lnTo>
                <a:lnTo>
                  <a:pt x="367" y="172"/>
                </a:lnTo>
                <a:lnTo>
                  <a:pt x="365" y="174"/>
                </a:lnTo>
                <a:lnTo>
                  <a:pt x="364" y="176"/>
                </a:lnTo>
                <a:lnTo>
                  <a:pt x="363" y="178"/>
                </a:lnTo>
                <a:lnTo>
                  <a:pt x="362" y="179"/>
                </a:lnTo>
                <a:lnTo>
                  <a:pt x="361" y="180"/>
                </a:lnTo>
                <a:lnTo>
                  <a:pt x="361" y="181"/>
                </a:lnTo>
                <a:lnTo>
                  <a:pt x="361" y="182"/>
                </a:lnTo>
                <a:lnTo>
                  <a:pt x="361" y="183"/>
                </a:lnTo>
                <a:lnTo>
                  <a:pt x="361" y="184"/>
                </a:lnTo>
                <a:lnTo>
                  <a:pt x="361" y="185"/>
                </a:lnTo>
                <a:lnTo>
                  <a:pt x="362" y="186"/>
                </a:lnTo>
                <a:lnTo>
                  <a:pt x="362" y="187"/>
                </a:lnTo>
                <a:lnTo>
                  <a:pt x="363" y="189"/>
                </a:lnTo>
                <a:lnTo>
                  <a:pt x="366" y="193"/>
                </a:lnTo>
                <a:lnTo>
                  <a:pt x="369" y="197"/>
                </a:lnTo>
                <a:lnTo>
                  <a:pt x="369" y="198"/>
                </a:lnTo>
                <a:lnTo>
                  <a:pt x="370" y="199"/>
                </a:lnTo>
                <a:lnTo>
                  <a:pt x="375" y="204"/>
                </a:lnTo>
                <a:lnTo>
                  <a:pt x="376" y="205"/>
                </a:lnTo>
                <a:lnTo>
                  <a:pt x="379" y="208"/>
                </a:lnTo>
                <a:lnTo>
                  <a:pt x="381" y="210"/>
                </a:lnTo>
                <a:lnTo>
                  <a:pt x="384" y="213"/>
                </a:lnTo>
                <a:lnTo>
                  <a:pt x="387" y="215"/>
                </a:lnTo>
                <a:lnTo>
                  <a:pt x="389" y="217"/>
                </a:lnTo>
                <a:lnTo>
                  <a:pt x="390" y="217"/>
                </a:lnTo>
                <a:lnTo>
                  <a:pt x="390" y="217"/>
                </a:lnTo>
                <a:lnTo>
                  <a:pt x="392" y="218"/>
                </a:lnTo>
                <a:lnTo>
                  <a:pt x="393" y="218"/>
                </a:lnTo>
                <a:lnTo>
                  <a:pt x="394" y="218"/>
                </a:lnTo>
                <a:lnTo>
                  <a:pt x="395" y="218"/>
                </a:lnTo>
                <a:lnTo>
                  <a:pt x="396" y="217"/>
                </a:lnTo>
                <a:lnTo>
                  <a:pt x="398" y="217"/>
                </a:lnTo>
                <a:lnTo>
                  <a:pt x="403" y="214"/>
                </a:lnTo>
                <a:lnTo>
                  <a:pt x="405" y="213"/>
                </a:lnTo>
                <a:lnTo>
                  <a:pt x="407" y="213"/>
                </a:lnTo>
                <a:lnTo>
                  <a:pt x="408" y="212"/>
                </a:lnTo>
                <a:lnTo>
                  <a:pt x="410" y="212"/>
                </a:lnTo>
                <a:lnTo>
                  <a:pt x="411" y="212"/>
                </a:lnTo>
                <a:lnTo>
                  <a:pt x="412" y="212"/>
                </a:lnTo>
                <a:lnTo>
                  <a:pt x="413" y="212"/>
                </a:lnTo>
                <a:lnTo>
                  <a:pt x="414" y="212"/>
                </a:lnTo>
                <a:lnTo>
                  <a:pt x="415" y="213"/>
                </a:lnTo>
                <a:lnTo>
                  <a:pt x="416" y="213"/>
                </a:lnTo>
                <a:lnTo>
                  <a:pt x="417" y="214"/>
                </a:lnTo>
                <a:lnTo>
                  <a:pt x="420" y="217"/>
                </a:lnTo>
                <a:lnTo>
                  <a:pt x="422" y="218"/>
                </a:lnTo>
                <a:lnTo>
                  <a:pt x="424" y="220"/>
                </a:lnTo>
                <a:lnTo>
                  <a:pt x="426" y="221"/>
                </a:lnTo>
                <a:lnTo>
                  <a:pt x="428" y="221"/>
                </a:lnTo>
                <a:lnTo>
                  <a:pt x="429" y="222"/>
                </a:lnTo>
                <a:lnTo>
                  <a:pt x="434" y="224"/>
                </a:lnTo>
                <a:lnTo>
                  <a:pt x="436" y="224"/>
                </a:lnTo>
                <a:lnTo>
                  <a:pt x="438" y="225"/>
                </a:lnTo>
                <a:lnTo>
                  <a:pt x="439" y="226"/>
                </a:lnTo>
                <a:lnTo>
                  <a:pt x="440" y="226"/>
                </a:lnTo>
                <a:lnTo>
                  <a:pt x="440" y="227"/>
                </a:lnTo>
                <a:lnTo>
                  <a:pt x="441" y="227"/>
                </a:lnTo>
                <a:lnTo>
                  <a:pt x="441" y="228"/>
                </a:lnTo>
                <a:lnTo>
                  <a:pt x="442" y="229"/>
                </a:lnTo>
                <a:lnTo>
                  <a:pt x="442" y="230"/>
                </a:lnTo>
                <a:lnTo>
                  <a:pt x="442" y="230"/>
                </a:lnTo>
                <a:lnTo>
                  <a:pt x="442" y="231"/>
                </a:lnTo>
                <a:lnTo>
                  <a:pt x="441" y="233"/>
                </a:lnTo>
                <a:lnTo>
                  <a:pt x="441" y="234"/>
                </a:lnTo>
                <a:lnTo>
                  <a:pt x="441" y="234"/>
                </a:lnTo>
                <a:lnTo>
                  <a:pt x="440" y="235"/>
                </a:lnTo>
                <a:lnTo>
                  <a:pt x="440" y="236"/>
                </a:lnTo>
                <a:lnTo>
                  <a:pt x="439" y="236"/>
                </a:lnTo>
                <a:lnTo>
                  <a:pt x="438" y="237"/>
                </a:lnTo>
                <a:lnTo>
                  <a:pt x="437" y="238"/>
                </a:lnTo>
                <a:lnTo>
                  <a:pt x="436" y="238"/>
                </a:lnTo>
                <a:lnTo>
                  <a:pt x="436" y="238"/>
                </a:lnTo>
                <a:lnTo>
                  <a:pt x="436" y="239"/>
                </a:lnTo>
                <a:lnTo>
                  <a:pt x="436" y="239"/>
                </a:lnTo>
                <a:lnTo>
                  <a:pt x="437" y="239"/>
                </a:lnTo>
                <a:lnTo>
                  <a:pt x="438" y="240"/>
                </a:lnTo>
                <a:lnTo>
                  <a:pt x="439" y="240"/>
                </a:lnTo>
                <a:lnTo>
                  <a:pt x="440" y="241"/>
                </a:lnTo>
                <a:lnTo>
                  <a:pt x="441" y="241"/>
                </a:lnTo>
                <a:lnTo>
                  <a:pt x="442" y="241"/>
                </a:lnTo>
                <a:lnTo>
                  <a:pt x="446" y="242"/>
                </a:lnTo>
                <a:lnTo>
                  <a:pt x="448" y="242"/>
                </a:lnTo>
                <a:lnTo>
                  <a:pt x="449" y="242"/>
                </a:lnTo>
                <a:lnTo>
                  <a:pt x="450" y="243"/>
                </a:lnTo>
                <a:lnTo>
                  <a:pt x="450" y="243"/>
                </a:lnTo>
                <a:lnTo>
                  <a:pt x="451" y="243"/>
                </a:lnTo>
                <a:lnTo>
                  <a:pt x="452" y="244"/>
                </a:lnTo>
                <a:lnTo>
                  <a:pt x="453" y="245"/>
                </a:lnTo>
                <a:lnTo>
                  <a:pt x="455" y="246"/>
                </a:lnTo>
                <a:lnTo>
                  <a:pt x="456" y="248"/>
                </a:lnTo>
                <a:lnTo>
                  <a:pt x="459" y="252"/>
                </a:lnTo>
                <a:lnTo>
                  <a:pt x="460" y="252"/>
                </a:lnTo>
                <a:lnTo>
                  <a:pt x="461" y="253"/>
                </a:lnTo>
                <a:lnTo>
                  <a:pt x="462" y="254"/>
                </a:lnTo>
                <a:lnTo>
                  <a:pt x="463" y="254"/>
                </a:lnTo>
                <a:lnTo>
                  <a:pt x="463" y="255"/>
                </a:lnTo>
                <a:lnTo>
                  <a:pt x="464" y="255"/>
                </a:lnTo>
                <a:lnTo>
                  <a:pt x="466" y="256"/>
                </a:lnTo>
                <a:lnTo>
                  <a:pt x="468" y="256"/>
                </a:lnTo>
                <a:lnTo>
                  <a:pt x="469" y="256"/>
                </a:lnTo>
                <a:lnTo>
                  <a:pt x="471" y="256"/>
                </a:lnTo>
                <a:lnTo>
                  <a:pt x="472" y="256"/>
                </a:lnTo>
                <a:lnTo>
                  <a:pt x="474" y="255"/>
                </a:lnTo>
                <a:lnTo>
                  <a:pt x="475" y="254"/>
                </a:lnTo>
                <a:lnTo>
                  <a:pt x="479" y="252"/>
                </a:lnTo>
                <a:lnTo>
                  <a:pt x="481" y="252"/>
                </a:lnTo>
                <a:lnTo>
                  <a:pt x="482" y="251"/>
                </a:lnTo>
                <a:lnTo>
                  <a:pt x="482" y="251"/>
                </a:lnTo>
                <a:lnTo>
                  <a:pt x="483" y="251"/>
                </a:lnTo>
                <a:lnTo>
                  <a:pt x="484" y="251"/>
                </a:lnTo>
                <a:lnTo>
                  <a:pt x="485" y="251"/>
                </a:lnTo>
                <a:lnTo>
                  <a:pt x="486" y="252"/>
                </a:lnTo>
                <a:lnTo>
                  <a:pt x="493" y="253"/>
                </a:lnTo>
                <a:lnTo>
                  <a:pt x="498" y="255"/>
                </a:lnTo>
                <a:lnTo>
                  <a:pt x="501" y="256"/>
                </a:lnTo>
                <a:lnTo>
                  <a:pt x="503" y="257"/>
                </a:lnTo>
                <a:lnTo>
                  <a:pt x="505" y="258"/>
                </a:lnTo>
                <a:lnTo>
                  <a:pt x="506" y="259"/>
                </a:lnTo>
                <a:lnTo>
                  <a:pt x="507" y="259"/>
                </a:lnTo>
                <a:lnTo>
                  <a:pt x="508" y="261"/>
                </a:lnTo>
                <a:lnTo>
                  <a:pt x="509" y="262"/>
                </a:lnTo>
                <a:lnTo>
                  <a:pt x="510" y="262"/>
                </a:lnTo>
                <a:lnTo>
                  <a:pt x="511" y="263"/>
                </a:lnTo>
                <a:lnTo>
                  <a:pt x="511" y="263"/>
                </a:lnTo>
                <a:lnTo>
                  <a:pt x="512" y="263"/>
                </a:lnTo>
                <a:lnTo>
                  <a:pt x="517" y="262"/>
                </a:lnTo>
                <a:lnTo>
                  <a:pt x="519" y="262"/>
                </a:lnTo>
                <a:lnTo>
                  <a:pt x="523" y="261"/>
                </a:lnTo>
                <a:lnTo>
                  <a:pt x="525" y="260"/>
                </a:lnTo>
                <a:lnTo>
                  <a:pt x="526" y="260"/>
                </a:lnTo>
                <a:lnTo>
                  <a:pt x="530" y="260"/>
                </a:lnTo>
                <a:lnTo>
                  <a:pt x="534" y="259"/>
                </a:lnTo>
                <a:lnTo>
                  <a:pt x="535" y="259"/>
                </a:lnTo>
                <a:lnTo>
                  <a:pt x="537" y="259"/>
                </a:lnTo>
                <a:lnTo>
                  <a:pt x="539" y="259"/>
                </a:lnTo>
                <a:lnTo>
                  <a:pt x="540" y="259"/>
                </a:lnTo>
                <a:lnTo>
                  <a:pt x="541" y="260"/>
                </a:lnTo>
                <a:lnTo>
                  <a:pt x="542" y="260"/>
                </a:lnTo>
                <a:lnTo>
                  <a:pt x="543" y="260"/>
                </a:lnTo>
                <a:lnTo>
                  <a:pt x="544" y="261"/>
                </a:lnTo>
                <a:lnTo>
                  <a:pt x="544" y="262"/>
                </a:lnTo>
                <a:lnTo>
                  <a:pt x="545" y="263"/>
                </a:lnTo>
                <a:lnTo>
                  <a:pt x="546" y="264"/>
                </a:lnTo>
                <a:lnTo>
                  <a:pt x="546" y="265"/>
                </a:lnTo>
                <a:lnTo>
                  <a:pt x="547" y="266"/>
                </a:lnTo>
                <a:lnTo>
                  <a:pt x="547" y="269"/>
                </a:lnTo>
                <a:lnTo>
                  <a:pt x="548" y="271"/>
                </a:lnTo>
                <a:lnTo>
                  <a:pt x="548" y="272"/>
                </a:lnTo>
                <a:lnTo>
                  <a:pt x="548" y="274"/>
                </a:lnTo>
                <a:lnTo>
                  <a:pt x="548" y="275"/>
                </a:lnTo>
                <a:lnTo>
                  <a:pt x="548" y="276"/>
                </a:lnTo>
                <a:lnTo>
                  <a:pt x="548" y="279"/>
                </a:lnTo>
                <a:lnTo>
                  <a:pt x="547" y="283"/>
                </a:lnTo>
                <a:lnTo>
                  <a:pt x="547" y="286"/>
                </a:lnTo>
                <a:lnTo>
                  <a:pt x="547" y="288"/>
                </a:lnTo>
                <a:lnTo>
                  <a:pt x="547" y="290"/>
                </a:lnTo>
                <a:lnTo>
                  <a:pt x="547" y="291"/>
                </a:lnTo>
                <a:lnTo>
                  <a:pt x="548" y="293"/>
                </a:lnTo>
                <a:lnTo>
                  <a:pt x="549" y="295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2" y="300"/>
                </a:lnTo>
                <a:lnTo>
                  <a:pt x="555" y="302"/>
                </a:lnTo>
                <a:lnTo>
                  <a:pt x="556" y="304"/>
                </a:lnTo>
                <a:lnTo>
                  <a:pt x="560" y="306"/>
                </a:lnTo>
                <a:lnTo>
                  <a:pt x="564" y="310"/>
                </a:lnTo>
                <a:lnTo>
                  <a:pt x="565" y="311"/>
                </a:lnTo>
                <a:lnTo>
                  <a:pt x="567" y="312"/>
                </a:lnTo>
                <a:lnTo>
                  <a:pt x="569" y="314"/>
                </a:lnTo>
                <a:lnTo>
                  <a:pt x="576" y="318"/>
                </a:lnTo>
                <a:lnTo>
                  <a:pt x="579" y="320"/>
                </a:lnTo>
                <a:lnTo>
                  <a:pt x="580" y="320"/>
                </a:lnTo>
                <a:lnTo>
                  <a:pt x="581" y="320"/>
                </a:lnTo>
                <a:lnTo>
                  <a:pt x="581" y="320"/>
                </a:lnTo>
                <a:lnTo>
                  <a:pt x="582" y="320"/>
                </a:lnTo>
                <a:lnTo>
                  <a:pt x="582" y="320"/>
                </a:lnTo>
                <a:lnTo>
                  <a:pt x="583" y="320"/>
                </a:lnTo>
                <a:lnTo>
                  <a:pt x="585" y="319"/>
                </a:lnTo>
                <a:lnTo>
                  <a:pt x="586" y="319"/>
                </a:lnTo>
                <a:lnTo>
                  <a:pt x="588" y="318"/>
                </a:lnTo>
                <a:lnTo>
                  <a:pt x="589" y="318"/>
                </a:lnTo>
                <a:lnTo>
                  <a:pt x="590" y="319"/>
                </a:lnTo>
                <a:lnTo>
                  <a:pt x="591" y="319"/>
                </a:lnTo>
                <a:lnTo>
                  <a:pt x="592" y="319"/>
                </a:lnTo>
                <a:lnTo>
                  <a:pt x="597" y="320"/>
                </a:lnTo>
                <a:lnTo>
                  <a:pt x="598" y="321"/>
                </a:lnTo>
                <a:lnTo>
                  <a:pt x="600" y="321"/>
                </a:lnTo>
                <a:lnTo>
                  <a:pt x="602" y="321"/>
                </a:lnTo>
                <a:lnTo>
                  <a:pt x="605" y="321"/>
                </a:lnTo>
                <a:lnTo>
                  <a:pt x="609" y="321"/>
                </a:lnTo>
                <a:lnTo>
                  <a:pt x="611" y="321"/>
                </a:lnTo>
                <a:lnTo>
                  <a:pt x="613" y="321"/>
                </a:lnTo>
                <a:lnTo>
                  <a:pt x="614" y="320"/>
                </a:lnTo>
                <a:lnTo>
                  <a:pt x="616" y="320"/>
                </a:lnTo>
                <a:lnTo>
                  <a:pt x="619" y="318"/>
                </a:lnTo>
                <a:lnTo>
                  <a:pt x="621" y="318"/>
                </a:lnTo>
                <a:lnTo>
                  <a:pt x="623" y="317"/>
                </a:lnTo>
                <a:lnTo>
                  <a:pt x="627" y="317"/>
                </a:lnTo>
                <a:lnTo>
                  <a:pt x="627" y="317"/>
                </a:lnTo>
                <a:lnTo>
                  <a:pt x="629" y="316"/>
                </a:lnTo>
                <a:lnTo>
                  <a:pt x="631" y="315"/>
                </a:lnTo>
                <a:lnTo>
                  <a:pt x="631" y="315"/>
                </a:lnTo>
                <a:lnTo>
                  <a:pt x="632" y="315"/>
                </a:lnTo>
                <a:lnTo>
                  <a:pt x="633" y="315"/>
                </a:lnTo>
                <a:lnTo>
                  <a:pt x="634" y="315"/>
                </a:lnTo>
                <a:lnTo>
                  <a:pt x="634" y="315"/>
                </a:lnTo>
                <a:lnTo>
                  <a:pt x="635" y="315"/>
                </a:lnTo>
                <a:lnTo>
                  <a:pt x="636" y="315"/>
                </a:lnTo>
                <a:lnTo>
                  <a:pt x="637" y="316"/>
                </a:lnTo>
                <a:lnTo>
                  <a:pt x="638" y="316"/>
                </a:lnTo>
                <a:lnTo>
                  <a:pt x="639" y="317"/>
                </a:lnTo>
                <a:lnTo>
                  <a:pt x="640" y="318"/>
                </a:lnTo>
                <a:lnTo>
                  <a:pt x="641" y="318"/>
                </a:lnTo>
                <a:lnTo>
                  <a:pt x="641" y="319"/>
                </a:lnTo>
                <a:lnTo>
                  <a:pt x="641" y="320"/>
                </a:lnTo>
                <a:lnTo>
                  <a:pt x="642" y="321"/>
                </a:lnTo>
                <a:lnTo>
                  <a:pt x="642" y="322"/>
                </a:lnTo>
                <a:lnTo>
                  <a:pt x="642" y="322"/>
                </a:lnTo>
                <a:lnTo>
                  <a:pt x="641" y="323"/>
                </a:lnTo>
                <a:lnTo>
                  <a:pt x="641" y="324"/>
                </a:lnTo>
                <a:lnTo>
                  <a:pt x="641" y="325"/>
                </a:lnTo>
                <a:lnTo>
                  <a:pt x="641" y="326"/>
                </a:lnTo>
                <a:lnTo>
                  <a:pt x="641" y="327"/>
                </a:lnTo>
                <a:lnTo>
                  <a:pt x="642" y="327"/>
                </a:lnTo>
                <a:lnTo>
                  <a:pt x="642" y="328"/>
                </a:lnTo>
                <a:lnTo>
                  <a:pt x="643" y="329"/>
                </a:lnTo>
                <a:lnTo>
                  <a:pt x="644" y="330"/>
                </a:lnTo>
                <a:lnTo>
                  <a:pt x="646" y="331"/>
                </a:lnTo>
                <a:lnTo>
                  <a:pt x="648" y="333"/>
                </a:lnTo>
                <a:lnTo>
                  <a:pt x="650" y="333"/>
                </a:lnTo>
                <a:lnTo>
                  <a:pt x="650" y="334"/>
                </a:lnTo>
                <a:lnTo>
                  <a:pt x="651" y="335"/>
                </a:lnTo>
                <a:lnTo>
                  <a:pt x="654" y="339"/>
                </a:lnTo>
                <a:lnTo>
                  <a:pt x="655" y="340"/>
                </a:lnTo>
                <a:lnTo>
                  <a:pt x="655" y="341"/>
                </a:lnTo>
                <a:lnTo>
                  <a:pt x="656" y="342"/>
                </a:lnTo>
                <a:lnTo>
                  <a:pt x="656" y="343"/>
                </a:lnTo>
                <a:lnTo>
                  <a:pt x="656" y="344"/>
                </a:lnTo>
                <a:lnTo>
                  <a:pt x="655" y="345"/>
                </a:lnTo>
                <a:lnTo>
                  <a:pt x="655" y="347"/>
                </a:lnTo>
                <a:lnTo>
                  <a:pt x="654" y="349"/>
                </a:lnTo>
                <a:lnTo>
                  <a:pt x="654" y="349"/>
                </a:lnTo>
                <a:lnTo>
                  <a:pt x="653" y="350"/>
                </a:lnTo>
                <a:lnTo>
                  <a:pt x="652" y="350"/>
                </a:lnTo>
                <a:lnTo>
                  <a:pt x="652" y="351"/>
                </a:lnTo>
                <a:lnTo>
                  <a:pt x="650" y="351"/>
                </a:lnTo>
                <a:lnTo>
                  <a:pt x="649" y="352"/>
                </a:lnTo>
                <a:lnTo>
                  <a:pt x="646" y="353"/>
                </a:lnTo>
                <a:lnTo>
                  <a:pt x="643" y="353"/>
                </a:lnTo>
                <a:lnTo>
                  <a:pt x="642" y="354"/>
                </a:lnTo>
                <a:lnTo>
                  <a:pt x="641" y="354"/>
                </a:lnTo>
                <a:lnTo>
                  <a:pt x="640" y="354"/>
                </a:lnTo>
                <a:lnTo>
                  <a:pt x="640" y="355"/>
                </a:lnTo>
                <a:lnTo>
                  <a:pt x="639" y="355"/>
                </a:lnTo>
                <a:lnTo>
                  <a:pt x="638" y="356"/>
                </a:lnTo>
                <a:lnTo>
                  <a:pt x="637" y="359"/>
                </a:lnTo>
                <a:lnTo>
                  <a:pt x="636" y="361"/>
                </a:lnTo>
                <a:lnTo>
                  <a:pt x="635" y="362"/>
                </a:lnTo>
                <a:lnTo>
                  <a:pt x="634" y="364"/>
                </a:lnTo>
                <a:lnTo>
                  <a:pt x="634" y="365"/>
                </a:lnTo>
                <a:lnTo>
                  <a:pt x="633" y="368"/>
                </a:lnTo>
                <a:lnTo>
                  <a:pt x="633" y="369"/>
                </a:lnTo>
                <a:lnTo>
                  <a:pt x="633" y="370"/>
                </a:lnTo>
                <a:lnTo>
                  <a:pt x="632" y="371"/>
                </a:lnTo>
                <a:lnTo>
                  <a:pt x="631" y="372"/>
                </a:lnTo>
                <a:lnTo>
                  <a:pt x="629" y="376"/>
                </a:lnTo>
                <a:lnTo>
                  <a:pt x="629" y="377"/>
                </a:lnTo>
                <a:lnTo>
                  <a:pt x="628" y="378"/>
                </a:lnTo>
                <a:lnTo>
                  <a:pt x="627" y="382"/>
                </a:lnTo>
                <a:lnTo>
                  <a:pt x="626" y="383"/>
                </a:lnTo>
                <a:lnTo>
                  <a:pt x="626" y="384"/>
                </a:lnTo>
                <a:lnTo>
                  <a:pt x="625" y="385"/>
                </a:lnTo>
                <a:lnTo>
                  <a:pt x="624" y="386"/>
                </a:lnTo>
                <a:lnTo>
                  <a:pt x="621" y="390"/>
                </a:lnTo>
                <a:lnTo>
                  <a:pt x="619" y="392"/>
                </a:lnTo>
                <a:lnTo>
                  <a:pt x="618" y="392"/>
                </a:lnTo>
                <a:lnTo>
                  <a:pt x="616" y="395"/>
                </a:lnTo>
                <a:lnTo>
                  <a:pt x="615" y="397"/>
                </a:lnTo>
                <a:lnTo>
                  <a:pt x="614" y="398"/>
                </a:lnTo>
                <a:lnTo>
                  <a:pt x="613" y="400"/>
                </a:lnTo>
                <a:lnTo>
                  <a:pt x="613" y="400"/>
                </a:lnTo>
                <a:lnTo>
                  <a:pt x="613" y="401"/>
                </a:lnTo>
                <a:lnTo>
                  <a:pt x="613" y="402"/>
                </a:lnTo>
                <a:lnTo>
                  <a:pt x="613" y="402"/>
                </a:lnTo>
                <a:lnTo>
                  <a:pt x="613" y="403"/>
                </a:lnTo>
                <a:lnTo>
                  <a:pt x="613" y="404"/>
                </a:lnTo>
                <a:lnTo>
                  <a:pt x="613" y="404"/>
                </a:lnTo>
                <a:lnTo>
                  <a:pt x="614" y="404"/>
                </a:lnTo>
                <a:lnTo>
                  <a:pt x="615" y="405"/>
                </a:lnTo>
                <a:lnTo>
                  <a:pt x="615" y="405"/>
                </a:lnTo>
                <a:lnTo>
                  <a:pt x="618" y="405"/>
                </a:lnTo>
                <a:lnTo>
                  <a:pt x="619" y="405"/>
                </a:lnTo>
                <a:lnTo>
                  <a:pt x="620" y="405"/>
                </a:lnTo>
                <a:lnTo>
                  <a:pt x="621" y="406"/>
                </a:lnTo>
                <a:lnTo>
                  <a:pt x="622" y="406"/>
                </a:lnTo>
                <a:lnTo>
                  <a:pt x="622" y="406"/>
                </a:lnTo>
                <a:lnTo>
                  <a:pt x="623" y="407"/>
                </a:lnTo>
                <a:lnTo>
                  <a:pt x="624" y="408"/>
                </a:lnTo>
                <a:lnTo>
                  <a:pt x="625" y="409"/>
                </a:lnTo>
                <a:lnTo>
                  <a:pt x="626" y="412"/>
                </a:lnTo>
                <a:lnTo>
                  <a:pt x="627" y="413"/>
                </a:lnTo>
                <a:lnTo>
                  <a:pt x="628" y="414"/>
                </a:lnTo>
                <a:lnTo>
                  <a:pt x="629" y="415"/>
                </a:lnTo>
                <a:lnTo>
                  <a:pt x="630" y="416"/>
                </a:lnTo>
                <a:lnTo>
                  <a:pt x="632" y="417"/>
                </a:lnTo>
                <a:lnTo>
                  <a:pt x="634" y="418"/>
                </a:lnTo>
                <a:lnTo>
                  <a:pt x="637" y="419"/>
                </a:lnTo>
                <a:lnTo>
                  <a:pt x="639" y="421"/>
                </a:lnTo>
                <a:lnTo>
                  <a:pt x="641" y="421"/>
                </a:lnTo>
                <a:lnTo>
                  <a:pt x="642" y="422"/>
                </a:lnTo>
                <a:lnTo>
                  <a:pt x="645" y="424"/>
                </a:lnTo>
                <a:lnTo>
                  <a:pt x="646" y="425"/>
                </a:lnTo>
                <a:lnTo>
                  <a:pt x="647" y="426"/>
                </a:lnTo>
                <a:lnTo>
                  <a:pt x="647" y="427"/>
                </a:lnTo>
                <a:lnTo>
                  <a:pt x="648" y="428"/>
                </a:lnTo>
                <a:lnTo>
                  <a:pt x="649" y="429"/>
                </a:lnTo>
                <a:lnTo>
                  <a:pt x="649" y="430"/>
                </a:lnTo>
                <a:lnTo>
                  <a:pt x="651" y="433"/>
                </a:lnTo>
                <a:lnTo>
                  <a:pt x="651" y="434"/>
                </a:lnTo>
                <a:lnTo>
                  <a:pt x="652" y="435"/>
                </a:lnTo>
                <a:lnTo>
                  <a:pt x="652" y="435"/>
                </a:lnTo>
                <a:lnTo>
                  <a:pt x="652" y="436"/>
                </a:lnTo>
                <a:lnTo>
                  <a:pt x="650" y="438"/>
                </a:lnTo>
                <a:lnTo>
                  <a:pt x="649" y="439"/>
                </a:lnTo>
                <a:lnTo>
                  <a:pt x="649" y="439"/>
                </a:lnTo>
                <a:lnTo>
                  <a:pt x="648" y="439"/>
                </a:lnTo>
                <a:lnTo>
                  <a:pt x="648" y="440"/>
                </a:lnTo>
                <a:lnTo>
                  <a:pt x="646" y="440"/>
                </a:lnTo>
                <a:lnTo>
                  <a:pt x="646" y="440"/>
                </a:lnTo>
                <a:lnTo>
                  <a:pt x="645" y="440"/>
                </a:lnTo>
                <a:lnTo>
                  <a:pt x="645" y="441"/>
                </a:lnTo>
                <a:lnTo>
                  <a:pt x="645" y="442"/>
                </a:lnTo>
                <a:lnTo>
                  <a:pt x="645" y="442"/>
                </a:lnTo>
                <a:lnTo>
                  <a:pt x="644" y="444"/>
                </a:lnTo>
                <a:lnTo>
                  <a:pt x="644" y="445"/>
                </a:lnTo>
                <a:lnTo>
                  <a:pt x="643" y="446"/>
                </a:lnTo>
                <a:lnTo>
                  <a:pt x="642" y="446"/>
                </a:lnTo>
                <a:lnTo>
                  <a:pt x="642" y="447"/>
                </a:lnTo>
                <a:lnTo>
                  <a:pt x="642" y="447"/>
                </a:lnTo>
                <a:lnTo>
                  <a:pt x="642" y="447"/>
                </a:lnTo>
                <a:lnTo>
                  <a:pt x="643" y="448"/>
                </a:lnTo>
                <a:lnTo>
                  <a:pt x="643" y="448"/>
                </a:lnTo>
                <a:lnTo>
                  <a:pt x="643" y="448"/>
                </a:lnTo>
                <a:lnTo>
                  <a:pt x="643" y="449"/>
                </a:lnTo>
                <a:lnTo>
                  <a:pt x="642" y="449"/>
                </a:lnTo>
                <a:lnTo>
                  <a:pt x="640" y="450"/>
                </a:lnTo>
                <a:lnTo>
                  <a:pt x="640" y="451"/>
                </a:lnTo>
                <a:lnTo>
                  <a:pt x="639" y="451"/>
                </a:lnTo>
                <a:lnTo>
                  <a:pt x="638" y="451"/>
                </a:lnTo>
                <a:lnTo>
                  <a:pt x="638" y="452"/>
                </a:lnTo>
                <a:lnTo>
                  <a:pt x="637" y="452"/>
                </a:lnTo>
                <a:lnTo>
                  <a:pt x="637" y="453"/>
                </a:lnTo>
                <a:lnTo>
                  <a:pt x="635" y="458"/>
                </a:lnTo>
                <a:lnTo>
                  <a:pt x="634" y="460"/>
                </a:lnTo>
                <a:lnTo>
                  <a:pt x="633" y="461"/>
                </a:lnTo>
                <a:lnTo>
                  <a:pt x="633" y="461"/>
                </a:lnTo>
                <a:lnTo>
                  <a:pt x="632" y="461"/>
                </a:lnTo>
                <a:lnTo>
                  <a:pt x="631" y="460"/>
                </a:lnTo>
                <a:lnTo>
                  <a:pt x="629" y="459"/>
                </a:lnTo>
                <a:lnTo>
                  <a:pt x="627" y="458"/>
                </a:lnTo>
                <a:lnTo>
                  <a:pt x="625" y="456"/>
                </a:lnTo>
                <a:lnTo>
                  <a:pt x="623" y="454"/>
                </a:lnTo>
                <a:lnTo>
                  <a:pt x="621" y="452"/>
                </a:lnTo>
                <a:lnTo>
                  <a:pt x="619" y="450"/>
                </a:lnTo>
                <a:lnTo>
                  <a:pt x="615" y="445"/>
                </a:lnTo>
                <a:lnTo>
                  <a:pt x="613" y="443"/>
                </a:lnTo>
                <a:lnTo>
                  <a:pt x="612" y="442"/>
                </a:lnTo>
                <a:lnTo>
                  <a:pt x="611" y="441"/>
                </a:lnTo>
                <a:lnTo>
                  <a:pt x="609" y="439"/>
                </a:lnTo>
                <a:lnTo>
                  <a:pt x="607" y="438"/>
                </a:lnTo>
                <a:lnTo>
                  <a:pt x="606" y="437"/>
                </a:lnTo>
                <a:lnTo>
                  <a:pt x="604" y="437"/>
                </a:lnTo>
                <a:lnTo>
                  <a:pt x="603" y="436"/>
                </a:lnTo>
                <a:lnTo>
                  <a:pt x="601" y="436"/>
                </a:lnTo>
                <a:lnTo>
                  <a:pt x="599" y="435"/>
                </a:lnTo>
                <a:lnTo>
                  <a:pt x="596" y="435"/>
                </a:lnTo>
                <a:lnTo>
                  <a:pt x="595" y="434"/>
                </a:lnTo>
                <a:lnTo>
                  <a:pt x="589" y="433"/>
                </a:lnTo>
                <a:lnTo>
                  <a:pt x="587" y="432"/>
                </a:lnTo>
                <a:lnTo>
                  <a:pt x="585" y="432"/>
                </a:lnTo>
                <a:lnTo>
                  <a:pt x="584" y="432"/>
                </a:lnTo>
                <a:lnTo>
                  <a:pt x="582" y="431"/>
                </a:lnTo>
                <a:lnTo>
                  <a:pt x="581" y="430"/>
                </a:lnTo>
                <a:lnTo>
                  <a:pt x="579" y="429"/>
                </a:lnTo>
                <a:lnTo>
                  <a:pt x="576" y="428"/>
                </a:lnTo>
                <a:lnTo>
                  <a:pt x="570" y="424"/>
                </a:lnTo>
                <a:lnTo>
                  <a:pt x="565" y="420"/>
                </a:lnTo>
                <a:lnTo>
                  <a:pt x="563" y="418"/>
                </a:lnTo>
                <a:lnTo>
                  <a:pt x="561" y="417"/>
                </a:lnTo>
                <a:lnTo>
                  <a:pt x="558" y="416"/>
                </a:lnTo>
                <a:lnTo>
                  <a:pt x="556" y="415"/>
                </a:lnTo>
                <a:lnTo>
                  <a:pt x="553" y="414"/>
                </a:lnTo>
                <a:lnTo>
                  <a:pt x="552" y="414"/>
                </a:lnTo>
                <a:lnTo>
                  <a:pt x="550" y="413"/>
                </a:lnTo>
                <a:lnTo>
                  <a:pt x="548" y="413"/>
                </a:lnTo>
                <a:lnTo>
                  <a:pt x="546" y="413"/>
                </a:lnTo>
                <a:lnTo>
                  <a:pt x="543" y="413"/>
                </a:lnTo>
                <a:lnTo>
                  <a:pt x="539" y="414"/>
                </a:lnTo>
                <a:lnTo>
                  <a:pt x="538" y="414"/>
                </a:lnTo>
                <a:lnTo>
                  <a:pt x="536" y="414"/>
                </a:lnTo>
                <a:lnTo>
                  <a:pt x="534" y="413"/>
                </a:lnTo>
                <a:lnTo>
                  <a:pt x="532" y="413"/>
                </a:lnTo>
                <a:lnTo>
                  <a:pt x="531" y="413"/>
                </a:lnTo>
                <a:lnTo>
                  <a:pt x="530" y="412"/>
                </a:lnTo>
                <a:lnTo>
                  <a:pt x="528" y="412"/>
                </a:lnTo>
                <a:lnTo>
                  <a:pt x="525" y="410"/>
                </a:lnTo>
                <a:lnTo>
                  <a:pt x="524" y="410"/>
                </a:lnTo>
                <a:lnTo>
                  <a:pt x="523" y="410"/>
                </a:lnTo>
                <a:lnTo>
                  <a:pt x="523" y="410"/>
                </a:lnTo>
                <a:lnTo>
                  <a:pt x="522" y="410"/>
                </a:lnTo>
                <a:lnTo>
                  <a:pt x="522" y="410"/>
                </a:lnTo>
                <a:lnTo>
                  <a:pt x="521" y="410"/>
                </a:lnTo>
                <a:lnTo>
                  <a:pt x="521" y="410"/>
                </a:lnTo>
                <a:lnTo>
                  <a:pt x="520" y="411"/>
                </a:lnTo>
                <a:lnTo>
                  <a:pt x="520" y="412"/>
                </a:lnTo>
                <a:lnTo>
                  <a:pt x="520" y="413"/>
                </a:lnTo>
                <a:lnTo>
                  <a:pt x="518" y="417"/>
                </a:lnTo>
                <a:lnTo>
                  <a:pt x="518" y="419"/>
                </a:lnTo>
                <a:lnTo>
                  <a:pt x="516" y="421"/>
                </a:lnTo>
                <a:lnTo>
                  <a:pt x="515" y="425"/>
                </a:lnTo>
                <a:lnTo>
                  <a:pt x="514" y="426"/>
                </a:lnTo>
                <a:lnTo>
                  <a:pt x="513" y="427"/>
                </a:lnTo>
                <a:lnTo>
                  <a:pt x="512" y="428"/>
                </a:lnTo>
                <a:lnTo>
                  <a:pt x="511" y="428"/>
                </a:lnTo>
                <a:lnTo>
                  <a:pt x="510" y="429"/>
                </a:lnTo>
                <a:lnTo>
                  <a:pt x="510" y="429"/>
                </a:lnTo>
                <a:lnTo>
                  <a:pt x="508" y="429"/>
                </a:lnTo>
                <a:lnTo>
                  <a:pt x="507" y="429"/>
                </a:lnTo>
                <a:lnTo>
                  <a:pt x="503" y="430"/>
                </a:lnTo>
                <a:lnTo>
                  <a:pt x="499" y="430"/>
                </a:lnTo>
                <a:lnTo>
                  <a:pt x="497" y="430"/>
                </a:lnTo>
                <a:lnTo>
                  <a:pt x="495" y="430"/>
                </a:lnTo>
                <a:lnTo>
                  <a:pt x="493" y="431"/>
                </a:lnTo>
                <a:lnTo>
                  <a:pt x="490" y="432"/>
                </a:lnTo>
                <a:lnTo>
                  <a:pt x="488" y="433"/>
                </a:lnTo>
                <a:lnTo>
                  <a:pt x="483" y="435"/>
                </a:lnTo>
                <a:lnTo>
                  <a:pt x="481" y="436"/>
                </a:lnTo>
                <a:lnTo>
                  <a:pt x="480" y="436"/>
                </a:lnTo>
                <a:lnTo>
                  <a:pt x="479" y="436"/>
                </a:lnTo>
                <a:lnTo>
                  <a:pt x="478" y="437"/>
                </a:lnTo>
                <a:lnTo>
                  <a:pt x="475" y="437"/>
                </a:lnTo>
                <a:lnTo>
                  <a:pt x="473" y="437"/>
                </a:lnTo>
                <a:lnTo>
                  <a:pt x="473" y="437"/>
                </a:lnTo>
                <a:lnTo>
                  <a:pt x="472" y="437"/>
                </a:lnTo>
                <a:lnTo>
                  <a:pt x="471" y="436"/>
                </a:lnTo>
                <a:lnTo>
                  <a:pt x="471" y="436"/>
                </a:lnTo>
                <a:lnTo>
                  <a:pt x="470" y="436"/>
                </a:lnTo>
                <a:lnTo>
                  <a:pt x="470" y="436"/>
                </a:lnTo>
                <a:lnTo>
                  <a:pt x="470" y="435"/>
                </a:lnTo>
                <a:lnTo>
                  <a:pt x="470" y="435"/>
                </a:lnTo>
                <a:lnTo>
                  <a:pt x="470" y="434"/>
                </a:lnTo>
                <a:lnTo>
                  <a:pt x="469" y="433"/>
                </a:lnTo>
                <a:lnTo>
                  <a:pt x="469" y="432"/>
                </a:lnTo>
                <a:lnTo>
                  <a:pt x="470" y="427"/>
                </a:lnTo>
                <a:lnTo>
                  <a:pt x="470" y="426"/>
                </a:lnTo>
                <a:lnTo>
                  <a:pt x="470" y="425"/>
                </a:lnTo>
                <a:lnTo>
                  <a:pt x="469" y="424"/>
                </a:lnTo>
                <a:lnTo>
                  <a:pt x="469" y="422"/>
                </a:lnTo>
                <a:lnTo>
                  <a:pt x="468" y="419"/>
                </a:lnTo>
                <a:lnTo>
                  <a:pt x="468" y="418"/>
                </a:lnTo>
                <a:lnTo>
                  <a:pt x="467" y="414"/>
                </a:lnTo>
                <a:lnTo>
                  <a:pt x="466" y="411"/>
                </a:lnTo>
                <a:lnTo>
                  <a:pt x="465" y="410"/>
                </a:lnTo>
                <a:lnTo>
                  <a:pt x="465" y="409"/>
                </a:lnTo>
                <a:lnTo>
                  <a:pt x="464" y="409"/>
                </a:lnTo>
                <a:lnTo>
                  <a:pt x="463" y="408"/>
                </a:lnTo>
                <a:lnTo>
                  <a:pt x="463" y="407"/>
                </a:lnTo>
                <a:lnTo>
                  <a:pt x="462" y="406"/>
                </a:lnTo>
                <a:lnTo>
                  <a:pt x="460" y="405"/>
                </a:lnTo>
                <a:lnTo>
                  <a:pt x="459" y="404"/>
                </a:lnTo>
                <a:lnTo>
                  <a:pt x="457" y="404"/>
                </a:lnTo>
                <a:lnTo>
                  <a:pt x="455" y="404"/>
                </a:lnTo>
                <a:lnTo>
                  <a:pt x="453" y="403"/>
                </a:lnTo>
                <a:lnTo>
                  <a:pt x="450" y="403"/>
                </a:lnTo>
                <a:lnTo>
                  <a:pt x="448" y="403"/>
                </a:lnTo>
                <a:lnTo>
                  <a:pt x="444" y="403"/>
                </a:lnTo>
                <a:lnTo>
                  <a:pt x="442" y="403"/>
                </a:lnTo>
                <a:lnTo>
                  <a:pt x="440" y="403"/>
                </a:lnTo>
                <a:lnTo>
                  <a:pt x="438" y="402"/>
                </a:lnTo>
                <a:lnTo>
                  <a:pt x="436" y="402"/>
                </a:lnTo>
                <a:lnTo>
                  <a:pt x="435" y="402"/>
                </a:lnTo>
                <a:lnTo>
                  <a:pt x="433" y="401"/>
                </a:lnTo>
                <a:lnTo>
                  <a:pt x="432" y="401"/>
                </a:lnTo>
                <a:lnTo>
                  <a:pt x="431" y="400"/>
                </a:lnTo>
                <a:lnTo>
                  <a:pt x="430" y="399"/>
                </a:lnTo>
                <a:lnTo>
                  <a:pt x="429" y="398"/>
                </a:lnTo>
                <a:lnTo>
                  <a:pt x="426" y="396"/>
                </a:lnTo>
                <a:lnTo>
                  <a:pt x="425" y="395"/>
                </a:lnTo>
                <a:lnTo>
                  <a:pt x="424" y="395"/>
                </a:lnTo>
                <a:lnTo>
                  <a:pt x="424" y="394"/>
                </a:lnTo>
                <a:lnTo>
                  <a:pt x="423" y="394"/>
                </a:lnTo>
                <a:lnTo>
                  <a:pt x="422" y="393"/>
                </a:lnTo>
                <a:lnTo>
                  <a:pt x="421" y="393"/>
                </a:lnTo>
                <a:lnTo>
                  <a:pt x="416" y="392"/>
                </a:lnTo>
                <a:lnTo>
                  <a:pt x="411" y="391"/>
                </a:lnTo>
                <a:lnTo>
                  <a:pt x="410" y="391"/>
                </a:lnTo>
                <a:lnTo>
                  <a:pt x="409" y="391"/>
                </a:lnTo>
                <a:lnTo>
                  <a:pt x="408" y="391"/>
                </a:lnTo>
                <a:lnTo>
                  <a:pt x="406" y="391"/>
                </a:lnTo>
                <a:lnTo>
                  <a:pt x="405" y="392"/>
                </a:lnTo>
                <a:lnTo>
                  <a:pt x="403" y="392"/>
                </a:lnTo>
                <a:lnTo>
                  <a:pt x="401" y="393"/>
                </a:lnTo>
                <a:lnTo>
                  <a:pt x="400" y="394"/>
                </a:lnTo>
                <a:lnTo>
                  <a:pt x="399" y="395"/>
                </a:lnTo>
                <a:lnTo>
                  <a:pt x="399" y="395"/>
                </a:lnTo>
                <a:lnTo>
                  <a:pt x="398" y="396"/>
                </a:lnTo>
                <a:lnTo>
                  <a:pt x="398" y="396"/>
                </a:lnTo>
                <a:lnTo>
                  <a:pt x="398" y="397"/>
                </a:lnTo>
                <a:lnTo>
                  <a:pt x="397" y="400"/>
                </a:lnTo>
                <a:lnTo>
                  <a:pt x="397" y="402"/>
                </a:lnTo>
                <a:lnTo>
                  <a:pt x="396" y="403"/>
                </a:lnTo>
                <a:lnTo>
                  <a:pt x="396" y="405"/>
                </a:lnTo>
                <a:lnTo>
                  <a:pt x="395" y="407"/>
                </a:lnTo>
                <a:lnTo>
                  <a:pt x="393" y="410"/>
                </a:lnTo>
                <a:lnTo>
                  <a:pt x="392" y="412"/>
                </a:lnTo>
                <a:lnTo>
                  <a:pt x="392" y="413"/>
                </a:lnTo>
                <a:lnTo>
                  <a:pt x="391" y="415"/>
                </a:lnTo>
                <a:lnTo>
                  <a:pt x="391" y="417"/>
                </a:lnTo>
                <a:lnTo>
                  <a:pt x="390" y="418"/>
                </a:lnTo>
                <a:lnTo>
                  <a:pt x="390" y="420"/>
                </a:lnTo>
                <a:lnTo>
                  <a:pt x="390" y="421"/>
                </a:lnTo>
                <a:lnTo>
                  <a:pt x="390" y="423"/>
                </a:lnTo>
                <a:lnTo>
                  <a:pt x="390" y="426"/>
                </a:lnTo>
                <a:lnTo>
                  <a:pt x="390" y="429"/>
                </a:lnTo>
                <a:lnTo>
                  <a:pt x="390" y="432"/>
                </a:lnTo>
                <a:lnTo>
                  <a:pt x="391" y="436"/>
                </a:lnTo>
                <a:lnTo>
                  <a:pt x="391" y="442"/>
                </a:lnTo>
                <a:lnTo>
                  <a:pt x="392" y="447"/>
                </a:lnTo>
                <a:lnTo>
                  <a:pt x="392" y="449"/>
                </a:lnTo>
                <a:lnTo>
                  <a:pt x="394" y="457"/>
                </a:lnTo>
                <a:lnTo>
                  <a:pt x="394" y="459"/>
                </a:lnTo>
                <a:lnTo>
                  <a:pt x="394" y="461"/>
                </a:lnTo>
                <a:lnTo>
                  <a:pt x="394" y="463"/>
                </a:lnTo>
                <a:lnTo>
                  <a:pt x="394" y="465"/>
                </a:lnTo>
                <a:lnTo>
                  <a:pt x="394" y="467"/>
                </a:lnTo>
                <a:lnTo>
                  <a:pt x="394" y="469"/>
                </a:lnTo>
                <a:lnTo>
                  <a:pt x="393" y="472"/>
                </a:lnTo>
                <a:lnTo>
                  <a:pt x="391" y="481"/>
                </a:lnTo>
                <a:lnTo>
                  <a:pt x="391" y="482"/>
                </a:lnTo>
                <a:lnTo>
                  <a:pt x="390" y="485"/>
                </a:lnTo>
                <a:lnTo>
                  <a:pt x="390" y="486"/>
                </a:lnTo>
                <a:lnTo>
                  <a:pt x="389" y="489"/>
                </a:lnTo>
                <a:lnTo>
                  <a:pt x="389" y="491"/>
                </a:lnTo>
                <a:lnTo>
                  <a:pt x="389" y="493"/>
                </a:lnTo>
                <a:lnTo>
                  <a:pt x="389" y="496"/>
                </a:lnTo>
                <a:lnTo>
                  <a:pt x="389" y="501"/>
                </a:lnTo>
                <a:lnTo>
                  <a:pt x="389" y="502"/>
                </a:lnTo>
                <a:lnTo>
                  <a:pt x="389" y="503"/>
                </a:lnTo>
                <a:lnTo>
                  <a:pt x="389" y="504"/>
                </a:lnTo>
                <a:lnTo>
                  <a:pt x="388" y="505"/>
                </a:lnTo>
                <a:lnTo>
                  <a:pt x="387" y="508"/>
                </a:lnTo>
                <a:lnTo>
                  <a:pt x="386" y="511"/>
                </a:lnTo>
                <a:lnTo>
                  <a:pt x="384" y="517"/>
                </a:lnTo>
                <a:lnTo>
                  <a:pt x="383" y="522"/>
                </a:lnTo>
                <a:lnTo>
                  <a:pt x="382" y="524"/>
                </a:lnTo>
                <a:lnTo>
                  <a:pt x="382" y="526"/>
                </a:lnTo>
                <a:lnTo>
                  <a:pt x="382" y="528"/>
                </a:lnTo>
                <a:lnTo>
                  <a:pt x="381" y="531"/>
                </a:lnTo>
                <a:lnTo>
                  <a:pt x="381" y="533"/>
                </a:lnTo>
                <a:lnTo>
                  <a:pt x="381" y="535"/>
                </a:lnTo>
                <a:lnTo>
                  <a:pt x="381" y="536"/>
                </a:lnTo>
                <a:lnTo>
                  <a:pt x="382" y="538"/>
                </a:lnTo>
                <a:lnTo>
                  <a:pt x="382" y="539"/>
                </a:lnTo>
                <a:lnTo>
                  <a:pt x="382" y="540"/>
                </a:lnTo>
                <a:lnTo>
                  <a:pt x="383" y="541"/>
                </a:lnTo>
                <a:lnTo>
                  <a:pt x="385" y="544"/>
                </a:lnTo>
                <a:lnTo>
                  <a:pt x="386" y="545"/>
                </a:lnTo>
                <a:lnTo>
                  <a:pt x="386" y="546"/>
                </a:lnTo>
                <a:lnTo>
                  <a:pt x="387" y="547"/>
                </a:lnTo>
                <a:lnTo>
                  <a:pt x="387" y="548"/>
                </a:lnTo>
                <a:lnTo>
                  <a:pt x="387" y="550"/>
                </a:lnTo>
                <a:lnTo>
                  <a:pt x="387" y="551"/>
                </a:lnTo>
                <a:lnTo>
                  <a:pt x="386" y="552"/>
                </a:lnTo>
                <a:lnTo>
                  <a:pt x="386" y="553"/>
                </a:lnTo>
                <a:lnTo>
                  <a:pt x="385" y="554"/>
                </a:lnTo>
                <a:lnTo>
                  <a:pt x="384" y="555"/>
                </a:lnTo>
                <a:lnTo>
                  <a:pt x="382" y="556"/>
                </a:lnTo>
                <a:lnTo>
                  <a:pt x="381" y="557"/>
                </a:lnTo>
                <a:lnTo>
                  <a:pt x="380" y="557"/>
                </a:lnTo>
                <a:lnTo>
                  <a:pt x="379" y="557"/>
                </a:lnTo>
                <a:lnTo>
                  <a:pt x="377" y="557"/>
                </a:lnTo>
                <a:lnTo>
                  <a:pt x="374" y="557"/>
                </a:lnTo>
                <a:lnTo>
                  <a:pt x="372" y="556"/>
                </a:lnTo>
                <a:lnTo>
                  <a:pt x="365" y="555"/>
                </a:lnTo>
                <a:lnTo>
                  <a:pt x="361" y="553"/>
                </a:lnTo>
                <a:lnTo>
                  <a:pt x="359" y="553"/>
                </a:lnTo>
                <a:lnTo>
                  <a:pt x="357" y="552"/>
                </a:lnTo>
                <a:lnTo>
                  <a:pt x="352" y="550"/>
                </a:lnTo>
                <a:lnTo>
                  <a:pt x="351" y="550"/>
                </a:lnTo>
                <a:lnTo>
                  <a:pt x="348" y="548"/>
                </a:lnTo>
                <a:lnTo>
                  <a:pt x="347" y="548"/>
                </a:lnTo>
                <a:lnTo>
                  <a:pt x="345" y="547"/>
                </a:lnTo>
                <a:lnTo>
                  <a:pt x="343" y="547"/>
                </a:lnTo>
                <a:lnTo>
                  <a:pt x="337" y="546"/>
                </a:lnTo>
                <a:lnTo>
                  <a:pt x="333" y="545"/>
                </a:lnTo>
                <a:lnTo>
                  <a:pt x="331" y="545"/>
                </a:lnTo>
                <a:lnTo>
                  <a:pt x="330" y="545"/>
                </a:lnTo>
                <a:lnTo>
                  <a:pt x="328" y="545"/>
                </a:lnTo>
                <a:lnTo>
                  <a:pt x="327" y="545"/>
                </a:lnTo>
                <a:lnTo>
                  <a:pt x="325" y="545"/>
                </a:lnTo>
                <a:lnTo>
                  <a:pt x="324" y="545"/>
                </a:lnTo>
                <a:lnTo>
                  <a:pt x="323" y="546"/>
                </a:lnTo>
                <a:lnTo>
                  <a:pt x="322" y="546"/>
                </a:lnTo>
                <a:lnTo>
                  <a:pt x="321" y="546"/>
                </a:lnTo>
                <a:lnTo>
                  <a:pt x="321" y="547"/>
                </a:lnTo>
                <a:lnTo>
                  <a:pt x="320" y="548"/>
                </a:lnTo>
                <a:lnTo>
                  <a:pt x="319" y="548"/>
                </a:lnTo>
                <a:lnTo>
                  <a:pt x="318" y="549"/>
                </a:lnTo>
                <a:lnTo>
                  <a:pt x="318" y="551"/>
                </a:lnTo>
                <a:lnTo>
                  <a:pt x="317" y="552"/>
                </a:lnTo>
                <a:lnTo>
                  <a:pt x="317" y="553"/>
                </a:lnTo>
                <a:lnTo>
                  <a:pt x="316" y="558"/>
                </a:lnTo>
                <a:lnTo>
                  <a:pt x="315" y="565"/>
                </a:lnTo>
                <a:lnTo>
                  <a:pt x="314" y="567"/>
                </a:lnTo>
                <a:lnTo>
                  <a:pt x="314" y="571"/>
                </a:lnTo>
                <a:lnTo>
                  <a:pt x="313" y="573"/>
                </a:lnTo>
                <a:lnTo>
                  <a:pt x="313" y="574"/>
                </a:lnTo>
                <a:lnTo>
                  <a:pt x="312" y="575"/>
                </a:lnTo>
                <a:lnTo>
                  <a:pt x="312" y="576"/>
                </a:lnTo>
                <a:lnTo>
                  <a:pt x="311" y="578"/>
                </a:lnTo>
                <a:lnTo>
                  <a:pt x="309" y="580"/>
                </a:lnTo>
                <a:lnTo>
                  <a:pt x="307" y="582"/>
                </a:lnTo>
                <a:lnTo>
                  <a:pt x="305" y="585"/>
                </a:lnTo>
                <a:lnTo>
                  <a:pt x="304" y="586"/>
                </a:lnTo>
                <a:lnTo>
                  <a:pt x="302" y="588"/>
                </a:lnTo>
                <a:lnTo>
                  <a:pt x="301" y="58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 266">
            <a:extLst>
              <a:ext uri="{FF2B5EF4-FFF2-40B4-BE49-F238E27FC236}">
                <a16:creationId xmlns:a16="http://schemas.microsoft.com/office/drawing/2014/main" id="{A8EA0E96-2F9D-4E52-8268-591498E5BC7D}"/>
              </a:ext>
            </a:extLst>
          </p:cNvPr>
          <p:cNvSpPr>
            <a:spLocks/>
          </p:cNvSpPr>
          <p:nvPr/>
        </p:nvSpPr>
        <p:spPr bwMode="auto">
          <a:xfrm>
            <a:off x="7525346" y="5020176"/>
            <a:ext cx="1009283" cy="1370422"/>
          </a:xfrm>
          <a:custGeom>
            <a:avLst/>
            <a:gdLst>
              <a:gd name="T0" fmla="*/ 510 w 531"/>
              <a:gd name="T1" fmla="*/ 580 h 659"/>
              <a:gd name="T2" fmla="*/ 507 w 531"/>
              <a:gd name="T3" fmla="*/ 614 h 659"/>
              <a:gd name="T4" fmla="*/ 500 w 531"/>
              <a:gd name="T5" fmla="*/ 640 h 659"/>
              <a:gd name="T6" fmla="*/ 489 w 531"/>
              <a:gd name="T7" fmla="*/ 642 h 659"/>
              <a:gd name="T8" fmla="*/ 476 w 531"/>
              <a:gd name="T9" fmla="*/ 630 h 659"/>
              <a:gd name="T10" fmla="*/ 461 w 531"/>
              <a:gd name="T11" fmla="*/ 618 h 659"/>
              <a:gd name="T12" fmla="*/ 441 w 531"/>
              <a:gd name="T13" fmla="*/ 625 h 659"/>
              <a:gd name="T14" fmla="*/ 415 w 531"/>
              <a:gd name="T15" fmla="*/ 618 h 659"/>
              <a:gd name="T16" fmla="*/ 398 w 531"/>
              <a:gd name="T17" fmla="*/ 603 h 659"/>
              <a:gd name="T18" fmla="*/ 391 w 531"/>
              <a:gd name="T19" fmla="*/ 613 h 659"/>
              <a:gd name="T20" fmla="*/ 382 w 531"/>
              <a:gd name="T21" fmla="*/ 634 h 659"/>
              <a:gd name="T22" fmla="*/ 366 w 531"/>
              <a:gd name="T23" fmla="*/ 639 h 659"/>
              <a:gd name="T24" fmla="*/ 356 w 531"/>
              <a:gd name="T25" fmla="*/ 650 h 659"/>
              <a:gd name="T26" fmla="*/ 340 w 531"/>
              <a:gd name="T27" fmla="*/ 659 h 659"/>
              <a:gd name="T28" fmla="*/ 307 w 531"/>
              <a:gd name="T29" fmla="*/ 644 h 659"/>
              <a:gd name="T30" fmla="*/ 266 w 531"/>
              <a:gd name="T31" fmla="*/ 636 h 659"/>
              <a:gd name="T32" fmla="*/ 238 w 531"/>
              <a:gd name="T33" fmla="*/ 634 h 659"/>
              <a:gd name="T34" fmla="*/ 216 w 531"/>
              <a:gd name="T35" fmla="*/ 622 h 659"/>
              <a:gd name="T36" fmla="*/ 206 w 531"/>
              <a:gd name="T37" fmla="*/ 608 h 659"/>
              <a:gd name="T38" fmla="*/ 207 w 531"/>
              <a:gd name="T39" fmla="*/ 598 h 659"/>
              <a:gd name="T40" fmla="*/ 219 w 531"/>
              <a:gd name="T41" fmla="*/ 587 h 659"/>
              <a:gd name="T42" fmla="*/ 205 w 531"/>
              <a:gd name="T43" fmla="*/ 570 h 659"/>
              <a:gd name="T44" fmla="*/ 184 w 531"/>
              <a:gd name="T45" fmla="*/ 556 h 659"/>
              <a:gd name="T46" fmla="*/ 156 w 531"/>
              <a:gd name="T47" fmla="*/ 533 h 659"/>
              <a:gd name="T48" fmla="*/ 125 w 531"/>
              <a:gd name="T49" fmla="*/ 516 h 659"/>
              <a:gd name="T50" fmla="*/ 113 w 531"/>
              <a:gd name="T51" fmla="*/ 501 h 659"/>
              <a:gd name="T52" fmla="*/ 103 w 531"/>
              <a:gd name="T53" fmla="*/ 478 h 659"/>
              <a:gd name="T54" fmla="*/ 88 w 531"/>
              <a:gd name="T55" fmla="*/ 454 h 659"/>
              <a:gd name="T56" fmla="*/ 72 w 531"/>
              <a:gd name="T57" fmla="*/ 444 h 659"/>
              <a:gd name="T58" fmla="*/ 51 w 531"/>
              <a:gd name="T59" fmla="*/ 435 h 659"/>
              <a:gd name="T60" fmla="*/ 34 w 531"/>
              <a:gd name="T61" fmla="*/ 402 h 659"/>
              <a:gd name="T62" fmla="*/ 21 w 531"/>
              <a:gd name="T63" fmla="*/ 393 h 659"/>
              <a:gd name="T64" fmla="*/ 6 w 531"/>
              <a:gd name="T65" fmla="*/ 386 h 659"/>
              <a:gd name="T66" fmla="*/ 0 w 531"/>
              <a:gd name="T67" fmla="*/ 368 h 659"/>
              <a:gd name="T68" fmla="*/ 9 w 531"/>
              <a:gd name="T69" fmla="*/ 340 h 659"/>
              <a:gd name="T70" fmla="*/ 23 w 531"/>
              <a:gd name="T71" fmla="*/ 330 h 659"/>
              <a:gd name="T72" fmla="*/ 25 w 531"/>
              <a:gd name="T73" fmla="*/ 310 h 659"/>
              <a:gd name="T74" fmla="*/ 24 w 531"/>
              <a:gd name="T75" fmla="*/ 283 h 659"/>
              <a:gd name="T76" fmla="*/ 37 w 531"/>
              <a:gd name="T77" fmla="*/ 272 h 659"/>
              <a:gd name="T78" fmla="*/ 55 w 531"/>
              <a:gd name="T79" fmla="*/ 263 h 659"/>
              <a:gd name="T80" fmla="*/ 70 w 531"/>
              <a:gd name="T81" fmla="*/ 245 h 659"/>
              <a:gd name="T82" fmla="*/ 76 w 531"/>
              <a:gd name="T83" fmla="*/ 231 h 659"/>
              <a:gd name="T84" fmla="*/ 69 w 531"/>
              <a:gd name="T85" fmla="*/ 215 h 659"/>
              <a:gd name="T86" fmla="*/ 80 w 531"/>
              <a:gd name="T87" fmla="*/ 204 h 659"/>
              <a:gd name="T88" fmla="*/ 77 w 531"/>
              <a:gd name="T89" fmla="*/ 194 h 659"/>
              <a:gd name="T90" fmla="*/ 75 w 531"/>
              <a:gd name="T91" fmla="*/ 186 h 659"/>
              <a:gd name="T92" fmla="*/ 84 w 531"/>
              <a:gd name="T93" fmla="*/ 178 h 659"/>
              <a:gd name="T94" fmla="*/ 86 w 531"/>
              <a:gd name="T95" fmla="*/ 163 h 659"/>
              <a:gd name="T96" fmla="*/ 104 w 531"/>
              <a:gd name="T97" fmla="*/ 141 h 659"/>
              <a:gd name="T98" fmla="*/ 108 w 531"/>
              <a:gd name="T99" fmla="*/ 123 h 659"/>
              <a:gd name="T100" fmla="*/ 101 w 531"/>
              <a:gd name="T101" fmla="*/ 94 h 659"/>
              <a:gd name="T102" fmla="*/ 105 w 531"/>
              <a:gd name="T103" fmla="*/ 74 h 659"/>
              <a:gd name="T104" fmla="*/ 100 w 531"/>
              <a:gd name="T105" fmla="*/ 50 h 659"/>
              <a:gd name="T106" fmla="*/ 100 w 531"/>
              <a:gd name="T107" fmla="*/ 33 h 659"/>
              <a:gd name="T108" fmla="*/ 109 w 531"/>
              <a:gd name="T109" fmla="*/ 30 h 659"/>
              <a:gd name="T110" fmla="*/ 132 w 531"/>
              <a:gd name="T111" fmla="*/ 29 h 659"/>
              <a:gd name="T112" fmla="*/ 146 w 531"/>
              <a:gd name="T113" fmla="*/ 26 h 659"/>
              <a:gd name="T114" fmla="*/ 159 w 531"/>
              <a:gd name="T115" fmla="*/ 34 h 659"/>
              <a:gd name="T116" fmla="*/ 175 w 531"/>
              <a:gd name="T117" fmla="*/ 35 h 659"/>
              <a:gd name="T118" fmla="*/ 194 w 531"/>
              <a:gd name="T119" fmla="*/ 28 h 659"/>
              <a:gd name="T120" fmla="*/ 206 w 531"/>
              <a:gd name="T121" fmla="*/ 18 h 659"/>
              <a:gd name="T122" fmla="*/ 225 w 531"/>
              <a:gd name="T123" fmla="*/ 2 h 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1" h="659">
                <a:moveTo>
                  <a:pt x="531" y="558"/>
                </a:moveTo>
                <a:lnTo>
                  <a:pt x="529" y="559"/>
                </a:lnTo>
                <a:lnTo>
                  <a:pt x="525" y="562"/>
                </a:lnTo>
                <a:lnTo>
                  <a:pt x="520" y="566"/>
                </a:lnTo>
                <a:lnTo>
                  <a:pt x="518" y="567"/>
                </a:lnTo>
                <a:lnTo>
                  <a:pt x="517" y="569"/>
                </a:lnTo>
                <a:lnTo>
                  <a:pt x="516" y="570"/>
                </a:lnTo>
                <a:lnTo>
                  <a:pt x="515" y="571"/>
                </a:lnTo>
                <a:lnTo>
                  <a:pt x="514" y="573"/>
                </a:lnTo>
                <a:lnTo>
                  <a:pt x="512" y="575"/>
                </a:lnTo>
                <a:lnTo>
                  <a:pt x="511" y="578"/>
                </a:lnTo>
                <a:lnTo>
                  <a:pt x="510" y="580"/>
                </a:lnTo>
                <a:lnTo>
                  <a:pt x="509" y="583"/>
                </a:lnTo>
                <a:lnTo>
                  <a:pt x="508" y="587"/>
                </a:lnTo>
                <a:lnTo>
                  <a:pt x="507" y="589"/>
                </a:lnTo>
                <a:lnTo>
                  <a:pt x="507" y="591"/>
                </a:lnTo>
                <a:lnTo>
                  <a:pt x="507" y="593"/>
                </a:lnTo>
                <a:lnTo>
                  <a:pt x="506" y="595"/>
                </a:lnTo>
                <a:lnTo>
                  <a:pt x="506" y="596"/>
                </a:lnTo>
                <a:lnTo>
                  <a:pt x="506" y="598"/>
                </a:lnTo>
                <a:lnTo>
                  <a:pt x="507" y="606"/>
                </a:lnTo>
                <a:lnTo>
                  <a:pt x="507" y="609"/>
                </a:lnTo>
                <a:lnTo>
                  <a:pt x="507" y="611"/>
                </a:lnTo>
                <a:lnTo>
                  <a:pt x="507" y="614"/>
                </a:lnTo>
                <a:lnTo>
                  <a:pt x="506" y="621"/>
                </a:lnTo>
                <a:lnTo>
                  <a:pt x="506" y="626"/>
                </a:lnTo>
                <a:lnTo>
                  <a:pt x="506" y="627"/>
                </a:lnTo>
                <a:lnTo>
                  <a:pt x="506" y="629"/>
                </a:lnTo>
                <a:lnTo>
                  <a:pt x="505" y="630"/>
                </a:lnTo>
                <a:lnTo>
                  <a:pt x="505" y="632"/>
                </a:lnTo>
                <a:lnTo>
                  <a:pt x="504" y="633"/>
                </a:lnTo>
                <a:lnTo>
                  <a:pt x="504" y="635"/>
                </a:lnTo>
                <a:lnTo>
                  <a:pt x="503" y="636"/>
                </a:lnTo>
                <a:lnTo>
                  <a:pt x="502" y="637"/>
                </a:lnTo>
                <a:lnTo>
                  <a:pt x="501" y="639"/>
                </a:lnTo>
                <a:lnTo>
                  <a:pt x="500" y="640"/>
                </a:lnTo>
                <a:lnTo>
                  <a:pt x="500" y="640"/>
                </a:lnTo>
                <a:lnTo>
                  <a:pt x="499" y="641"/>
                </a:lnTo>
                <a:lnTo>
                  <a:pt x="498" y="641"/>
                </a:lnTo>
                <a:lnTo>
                  <a:pt x="498" y="641"/>
                </a:lnTo>
                <a:lnTo>
                  <a:pt x="497" y="642"/>
                </a:lnTo>
                <a:lnTo>
                  <a:pt x="496" y="642"/>
                </a:lnTo>
                <a:lnTo>
                  <a:pt x="495" y="642"/>
                </a:lnTo>
                <a:lnTo>
                  <a:pt x="494" y="642"/>
                </a:lnTo>
                <a:lnTo>
                  <a:pt x="492" y="643"/>
                </a:lnTo>
                <a:lnTo>
                  <a:pt x="491" y="643"/>
                </a:lnTo>
                <a:lnTo>
                  <a:pt x="490" y="642"/>
                </a:lnTo>
                <a:lnTo>
                  <a:pt x="489" y="642"/>
                </a:lnTo>
                <a:lnTo>
                  <a:pt x="488" y="642"/>
                </a:lnTo>
                <a:lnTo>
                  <a:pt x="487" y="642"/>
                </a:lnTo>
                <a:lnTo>
                  <a:pt x="486" y="641"/>
                </a:lnTo>
                <a:lnTo>
                  <a:pt x="486" y="641"/>
                </a:lnTo>
                <a:lnTo>
                  <a:pt x="485" y="640"/>
                </a:lnTo>
                <a:lnTo>
                  <a:pt x="484" y="639"/>
                </a:lnTo>
                <a:lnTo>
                  <a:pt x="483" y="639"/>
                </a:lnTo>
                <a:lnTo>
                  <a:pt x="482" y="637"/>
                </a:lnTo>
                <a:lnTo>
                  <a:pt x="479" y="633"/>
                </a:lnTo>
                <a:lnTo>
                  <a:pt x="478" y="632"/>
                </a:lnTo>
                <a:lnTo>
                  <a:pt x="477" y="631"/>
                </a:lnTo>
                <a:lnTo>
                  <a:pt x="476" y="630"/>
                </a:lnTo>
                <a:lnTo>
                  <a:pt x="474" y="629"/>
                </a:lnTo>
                <a:lnTo>
                  <a:pt x="473" y="629"/>
                </a:lnTo>
                <a:lnTo>
                  <a:pt x="471" y="628"/>
                </a:lnTo>
                <a:lnTo>
                  <a:pt x="470" y="627"/>
                </a:lnTo>
                <a:lnTo>
                  <a:pt x="469" y="627"/>
                </a:lnTo>
                <a:lnTo>
                  <a:pt x="468" y="626"/>
                </a:lnTo>
                <a:lnTo>
                  <a:pt x="467" y="625"/>
                </a:lnTo>
                <a:lnTo>
                  <a:pt x="466" y="624"/>
                </a:lnTo>
                <a:lnTo>
                  <a:pt x="466" y="623"/>
                </a:lnTo>
                <a:lnTo>
                  <a:pt x="463" y="620"/>
                </a:lnTo>
                <a:lnTo>
                  <a:pt x="462" y="619"/>
                </a:lnTo>
                <a:lnTo>
                  <a:pt x="461" y="618"/>
                </a:lnTo>
                <a:lnTo>
                  <a:pt x="461" y="617"/>
                </a:lnTo>
                <a:lnTo>
                  <a:pt x="460" y="617"/>
                </a:lnTo>
                <a:lnTo>
                  <a:pt x="459" y="617"/>
                </a:lnTo>
                <a:lnTo>
                  <a:pt x="458" y="616"/>
                </a:lnTo>
                <a:lnTo>
                  <a:pt x="457" y="617"/>
                </a:lnTo>
                <a:lnTo>
                  <a:pt x="456" y="617"/>
                </a:lnTo>
                <a:lnTo>
                  <a:pt x="455" y="617"/>
                </a:lnTo>
                <a:lnTo>
                  <a:pt x="454" y="618"/>
                </a:lnTo>
                <a:lnTo>
                  <a:pt x="445" y="623"/>
                </a:lnTo>
                <a:lnTo>
                  <a:pt x="444" y="624"/>
                </a:lnTo>
                <a:lnTo>
                  <a:pt x="442" y="625"/>
                </a:lnTo>
                <a:lnTo>
                  <a:pt x="441" y="625"/>
                </a:lnTo>
                <a:lnTo>
                  <a:pt x="440" y="626"/>
                </a:lnTo>
                <a:lnTo>
                  <a:pt x="439" y="626"/>
                </a:lnTo>
                <a:lnTo>
                  <a:pt x="438" y="626"/>
                </a:lnTo>
                <a:lnTo>
                  <a:pt x="437" y="626"/>
                </a:lnTo>
                <a:lnTo>
                  <a:pt x="436" y="626"/>
                </a:lnTo>
                <a:lnTo>
                  <a:pt x="435" y="626"/>
                </a:lnTo>
                <a:lnTo>
                  <a:pt x="434" y="625"/>
                </a:lnTo>
                <a:lnTo>
                  <a:pt x="430" y="624"/>
                </a:lnTo>
                <a:lnTo>
                  <a:pt x="424" y="622"/>
                </a:lnTo>
                <a:lnTo>
                  <a:pt x="422" y="621"/>
                </a:lnTo>
                <a:lnTo>
                  <a:pt x="417" y="619"/>
                </a:lnTo>
                <a:lnTo>
                  <a:pt x="415" y="618"/>
                </a:lnTo>
                <a:lnTo>
                  <a:pt x="414" y="617"/>
                </a:lnTo>
                <a:lnTo>
                  <a:pt x="413" y="617"/>
                </a:lnTo>
                <a:lnTo>
                  <a:pt x="412" y="616"/>
                </a:lnTo>
                <a:lnTo>
                  <a:pt x="411" y="615"/>
                </a:lnTo>
                <a:lnTo>
                  <a:pt x="409" y="612"/>
                </a:lnTo>
                <a:lnTo>
                  <a:pt x="407" y="611"/>
                </a:lnTo>
                <a:lnTo>
                  <a:pt x="403" y="607"/>
                </a:lnTo>
                <a:lnTo>
                  <a:pt x="401" y="605"/>
                </a:lnTo>
                <a:lnTo>
                  <a:pt x="400" y="604"/>
                </a:lnTo>
                <a:lnTo>
                  <a:pt x="399" y="603"/>
                </a:lnTo>
                <a:lnTo>
                  <a:pt x="398" y="603"/>
                </a:lnTo>
                <a:lnTo>
                  <a:pt x="398" y="603"/>
                </a:lnTo>
                <a:lnTo>
                  <a:pt x="396" y="603"/>
                </a:lnTo>
                <a:lnTo>
                  <a:pt x="396" y="603"/>
                </a:lnTo>
                <a:lnTo>
                  <a:pt x="395" y="603"/>
                </a:lnTo>
                <a:lnTo>
                  <a:pt x="394" y="604"/>
                </a:lnTo>
                <a:lnTo>
                  <a:pt x="393" y="604"/>
                </a:lnTo>
                <a:lnTo>
                  <a:pt x="393" y="605"/>
                </a:lnTo>
                <a:lnTo>
                  <a:pt x="392" y="605"/>
                </a:lnTo>
                <a:lnTo>
                  <a:pt x="392" y="606"/>
                </a:lnTo>
                <a:lnTo>
                  <a:pt x="391" y="606"/>
                </a:lnTo>
                <a:lnTo>
                  <a:pt x="391" y="607"/>
                </a:lnTo>
                <a:lnTo>
                  <a:pt x="391" y="608"/>
                </a:lnTo>
                <a:lnTo>
                  <a:pt x="391" y="613"/>
                </a:lnTo>
                <a:lnTo>
                  <a:pt x="390" y="615"/>
                </a:lnTo>
                <a:lnTo>
                  <a:pt x="390" y="617"/>
                </a:lnTo>
                <a:lnTo>
                  <a:pt x="389" y="620"/>
                </a:lnTo>
                <a:lnTo>
                  <a:pt x="388" y="624"/>
                </a:lnTo>
                <a:lnTo>
                  <a:pt x="388" y="625"/>
                </a:lnTo>
                <a:lnTo>
                  <a:pt x="387" y="627"/>
                </a:lnTo>
                <a:lnTo>
                  <a:pt x="387" y="628"/>
                </a:lnTo>
                <a:lnTo>
                  <a:pt x="386" y="630"/>
                </a:lnTo>
                <a:lnTo>
                  <a:pt x="385" y="631"/>
                </a:lnTo>
                <a:lnTo>
                  <a:pt x="384" y="632"/>
                </a:lnTo>
                <a:lnTo>
                  <a:pt x="383" y="633"/>
                </a:lnTo>
                <a:lnTo>
                  <a:pt x="382" y="634"/>
                </a:lnTo>
                <a:lnTo>
                  <a:pt x="381" y="635"/>
                </a:lnTo>
                <a:lnTo>
                  <a:pt x="381" y="636"/>
                </a:lnTo>
                <a:lnTo>
                  <a:pt x="380" y="636"/>
                </a:lnTo>
                <a:lnTo>
                  <a:pt x="379" y="636"/>
                </a:lnTo>
                <a:lnTo>
                  <a:pt x="378" y="637"/>
                </a:lnTo>
                <a:lnTo>
                  <a:pt x="377" y="637"/>
                </a:lnTo>
                <a:lnTo>
                  <a:pt x="372" y="637"/>
                </a:lnTo>
                <a:lnTo>
                  <a:pt x="370" y="638"/>
                </a:lnTo>
                <a:lnTo>
                  <a:pt x="368" y="638"/>
                </a:lnTo>
                <a:lnTo>
                  <a:pt x="367" y="638"/>
                </a:lnTo>
                <a:lnTo>
                  <a:pt x="367" y="639"/>
                </a:lnTo>
                <a:lnTo>
                  <a:pt x="366" y="639"/>
                </a:lnTo>
                <a:lnTo>
                  <a:pt x="365" y="640"/>
                </a:lnTo>
                <a:lnTo>
                  <a:pt x="365" y="640"/>
                </a:lnTo>
                <a:lnTo>
                  <a:pt x="364" y="642"/>
                </a:lnTo>
                <a:lnTo>
                  <a:pt x="363" y="644"/>
                </a:lnTo>
                <a:lnTo>
                  <a:pt x="362" y="646"/>
                </a:lnTo>
                <a:lnTo>
                  <a:pt x="362" y="646"/>
                </a:lnTo>
                <a:lnTo>
                  <a:pt x="362" y="647"/>
                </a:lnTo>
                <a:lnTo>
                  <a:pt x="361" y="648"/>
                </a:lnTo>
                <a:lnTo>
                  <a:pt x="360" y="648"/>
                </a:lnTo>
                <a:lnTo>
                  <a:pt x="359" y="649"/>
                </a:lnTo>
                <a:lnTo>
                  <a:pt x="358" y="649"/>
                </a:lnTo>
                <a:lnTo>
                  <a:pt x="356" y="650"/>
                </a:lnTo>
                <a:lnTo>
                  <a:pt x="354" y="651"/>
                </a:lnTo>
                <a:lnTo>
                  <a:pt x="353" y="651"/>
                </a:lnTo>
                <a:lnTo>
                  <a:pt x="352" y="651"/>
                </a:lnTo>
                <a:lnTo>
                  <a:pt x="351" y="652"/>
                </a:lnTo>
                <a:lnTo>
                  <a:pt x="350" y="653"/>
                </a:lnTo>
                <a:lnTo>
                  <a:pt x="349" y="653"/>
                </a:lnTo>
                <a:lnTo>
                  <a:pt x="346" y="656"/>
                </a:lnTo>
                <a:lnTo>
                  <a:pt x="345" y="657"/>
                </a:lnTo>
                <a:lnTo>
                  <a:pt x="344" y="658"/>
                </a:lnTo>
                <a:lnTo>
                  <a:pt x="343" y="659"/>
                </a:lnTo>
                <a:lnTo>
                  <a:pt x="342" y="659"/>
                </a:lnTo>
                <a:lnTo>
                  <a:pt x="340" y="659"/>
                </a:lnTo>
                <a:lnTo>
                  <a:pt x="339" y="659"/>
                </a:lnTo>
                <a:lnTo>
                  <a:pt x="339" y="659"/>
                </a:lnTo>
                <a:lnTo>
                  <a:pt x="338" y="659"/>
                </a:lnTo>
                <a:lnTo>
                  <a:pt x="337" y="658"/>
                </a:lnTo>
                <a:lnTo>
                  <a:pt x="333" y="657"/>
                </a:lnTo>
                <a:lnTo>
                  <a:pt x="328" y="654"/>
                </a:lnTo>
                <a:lnTo>
                  <a:pt x="324" y="652"/>
                </a:lnTo>
                <a:lnTo>
                  <a:pt x="313" y="647"/>
                </a:lnTo>
                <a:lnTo>
                  <a:pt x="311" y="646"/>
                </a:lnTo>
                <a:lnTo>
                  <a:pt x="309" y="645"/>
                </a:lnTo>
                <a:lnTo>
                  <a:pt x="308" y="645"/>
                </a:lnTo>
                <a:lnTo>
                  <a:pt x="307" y="644"/>
                </a:lnTo>
                <a:lnTo>
                  <a:pt x="302" y="644"/>
                </a:lnTo>
                <a:lnTo>
                  <a:pt x="299" y="643"/>
                </a:lnTo>
                <a:lnTo>
                  <a:pt x="297" y="643"/>
                </a:lnTo>
                <a:lnTo>
                  <a:pt x="291" y="640"/>
                </a:lnTo>
                <a:lnTo>
                  <a:pt x="284" y="638"/>
                </a:lnTo>
                <a:lnTo>
                  <a:pt x="280" y="637"/>
                </a:lnTo>
                <a:lnTo>
                  <a:pt x="279" y="637"/>
                </a:lnTo>
                <a:lnTo>
                  <a:pt x="277" y="636"/>
                </a:lnTo>
                <a:lnTo>
                  <a:pt x="274" y="636"/>
                </a:lnTo>
                <a:lnTo>
                  <a:pt x="269" y="636"/>
                </a:lnTo>
                <a:lnTo>
                  <a:pt x="268" y="636"/>
                </a:lnTo>
                <a:lnTo>
                  <a:pt x="266" y="636"/>
                </a:lnTo>
                <a:lnTo>
                  <a:pt x="260" y="635"/>
                </a:lnTo>
                <a:lnTo>
                  <a:pt x="258" y="634"/>
                </a:lnTo>
                <a:lnTo>
                  <a:pt x="254" y="634"/>
                </a:lnTo>
                <a:lnTo>
                  <a:pt x="253" y="634"/>
                </a:lnTo>
                <a:lnTo>
                  <a:pt x="251" y="634"/>
                </a:lnTo>
                <a:lnTo>
                  <a:pt x="246" y="635"/>
                </a:lnTo>
                <a:lnTo>
                  <a:pt x="244" y="635"/>
                </a:lnTo>
                <a:lnTo>
                  <a:pt x="242" y="635"/>
                </a:lnTo>
                <a:lnTo>
                  <a:pt x="241" y="635"/>
                </a:lnTo>
                <a:lnTo>
                  <a:pt x="240" y="635"/>
                </a:lnTo>
                <a:lnTo>
                  <a:pt x="239" y="635"/>
                </a:lnTo>
                <a:lnTo>
                  <a:pt x="238" y="634"/>
                </a:lnTo>
                <a:lnTo>
                  <a:pt x="235" y="633"/>
                </a:lnTo>
                <a:lnTo>
                  <a:pt x="234" y="632"/>
                </a:lnTo>
                <a:lnTo>
                  <a:pt x="231" y="632"/>
                </a:lnTo>
                <a:lnTo>
                  <a:pt x="227" y="631"/>
                </a:lnTo>
                <a:lnTo>
                  <a:pt x="226" y="630"/>
                </a:lnTo>
                <a:lnTo>
                  <a:pt x="225" y="630"/>
                </a:lnTo>
                <a:lnTo>
                  <a:pt x="224" y="630"/>
                </a:lnTo>
                <a:lnTo>
                  <a:pt x="222" y="628"/>
                </a:lnTo>
                <a:lnTo>
                  <a:pt x="219" y="625"/>
                </a:lnTo>
                <a:lnTo>
                  <a:pt x="218" y="624"/>
                </a:lnTo>
                <a:lnTo>
                  <a:pt x="217" y="624"/>
                </a:lnTo>
                <a:lnTo>
                  <a:pt x="216" y="622"/>
                </a:lnTo>
                <a:lnTo>
                  <a:pt x="215" y="621"/>
                </a:lnTo>
                <a:lnTo>
                  <a:pt x="215" y="620"/>
                </a:lnTo>
                <a:lnTo>
                  <a:pt x="214" y="619"/>
                </a:lnTo>
                <a:lnTo>
                  <a:pt x="213" y="616"/>
                </a:lnTo>
                <a:lnTo>
                  <a:pt x="212" y="615"/>
                </a:lnTo>
                <a:lnTo>
                  <a:pt x="212" y="614"/>
                </a:lnTo>
                <a:lnTo>
                  <a:pt x="211" y="614"/>
                </a:lnTo>
                <a:lnTo>
                  <a:pt x="211" y="613"/>
                </a:lnTo>
                <a:lnTo>
                  <a:pt x="209" y="611"/>
                </a:lnTo>
                <a:lnTo>
                  <a:pt x="208" y="610"/>
                </a:lnTo>
                <a:lnTo>
                  <a:pt x="207" y="609"/>
                </a:lnTo>
                <a:lnTo>
                  <a:pt x="206" y="608"/>
                </a:lnTo>
                <a:lnTo>
                  <a:pt x="205" y="607"/>
                </a:lnTo>
                <a:lnTo>
                  <a:pt x="205" y="606"/>
                </a:lnTo>
                <a:lnTo>
                  <a:pt x="204" y="605"/>
                </a:lnTo>
                <a:lnTo>
                  <a:pt x="204" y="604"/>
                </a:lnTo>
                <a:lnTo>
                  <a:pt x="204" y="603"/>
                </a:lnTo>
                <a:lnTo>
                  <a:pt x="204" y="603"/>
                </a:lnTo>
                <a:lnTo>
                  <a:pt x="205" y="602"/>
                </a:lnTo>
                <a:lnTo>
                  <a:pt x="205" y="601"/>
                </a:lnTo>
                <a:lnTo>
                  <a:pt x="205" y="600"/>
                </a:lnTo>
                <a:lnTo>
                  <a:pt x="206" y="599"/>
                </a:lnTo>
                <a:lnTo>
                  <a:pt x="207" y="599"/>
                </a:lnTo>
                <a:lnTo>
                  <a:pt x="207" y="598"/>
                </a:lnTo>
                <a:lnTo>
                  <a:pt x="209" y="597"/>
                </a:lnTo>
                <a:lnTo>
                  <a:pt x="210" y="596"/>
                </a:lnTo>
                <a:lnTo>
                  <a:pt x="211" y="595"/>
                </a:lnTo>
                <a:lnTo>
                  <a:pt x="215" y="594"/>
                </a:lnTo>
                <a:lnTo>
                  <a:pt x="216" y="593"/>
                </a:lnTo>
                <a:lnTo>
                  <a:pt x="216" y="593"/>
                </a:lnTo>
                <a:lnTo>
                  <a:pt x="217" y="592"/>
                </a:lnTo>
                <a:lnTo>
                  <a:pt x="217" y="591"/>
                </a:lnTo>
                <a:lnTo>
                  <a:pt x="218" y="591"/>
                </a:lnTo>
                <a:lnTo>
                  <a:pt x="218" y="590"/>
                </a:lnTo>
                <a:lnTo>
                  <a:pt x="219" y="589"/>
                </a:lnTo>
                <a:lnTo>
                  <a:pt x="219" y="587"/>
                </a:lnTo>
                <a:lnTo>
                  <a:pt x="219" y="586"/>
                </a:lnTo>
                <a:lnTo>
                  <a:pt x="219" y="585"/>
                </a:lnTo>
                <a:lnTo>
                  <a:pt x="218" y="584"/>
                </a:lnTo>
                <a:lnTo>
                  <a:pt x="218" y="583"/>
                </a:lnTo>
                <a:lnTo>
                  <a:pt x="217" y="583"/>
                </a:lnTo>
                <a:lnTo>
                  <a:pt x="217" y="582"/>
                </a:lnTo>
                <a:lnTo>
                  <a:pt x="216" y="581"/>
                </a:lnTo>
                <a:lnTo>
                  <a:pt x="212" y="578"/>
                </a:lnTo>
                <a:lnTo>
                  <a:pt x="210" y="577"/>
                </a:lnTo>
                <a:lnTo>
                  <a:pt x="209" y="576"/>
                </a:lnTo>
                <a:lnTo>
                  <a:pt x="208" y="574"/>
                </a:lnTo>
                <a:lnTo>
                  <a:pt x="205" y="570"/>
                </a:lnTo>
                <a:lnTo>
                  <a:pt x="203" y="568"/>
                </a:lnTo>
                <a:lnTo>
                  <a:pt x="201" y="566"/>
                </a:lnTo>
                <a:lnTo>
                  <a:pt x="200" y="564"/>
                </a:lnTo>
                <a:lnTo>
                  <a:pt x="198" y="563"/>
                </a:lnTo>
                <a:lnTo>
                  <a:pt x="197" y="562"/>
                </a:lnTo>
                <a:lnTo>
                  <a:pt x="196" y="561"/>
                </a:lnTo>
                <a:lnTo>
                  <a:pt x="195" y="560"/>
                </a:lnTo>
                <a:lnTo>
                  <a:pt x="194" y="560"/>
                </a:lnTo>
                <a:lnTo>
                  <a:pt x="193" y="559"/>
                </a:lnTo>
                <a:lnTo>
                  <a:pt x="190" y="558"/>
                </a:lnTo>
                <a:lnTo>
                  <a:pt x="186" y="557"/>
                </a:lnTo>
                <a:lnTo>
                  <a:pt x="184" y="556"/>
                </a:lnTo>
                <a:lnTo>
                  <a:pt x="182" y="555"/>
                </a:lnTo>
                <a:lnTo>
                  <a:pt x="180" y="554"/>
                </a:lnTo>
                <a:lnTo>
                  <a:pt x="178" y="553"/>
                </a:lnTo>
                <a:lnTo>
                  <a:pt x="177" y="553"/>
                </a:lnTo>
                <a:lnTo>
                  <a:pt x="172" y="549"/>
                </a:lnTo>
                <a:lnTo>
                  <a:pt x="171" y="548"/>
                </a:lnTo>
                <a:lnTo>
                  <a:pt x="170" y="547"/>
                </a:lnTo>
                <a:lnTo>
                  <a:pt x="168" y="546"/>
                </a:lnTo>
                <a:lnTo>
                  <a:pt x="167" y="544"/>
                </a:lnTo>
                <a:lnTo>
                  <a:pt x="165" y="542"/>
                </a:lnTo>
                <a:lnTo>
                  <a:pt x="159" y="535"/>
                </a:lnTo>
                <a:lnTo>
                  <a:pt x="156" y="533"/>
                </a:lnTo>
                <a:lnTo>
                  <a:pt x="154" y="531"/>
                </a:lnTo>
                <a:lnTo>
                  <a:pt x="152" y="529"/>
                </a:lnTo>
                <a:lnTo>
                  <a:pt x="150" y="528"/>
                </a:lnTo>
                <a:lnTo>
                  <a:pt x="148" y="526"/>
                </a:lnTo>
                <a:lnTo>
                  <a:pt x="146" y="524"/>
                </a:lnTo>
                <a:lnTo>
                  <a:pt x="144" y="523"/>
                </a:lnTo>
                <a:lnTo>
                  <a:pt x="142" y="522"/>
                </a:lnTo>
                <a:lnTo>
                  <a:pt x="140" y="521"/>
                </a:lnTo>
                <a:lnTo>
                  <a:pt x="138" y="520"/>
                </a:lnTo>
                <a:lnTo>
                  <a:pt x="136" y="519"/>
                </a:lnTo>
                <a:lnTo>
                  <a:pt x="134" y="518"/>
                </a:lnTo>
                <a:lnTo>
                  <a:pt x="125" y="516"/>
                </a:lnTo>
                <a:lnTo>
                  <a:pt x="123" y="515"/>
                </a:lnTo>
                <a:lnTo>
                  <a:pt x="121" y="514"/>
                </a:lnTo>
                <a:lnTo>
                  <a:pt x="120" y="514"/>
                </a:lnTo>
                <a:lnTo>
                  <a:pt x="118" y="513"/>
                </a:lnTo>
                <a:lnTo>
                  <a:pt x="117" y="512"/>
                </a:lnTo>
                <a:lnTo>
                  <a:pt x="117" y="512"/>
                </a:lnTo>
                <a:lnTo>
                  <a:pt x="116" y="511"/>
                </a:lnTo>
                <a:lnTo>
                  <a:pt x="115" y="510"/>
                </a:lnTo>
                <a:lnTo>
                  <a:pt x="115" y="508"/>
                </a:lnTo>
                <a:lnTo>
                  <a:pt x="114" y="506"/>
                </a:lnTo>
                <a:lnTo>
                  <a:pt x="114" y="505"/>
                </a:lnTo>
                <a:lnTo>
                  <a:pt x="113" y="501"/>
                </a:lnTo>
                <a:lnTo>
                  <a:pt x="113" y="499"/>
                </a:lnTo>
                <a:lnTo>
                  <a:pt x="113" y="498"/>
                </a:lnTo>
                <a:lnTo>
                  <a:pt x="112" y="496"/>
                </a:lnTo>
                <a:lnTo>
                  <a:pt x="111" y="493"/>
                </a:lnTo>
                <a:lnTo>
                  <a:pt x="108" y="487"/>
                </a:lnTo>
                <a:lnTo>
                  <a:pt x="107" y="485"/>
                </a:lnTo>
                <a:lnTo>
                  <a:pt x="107" y="483"/>
                </a:lnTo>
                <a:lnTo>
                  <a:pt x="105" y="481"/>
                </a:lnTo>
                <a:lnTo>
                  <a:pt x="105" y="480"/>
                </a:lnTo>
                <a:lnTo>
                  <a:pt x="104" y="480"/>
                </a:lnTo>
                <a:lnTo>
                  <a:pt x="103" y="479"/>
                </a:lnTo>
                <a:lnTo>
                  <a:pt x="103" y="478"/>
                </a:lnTo>
                <a:lnTo>
                  <a:pt x="99" y="476"/>
                </a:lnTo>
                <a:lnTo>
                  <a:pt x="98" y="475"/>
                </a:lnTo>
                <a:lnTo>
                  <a:pt x="97" y="474"/>
                </a:lnTo>
                <a:lnTo>
                  <a:pt x="97" y="473"/>
                </a:lnTo>
                <a:lnTo>
                  <a:pt x="96" y="473"/>
                </a:lnTo>
                <a:lnTo>
                  <a:pt x="95" y="472"/>
                </a:lnTo>
                <a:lnTo>
                  <a:pt x="95" y="470"/>
                </a:lnTo>
                <a:lnTo>
                  <a:pt x="94" y="469"/>
                </a:lnTo>
                <a:lnTo>
                  <a:pt x="93" y="467"/>
                </a:lnTo>
                <a:lnTo>
                  <a:pt x="92" y="465"/>
                </a:lnTo>
                <a:lnTo>
                  <a:pt x="90" y="459"/>
                </a:lnTo>
                <a:lnTo>
                  <a:pt x="88" y="454"/>
                </a:lnTo>
                <a:lnTo>
                  <a:pt x="87" y="451"/>
                </a:lnTo>
                <a:lnTo>
                  <a:pt x="86" y="449"/>
                </a:lnTo>
                <a:lnTo>
                  <a:pt x="85" y="448"/>
                </a:lnTo>
                <a:lnTo>
                  <a:pt x="84" y="446"/>
                </a:lnTo>
                <a:lnTo>
                  <a:pt x="83" y="445"/>
                </a:lnTo>
                <a:lnTo>
                  <a:pt x="82" y="444"/>
                </a:lnTo>
                <a:lnTo>
                  <a:pt x="82" y="444"/>
                </a:lnTo>
                <a:lnTo>
                  <a:pt x="81" y="444"/>
                </a:lnTo>
                <a:lnTo>
                  <a:pt x="80" y="443"/>
                </a:lnTo>
                <a:lnTo>
                  <a:pt x="79" y="443"/>
                </a:lnTo>
                <a:lnTo>
                  <a:pt x="75" y="444"/>
                </a:lnTo>
                <a:lnTo>
                  <a:pt x="72" y="444"/>
                </a:lnTo>
                <a:lnTo>
                  <a:pt x="70" y="444"/>
                </a:lnTo>
                <a:lnTo>
                  <a:pt x="66" y="444"/>
                </a:lnTo>
                <a:lnTo>
                  <a:pt x="65" y="444"/>
                </a:lnTo>
                <a:lnTo>
                  <a:pt x="63" y="444"/>
                </a:lnTo>
                <a:lnTo>
                  <a:pt x="61" y="443"/>
                </a:lnTo>
                <a:lnTo>
                  <a:pt x="60" y="443"/>
                </a:lnTo>
                <a:lnTo>
                  <a:pt x="58" y="442"/>
                </a:lnTo>
                <a:lnTo>
                  <a:pt x="58" y="442"/>
                </a:lnTo>
                <a:lnTo>
                  <a:pt x="57" y="441"/>
                </a:lnTo>
                <a:lnTo>
                  <a:pt x="56" y="440"/>
                </a:lnTo>
                <a:lnTo>
                  <a:pt x="55" y="439"/>
                </a:lnTo>
                <a:lnTo>
                  <a:pt x="51" y="435"/>
                </a:lnTo>
                <a:lnTo>
                  <a:pt x="50" y="434"/>
                </a:lnTo>
                <a:lnTo>
                  <a:pt x="49" y="432"/>
                </a:lnTo>
                <a:lnTo>
                  <a:pt x="47" y="430"/>
                </a:lnTo>
                <a:lnTo>
                  <a:pt x="46" y="427"/>
                </a:lnTo>
                <a:lnTo>
                  <a:pt x="43" y="422"/>
                </a:lnTo>
                <a:lnTo>
                  <a:pt x="42" y="419"/>
                </a:lnTo>
                <a:lnTo>
                  <a:pt x="40" y="413"/>
                </a:lnTo>
                <a:lnTo>
                  <a:pt x="37" y="408"/>
                </a:lnTo>
                <a:lnTo>
                  <a:pt x="36" y="404"/>
                </a:lnTo>
                <a:lnTo>
                  <a:pt x="35" y="403"/>
                </a:lnTo>
                <a:lnTo>
                  <a:pt x="35" y="402"/>
                </a:lnTo>
                <a:lnTo>
                  <a:pt x="34" y="402"/>
                </a:lnTo>
                <a:lnTo>
                  <a:pt x="34" y="402"/>
                </a:lnTo>
                <a:lnTo>
                  <a:pt x="34" y="401"/>
                </a:lnTo>
                <a:lnTo>
                  <a:pt x="33" y="401"/>
                </a:lnTo>
                <a:lnTo>
                  <a:pt x="32" y="401"/>
                </a:lnTo>
                <a:lnTo>
                  <a:pt x="29" y="401"/>
                </a:lnTo>
                <a:lnTo>
                  <a:pt x="28" y="401"/>
                </a:lnTo>
                <a:lnTo>
                  <a:pt x="27" y="401"/>
                </a:lnTo>
                <a:lnTo>
                  <a:pt x="26" y="400"/>
                </a:lnTo>
                <a:lnTo>
                  <a:pt x="25" y="399"/>
                </a:lnTo>
                <a:lnTo>
                  <a:pt x="24" y="398"/>
                </a:lnTo>
                <a:lnTo>
                  <a:pt x="23" y="396"/>
                </a:lnTo>
                <a:lnTo>
                  <a:pt x="21" y="393"/>
                </a:lnTo>
                <a:lnTo>
                  <a:pt x="20" y="392"/>
                </a:lnTo>
                <a:lnTo>
                  <a:pt x="19" y="391"/>
                </a:lnTo>
                <a:lnTo>
                  <a:pt x="18" y="390"/>
                </a:lnTo>
                <a:lnTo>
                  <a:pt x="17" y="389"/>
                </a:lnTo>
                <a:lnTo>
                  <a:pt x="16" y="388"/>
                </a:lnTo>
                <a:lnTo>
                  <a:pt x="15" y="388"/>
                </a:lnTo>
                <a:lnTo>
                  <a:pt x="14" y="387"/>
                </a:lnTo>
                <a:lnTo>
                  <a:pt x="13" y="387"/>
                </a:lnTo>
                <a:lnTo>
                  <a:pt x="12" y="387"/>
                </a:lnTo>
                <a:lnTo>
                  <a:pt x="10" y="386"/>
                </a:lnTo>
                <a:lnTo>
                  <a:pt x="8" y="386"/>
                </a:lnTo>
                <a:lnTo>
                  <a:pt x="6" y="386"/>
                </a:lnTo>
                <a:lnTo>
                  <a:pt x="5" y="386"/>
                </a:lnTo>
                <a:lnTo>
                  <a:pt x="4" y="386"/>
                </a:lnTo>
                <a:lnTo>
                  <a:pt x="4" y="386"/>
                </a:lnTo>
                <a:lnTo>
                  <a:pt x="4" y="384"/>
                </a:lnTo>
                <a:lnTo>
                  <a:pt x="2" y="379"/>
                </a:lnTo>
                <a:lnTo>
                  <a:pt x="1" y="378"/>
                </a:lnTo>
                <a:lnTo>
                  <a:pt x="1" y="376"/>
                </a:lnTo>
                <a:lnTo>
                  <a:pt x="1" y="375"/>
                </a:lnTo>
                <a:lnTo>
                  <a:pt x="1" y="374"/>
                </a:lnTo>
                <a:lnTo>
                  <a:pt x="0" y="372"/>
                </a:lnTo>
                <a:lnTo>
                  <a:pt x="0" y="370"/>
                </a:lnTo>
                <a:lnTo>
                  <a:pt x="0" y="368"/>
                </a:lnTo>
                <a:lnTo>
                  <a:pt x="0" y="366"/>
                </a:lnTo>
                <a:lnTo>
                  <a:pt x="1" y="364"/>
                </a:lnTo>
                <a:lnTo>
                  <a:pt x="1" y="362"/>
                </a:lnTo>
                <a:lnTo>
                  <a:pt x="2" y="358"/>
                </a:lnTo>
                <a:lnTo>
                  <a:pt x="2" y="356"/>
                </a:lnTo>
                <a:lnTo>
                  <a:pt x="3" y="353"/>
                </a:lnTo>
                <a:lnTo>
                  <a:pt x="3" y="352"/>
                </a:lnTo>
                <a:lnTo>
                  <a:pt x="4" y="350"/>
                </a:lnTo>
                <a:lnTo>
                  <a:pt x="5" y="348"/>
                </a:lnTo>
                <a:lnTo>
                  <a:pt x="6" y="345"/>
                </a:lnTo>
                <a:lnTo>
                  <a:pt x="8" y="342"/>
                </a:lnTo>
                <a:lnTo>
                  <a:pt x="9" y="340"/>
                </a:lnTo>
                <a:lnTo>
                  <a:pt x="10" y="339"/>
                </a:lnTo>
                <a:lnTo>
                  <a:pt x="11" y="338"/>
                </a:lnTo>
                <a:lnTo>
                  <a:pt x="12" y="337"/>
                </a:lnTo>
                <a:lnTo>
                  <a:pt x="13" y="336"/>
                </a:lnTo>
                <a:lnTo>
                  <a:pt x="14" y="336"/>
                </a:lnTo>
                <a:lnTo>
                  <a:pt x="15" y="335"/>
                </a:lnTo>
                <a:lnTo>
                  <a:pt x="16" y="335"/>
                </a:lnTo>
                <a:lnTo>
                  <a:pt x="19" y="333"/>
                </a:lnTo>
                <a:lnTo>
                  <a:pt x="20" y="333"/>
                </a:lnTo>
                <a:lnTo>
                  <a:pt x="21" y="332"/>
                </a:lnTo>
                <a:lnTo>
                  <a:pt x="23" y="331"/>
                </a:lnTo>
                <a:lnTo>
                  <a:pt x="23" y="330"/>
                </a:lnTo>
                <a:lnTo>
                  <a:pt x="24" y="329"/>
                </a:lnTo>
                <a:lnTo>
                  <a:pt x="25" y="328"/>
                </a:lnTo>
                <a:lnTo>
                  <a:pt x="25" y="328"/>
                </a:lnTo>
                <a:lnTo>
                  <a:pt x="26" y="327"/>
                </a:lnTo>
                <a:lnTo>
                  <a:pt x="26" y="326"/>
                </a:lnTo>
                <a:lnTo>
                  <a:pt x="26" y="325"/>
                </a:lnTo>
                <a:lnTo>
                  <a:pt x="27" y="324"/>
                </a:lnTo>
                <a:lnTo>
                  <a:pt x="27" y="322"/>
                </a:lnTo>
                <a:lnTo>
                  <a:pt x="27" y="320"/>
                </a:lnTo>
                <a:lnTo>
                  <a:pt x="27" y="318"/>
                </a:lnTo>
                <a:lnTo>
                  <a:pt x="27" y="316"/>
                </a:lnTo>
                <a:lnTo>
                  <a:pt x="25" y="310"/>
                </a:lnTo>
                <a:lnTo>
                  <a:pt x="25" y="309"/>
                </a:lnTo>
                <a:lnTo>
                  <a:pt x="24" y="307"/>
                </a:lnTo>
                <a:lnTo>
                  <a:pt x="23" y="303"/>
                </a:lnTo>
                <a:lnTo>
                  <a:pt x="22" y="302"/>
                </a:lnTo>
                <a:lnTo>
                  <a:pt x="22" y="300"/>
                </a:lnTo>
                <a:lnTo>
                  <a:pt x="22" y="299"/>
                </a:lnTo>
                <a:lnTo>
                  <a:pt x="22" y="298"/>
                </a:lnTo>
                <a:lnTo>
                  <a:pt x="22" y="296"/>
                </a:lnTo>
                <a:lnTo>
                  <a:pt x="23" y="293"/>
                </a:lnTo>
                <a:lnTo>
                  <a:pt x="23" y="291"/>
                </a:lnTo>
                <a:lnTo>
                  <a:pt x="24" y="289"/>
                </a:lnTo>
                <a:lnTo>
                  <a:pt x="24" y="283"/>
                </a:lnTo>
                <a:lnTo>
                  <a:pt x="24" y="281"/>
                </a:lnTo>
                <a:lnTo>
                  <a:pt x="25" y="278"/>
                </a:lnTo>
                <a:lnTo>
                  <a:pt x="26" y="273"/>
                </a:lnTo>
                <a:lnTo>
                  <a:pt x="26" y="272"/>
                </a:lnTo>
                <a:lnTo>
                  <a:pt x="26" y="271"/>
                </a:lnTo>
                <a:lnTo>
                  <a:pt x="27" y="271"/>
                </a:lnTo>
                <a:lnTo>
                  <a:pt x="27" y="271"/>
                </a:lnTo>
                <a:lnTo>
                  <a:pt x="28" y="271"/>
                </a:lnTo>
                <a:lnTo>
                  <a:pt x="29" y="271"/>
                </a:lnTo>
                <a:lnTo>
                  <a:pt x="30" y="271"/>
                </a:lnTo>
                <a:lnTo>
                  <a:pt x="35" y="272"/>
                </a:lnTo>
                <a:lnTo>
                  <a:pt x="37" y="272"/>
                </a:lnTo>
                <a:lnTo>
                  <a:pt x="38" y="272"/>
                </a:lnTo>
                <a:lnTo>
                  <a:pt x="39" y="272"/>
                </a:lnTo>
                <a:lnTo>
                  <a:pt x="40" y="272"/>
                </a:lnTo>
                <a:lnTo>
                  <a:pt x="41" y="272"/>
                </a:lnTo>
                <a:lnTo>
                  <a:pt x="42" y="271"/>
                </a:lnTo>
                <a:lnTo>
                  <a:pt x="44" y="271"/>
                </a:lnTo>
                <a:lnTo>
                  <a:pt x="45" y="270"/>
                </a:lnTo>
                <a:lnTo>
                  <a:pt x="46" y="270"/>
                </a:lnTo>
                <a:lnTo>
                  <a:pt x="48" y="269"/>
                </a:lnTo>
                <a:lnTo>
                  <a:pt x="50" y="267"/>
                </a:lnTo>
                <a:lnTo>
                  <a:pt x="54" y="264"/>
                </a:lnTo>
                <a:lnTo>
                  <a:pt x="55" y="263"/>
                </a:lnTo>
                <a:lnTo>
                  <a:pt x="57" y="262"/>
                </a:lnTo>
                <a:lnTo>
                  <a:pt x="59" y="261"/>
                </a:lnTo>
                <a:lnTo>
                  <a:pt x="63" y="259"/>
                </a:lnTo>
                <a:lnTo>
                  <a:pt x="64" y="259"/>
                </a:lnTo>
                <a:lnTo>
                  <a:pt x="65" y="259"/>
                </a:lnTo>
                <a:lnTo>
                  <a:pt x="65" y="258"/>
                </a:lnTo>
                <a:lnTo>
                  <a:pt x="66" y="257"/>
                </a:lnTo>
                <a:lnTo>
                  <a:pt x="66" y="257"/>
                </a:lnTo>
                <a:lnTo>
                  <a:pt x="67" y="253"/>
                </a:lnTo>
                <a:lnTo>
                  <a:pt x="69" y="248"/>
                </a:lnTo>
                <a:lnTo>
                  <a:pt x="69" y="246"/>
                </a:lnTo>
                <a:lnTo>
                  <a:pt x="70" y="245"/>
                </a:lnTo>
                <a:lnTo>
                  <a:pt x="71" y="244"/>
                </a:lnTo>
                <a:lnTo>
                  <a:pt x="72" y="242"/>
                </a:lnTo>
                <a:lnTo>
                  <a:pt x="73" y="241"/>
                </a:lnTo>
                <a:lnTo>
                  <a:pt x="75" y="239"/>
                </a:lnTo>
                <a:lnTo>
                  <a:pt x="75" y="238"/>
                </a:lnTo>
                <a:lnTo>
                  <a:pt x="76" y="238"/>
                </a:lnTo>
                <a:lnTo>
                  <a:pt x="76" y="237"/>
                </a:lnTo>
                <a:lnTo>
                  <a:pt x="76" y="236"/>
                </a:lnTo>
                <a:lnTo>
                  <a:pt x="76" y="235"/>
                </a:lnTo>
                <a:lnTo>
                  <a:pt x="76" y="234"/>
                </a:lnTo>
                <a:lnTo>
                  <a:pt x="76" y="233"/>
                </a:lnTo>
                <a:lnTo>
                  <a:pt x="76" y="231"/>
                </a:lnTo>
                <a:lnTo>
                  <a:pt x="75" y="230"/>
                </a:lnTo>
                <a:lnTo>
                  <a:pt x="75" y="229"/>
                </a:lnTo>
                <a:lnTo>
                  <a:pt x="74" y="228"/>
                </a:lnTo>
                <a:lnTo>
                  <a:pt x="72" y="225"/>
                </a:lnTo>
                <a:lnTo>
                  <a:pt x="71" y="224"/>
                </a:lnTo>
                <a:lnTo>
                  <a:pt x="70" y="222"/>
                </a:lnTo>
                <a:lnTo>
                  <a:pt x="69" y="220"/>
                </a:lnTo>
                <a:lnTo>
                  <a:pt x="69" y="219"/>
                </a:lnTo>
                <a:lnTo>
                  <a:pt x="69" y="218"/>
                </a:lnTo>
                <a:lnTo>
                  <a:pt x="69" y="217"/>
                </a:lnTo>
                <a:lnTo>
                  <a:pt x="69" y="216"/>
                </a:lnTo>
                <a:lnTo>
                  <a:pt x="69" y="215"/>
                </a:lnTo>
                <a:lnTo>
                  <a:pt x="70" y="214"/>
                </a:lnTo>
                <a:lnTo>
                  <a:pt x="70" y="213"/>
                </a:lnTo>
                <a:lnTo>
                  <a:pt x="71" y="212"/>
                </a:lnTo>
                <a:lnTo>
                  <a:pt x="72" y="211"/>
                </a:lnTo>
                <a:lnTo>
                  <a:pt x="74" y="210"/>
                </a:lnTo>
                <a:lnTo>
                  <a:pt x="75" y="207"/>
                </a:lnTo>
                <a:lnTo>
                  <a:pt x="76" y="207"/>
                </a:lnTo>
                <a:lnTo>
                  <a:pt x="77" y="206"/>
                </a:lnTo>
                <a:lnTo>
                  <a:pt x="79" y="205"/>
                </a:lnTo>
                <a:lnTo>
                  <a:pt x="79" y="205"/>
                </a:lnTo>
                <a:lnTo>
                  <a:pt x="80" y="205"/>
                </a:lnTo>
                <a:lnTo>
                  <a:pt x="80" y="204"/>
                </a:lnTo>
                <a:lnTo>
                  <a:pt x="81" y="204"/>
                </a:lnTo>
                <a:lnTo>
                  <a:pt x="81" y="203"/>
                </a:lnTo>
                <a:lnTo>
                  <a:pt x="82" y="201"/>
                </a:lnTo>
                <a:lnTo>
                  <a:pt x="82" y="200"/>
                </a:lnTo>
                <a:lnTo>
                  <a:pt x="82" y="200"/>
                </a:lnTo>
                <a:lnTo>
                  <a:pt x="82" y="199"/>
                </a:lnTo>
                <a:lnTo>
                  <a:pt x="82" y="199"/>
                </a:lnTo>
                <a:lnTo>
                  <a:pt x="81" y="198"/>
                </a:lnTo>
                <a:lnTo>
                  <a:pt x="81" y="198"/>
                </a:lnTo>
                <a:lnTo>
                  <a:pt x="79" y="196"/>
                </a:lnTo>
                <a:lnTo>
                  <a:pt x="78" y="195"/>
                </a:lnTo>
                <a:lnTo>
                  <a:pt x="77" y="194"/>
                </a:lnTo>
                <a:lnTo>
                  <a:pt x="76" y="194"/>
                </a:lnTo>
                <a:lnTo>
                  <a:pt x="76" y="193"/>
                </a:lnTo>
                <a:lnTo>
                  <a:pt x="76" y="192"/>
                </a:lnTo>
                <a:lnTo>
                  <a:pt x="75" y="191"/>
                </a:lnTo>
                <a:lnTo>
                  <a:pt x="75" y="190"/>
                </a:lnTo>
                <a:lnTo>
                  <a:pt x="75" y="190"/>
                </a:lnTo>
                <a:lnTo>
                  <a:pt x="75" y="189"/>
                </a:lnTo>
                <a:lnTo>
                  <a:pt x="75" y="188"/>
                </a:lnTo>
                <a:lnTo>
                  <a:pt x="75" y="187"/>
                </a:lnTo>
                <a:lnTo>
                  <a:pt x="75" y="187"/>
                </a:lnTo>
                <a:lnTo>
                  <a:pt x="75" y="186"/>
                </a:lnTo>
                <a:lnTo>
                  <a:pt x="75" y="186"/>
                </a:lnTo>
                <a:lnTo>
                  <a:pt x="76" y="185"/>
                </a:lnTo>
                <a:lnTo>
                  <a:pt x="76" y="185"/>
                </a:lnTo>
                <a:lnTo>
                  <a:pt x="77" y="185"/>
                </a:lnTo>
                <a:lnTo>
                  <a:pt x="80" y="183"/>
                </a:lnTo>
                <a:lnTo>
                  <a:pt x="81" y="182"/>
                </a:lnTo>
                <a:lnTo>
                  <a:pt x="81" y="182"/>
                </a:lnTo>
                <a:lnTo>
                  <a:pt x="82" y="181"/>
                </a:lnTo>
                <a:lnTo>
                  <a:pt x="82" y="181"/>
                </a:lnTo>
                <a:lnTo>
                  <a:pt x="83" y="180"/>
                </a:lnTo>
                <a:lnTo>
                  <a:pt x="83" y="179"/>
                </a:lnTo>
                <a:lnTo>
                  <a:pt x="83" y="178"/>
                </a:lnTo>
                <a:lnTo>
                  <a:pt x="84" y="178"/>
                </a:lnTo>
                <a:lnTo>
                  <a:pt x="84" y="177"/>
                </a:lnTo>
                <a:lnTo>
                  <a:pt x="84" y="176"/>
                </a:lnTo>
                <a:lnTo>
                  <a:pt x="84" y="175"/>
                </a:lnTo>
                <a:lnTo>
                  <a:pt x="83" y="173"/>
                </a:lnTo>
                <a:lnTo>
                  <a:pt x="83" y="171"/>
                </a:lnTo>
                <a:lnTo>
                  <a:pt x="83" y="170"/>
                </a:lnTo>
                <a:lnTo>
                  <a:pt x="83" y="169"/>
                </a:lnTo>
                <a:lnTo>
                  <a:pt x="84" y="168"/>
                </a:lnTo>
                <a:lnTo>
                  <a:pt x="84" y="166"/>
                </a:lnTo>
                <a:lnTo>
                  <a:pt x="84" y="165"/>
                </a:lnTo>
                <a:lnTo>
                  <a:pt x="85" y="164"/>
                </a:lnTo>
                <a:lnTo>
                  <a:pt x="86" y="163"/>
                </a:lnTo>
                <a:lnTo>
                  <a:pt x="88" y="161"/>
                </a:lnTo>
                <a:lnTo>
                  <a:pt x="89" y="160"/>
                </a:lnTo>
                <a:lnTo>
                  <a:pt x="91" y="158"/>
                </a:lnTo>
                <a:lnTo>
                  <a:pt x="94" y="156"/>
                </a:lnTo>
                <a:lnTo>
                  <a:pt x="98" y="153"/>
                </a:lnTo>
                <a:lnTo>
                  <a:pt x="99" y="152"/>
                </a:lnTo>
                <a:lnTo>
                  <a:pt x="100" y="152"/>
                </a:lnTo>
                <a:lnTo>
                  <a:pt x="100" y="150"/>
                </a:lnTo>
                <a:lnTo>
                  <a:pt x="101" y="149"/>
                </a:lnTo>
                <a:lnTo>
                  <a:pt x="102" y="147"/>
                </a:lnTo>
                <a:lnTo>
                  <a:pt x="103" y="143"/>
                </a:lnTo>
                <a:lnTo>
                  <a:pt x="104" y="141"/>
                </a:lnTo>
                <a:lnTo>
                  <a:pt x="105" y="139"/>
                </a:lnTo>
                <a:lnTo>
                  <a:pt x="107" y="136"/>
                </a:lnTo>
                <a:lnTo>
                  <a:pt x="108" y="135"/>
                </a:lnTo>
                <a:lnTo>
                  <a:pt x="108" y="134"/>
                </a:lnTo>
                <a:lnTo>
                  <a:pt x="109" y="132"/>
                </a:lnTo>
                <a:lnTo>
                  <a:pt x="109" y="129"/>
                </a:lnTo>
                <a:lnTo>
                  <a:pt x="110" y="128"/>
                </a:lnTo>
                <a:lnTo>
                  <a:pt x="110" y="127"/>
                </a:lnTo>
                <a:lnTo>
                  <a:pt x="110" y="125"/>
                </a:lnTo>
                <a:lnTo>
                  <a:pt x="109" y="124"/>
                </a:lnTo>
                <a:lnTo>
                  <a:pt x="109" y="123"/>
                </a:lnTo>
                <a:lnTo>
                  <a:pt x="108" y="123"/>
                </a:lnTo>
                <a:lnTo>
                  <a:pt x="106" y="120"/>
                </a:lnTo>
                <a:lnTo>
                  <a:pt x="105" y="119"/>
                </a:lnTo>
                <a:lnTo>
                  <a:pt x="104" y="117"/>
                </a:lnTo>
                <a:lnTo>
                  <a:pt x="102" y="113"/>
                </a:lnTo>
                <a:lnTo>
                  <a:pt x="101" y="111"/>
                </a:lnTo>
                <a:lnTo>
                  <a:pt x="101" y="109"/>
                </a:lnTo>
                <a:lnTo>
                  <a:pt x="100" y="106"/>
                </a:lnTo>
                <a:lnTo>
                  <a:pt x="100" y="104"/>
                </a:lnTo>
                <a:lnTo>
                  <a:pt x="100" y="102"/>
                </a:lnTo>
                <a:lnTo>
                  <a:pt x="100" y="100"/>
                </a:lnTo>
                <a:lnTo>
                  <a:pt x="101" y="96"/>
                </a:lnTo>
                <a:lnTo>
                  <a:pt x="101" y="94"/>
                </a:lnTo>
                <a:lnTo>
                  <a:pt x="101" y="93"/>
                </a:lnTo>
                <a:lnTo>
                  <a:pt x="102" y="91"/>
                </a:lnTo>
                <a:lnTo>
                  <a:pt x="103" y="89"/>
                </a:lnTo>
                <a:lnTo>
                  <a:pt x="104" y="88"/>
                </a:lnTo>
                <a:lnTo>
                  <a:pt x="107" y="83"/>
                </a:lnTo>
                <a:lnTo>
                  <a:pt x="108" y="82"/>
                </a:lnTo>
                <a:lnTo>
                  <a:pt x="108" y="81"/>
                </a:lnTo>
                <a:lnTo>
                  <a:pt x="108" y="81"/>
                </a:lnTo>
                <a:lnTo>
                  <a:pt x="107" y="80"/>
                </a:lnTo>
                <a:lnTo>
                  <a:pt x="107" y="78"/>
                </a:lnTo>
                <a:lnTo>
                  <a:pt x="106" y="77"/>
                </a:lnTo>
                <a:lnTo>
                  <a:pt x="105" y="74"/>
                </a:lnTo>
                <a:lnTo>
                  <a:pt x="104" y="71"/>
                </a:lnTo>
                <a:lnTo>
                  <a:pt x="103" y="69"/>
                </a:lnTo>
                <a:lnTo>
                  <a:pt x="103" y="68"/>
                </a:lnTo>
                <a:lnTo>
                  <a:pt x="102" y="65"/>
                </a:lnTo>
                <a:lnTo>
                  <a:pt x="102" y="63"/>
                </a:lnTo>
                <a:lnTo>
                  <a:pt x="102" y="57"/>
                </a:lnTo>
                <a:lnTo>
                  <a:pt x="101" y="56"/>
                </a:lnTo>
                <a:lnTo>
                  <a:pt x="101" y="54"/>
                </a:lnTo>
                <a:lnTo>
                  <a:pt x="101" y="52"/>
                </a:lnTo>
                <a:lnTo>
                  <a:pt x="100" y="51"/>
                </a:lnTo>
                <a:lnTo>
                  <a:pt x="100" y="50"/>
                </a:lnTo>
                <a:lnTo>
                  <a:pt x="100" y="50"/>
                </a:lnTo>
                <a:lnTo>
                  <a:pt x="98" y="48"/>
                </a:lnTo>
                <a:lnTo>
                  <a:pt x="97" y="47"/>
                </a:lnTo>
                <a:lnTo>
                  <a:pt x="97" y="46"/>
                </a:lnTo>
                <a:lnTo>
                  <a:pt x="97" y="45"/>
                </a:lnTo>
                <a:lnTo>
                  <a:pt x="97" y="45"/>
                </a:lnTo>
                <a:lnTo>
                  <a:pt x="97" y="44"/>
                </a:lnTo>
                <a:lnTo>
                  <a:pt x="97" y="43"/>
                </a:lnTo>
                <a:lnTo>
                  <a:pt x="97" y="43"/>
                </a:lnTo>
                <a:lnTo>
                  <a:pt x="97" y="41"/>
                </a:lnTo>
                <a:lnTo>
                  <a:pt x="99" y="35"/>
                </a:lnTo>
                <a:lnTo>
                  <a:pt x="99" y="34"/>
                </a:lnTo>
                <a:lnTo>
                  <a:pt x="100" y="33"/>
                </a:lnTo>
                <a:lnTo>
                  <a:pt x="100" y="32"/>
                </a:lnTo>
                <a:lnTo>
                  <a:pt x="101" y="31"/>
                </a:lnTo>
                <a:lnTo>
                  <a:pt x="101" y="30"/>
                </a:lnTo>
                <a:lnTo>
                  <a:pt x="102" y="30"/>
                </a:lnTo>
                <a:lnTo>
                  <a:pt x="102" y="30"/>
                </a:lnTo>
                <a:lnTo>
                  <a:pt x="103" y="30"/>
                </a:lnTo>
                <a:lnTo>
                  <a:pt x="103" y="30"/>
                </a:lnTo>
                <a:lnTo>
                  <a:pt x="104" y="30"/>
                </a:lnTo>
                <a:lnTo>
                  <a:pt x="104" y="31"/>
                </a:lnTo>
                <a:lnTo>
                  <a:pt x="106" y="31"/>
                </a:lnTo>
                <a:lnTo>
                  <a:pt x="108" y="30"/>
                </a:lnTo>
                <a:lnTo>
                  <a:pt x="109" y="30"/>
                </a:lnTo>
                <a:lnTo>
                  <a:pt x="113" y="29"/>
                </a:lnTo>
                <a:lnTo>
                  <a:pt x="119" y="27"/>
                </a:lnTo>
                <a:lnTo>
                  <a:pt x="121" y="26"/>
                </a:lnTo>
                <a:lnTo>
                  <a:pt x="124" y="25"/>
                </a:lnTo>
                <a:lnTo>
                  <a:pt x="125" y="25"/>
                </a:lnTo>
                <a:lnTo>
                  <a:pt x="125" y="25"/>
                </a:lnTo>
                <a:lnTo>
                  <a:pt x="126" y="25"/>
                </a:lnTo>
                <a:lnTo>
                  <a:pt x="127" y="25"/>
                </a:lnTo>
                <a:lnTo>
                  <a:pt x="127" y="25"/>
                </a:lnTo>
                <a:lnTo>
                  <a:pt x="128" y="25"/>
                </a:lnTo>
                <a:lnTo>
                  <a:pt x="129" y="26"/>
                </a:lnTo>
                <a:lnTo>
                  <a:pt x="132" y="29"/>
                </a:lnTo>
                <a:lnTo>
                  <a:pt x="133" y="29"/>
                </a:lnTo>
                <a:lnTo>
                  <a:pt x="133" y="30"/>
                </a:lnTo>
                <a:lnTo>
                  <a:pt x="134" y="30"/>
                </a:lnTo>
                <a:lnTo>
                  <a:pt x="135" y="30"/>
                </a:lnTo>
                <a:lnTo>
                  <a:pt x="136" y="30"/>
                </a:lnTo>
                <a:lnTo>
                  <a:pt x="136" y="30"/>
                </a:lnTo>
                <a:lnTo>
                  <a:pt x="137" y="29"/>
                </a:lnTo>
                <a:lnTo>
                  <a:pt x="138" y="29"/>
                </a:lnTo>
                <a:lnTo>
                  <a:pt x="140" y="29"/>
                </a:lnTo>
                <a:lnTo>
                  <a:pt x="143" y="27"/>
                </a:lnTo>
                <a:lnTo>
                  <a:pt x="144" y="26"/>
                </a:lnTo>
                <a:lnTo>
                  <a:pt x="146" y="26"/>
                </a:lnTo>
                <a:lnTo>
                  <a:pt x="147" y="26"/>
                </a:lnTo>
                <a:lnTo>
                  <a:pt x="148" y="26"/>
                </a:lnTo>
                <a:lnTo>
                  <a:pt x="148" y="26"/>
                </a:lnTo>
                <a:lnTo>
                  <a:pt x="149" y="27"/>
                </a:lnTo>
                <a:lnTo>
                  <a:pt x="150" y="27"/>
                </a:lnTo>
                <a:lnTo>
                  <a:pt x="153" y="30"/>
                </a:lnTo>
                <a:lnTo>
                  <a:pt x="154" y="30"/>
                </a:lnTo>
                <a:lnTo>
                  <a:pt x="156" y="31"/>
                </a:lnTo>
                <a:lnTo>
                  <a:pt x="157" y="32"/>
                </a:lnTo>
                <a:lnTo>
                  <a:pt x="158" y="32"/>
                </a:lnTo>
                <a:lnTo>
                  <a:pt x="159" y="33"/>
                </a:lnTo>
                <a:lnTo>
                  <a:pt x="159" y="34"/>
                </a:lnTo>
                <a:lnTo>
                  <a:pt x="160" y="34"/>
                </a:lnTo>
                <a:lnTo>
                  <a:pt x="161" y="34"/>
                </a:lnTo>
                <a:lnTo>
                  <a:pt x="163" y="35"/>
                </a:lnTo>
                <a:lnTo>
                  <a:pt x="164" y="36"/>
                </a:lnTo>
                <a:lnTo>
                  <a:pt x="166" y="36"/>
                </a:lnTo>
                <a:lnTo>
                  <a:pt x="167" y="37"/>
                </a:lnTo>
                <a:lnTo>
                  <a:pt x="168" y="37"/>
                </a:lnTo>
                <a:lnTo>
                  <a:pt x="170" y="37"/>
                </a:lnTo>
                <a:lnTo>
                  <a:pt x="171" y="37"/>
                </a:lnTo>
                <a:lnTo>
                  <a:pt x="172" y="36"/>
                </a:lnTo>
                <a:lnTo>
                  <a:pt x="174" y="36"/>
                </a:lnTo>
                <a:lnTo>
                  <a:pt x="175" y="35"/>
                </a:lnTo>
                <a:lnTo>
                  <a:pt x="176" y="35"/>
                </a:lnTo>
                <a:lnTo>
                  <a:pt x="178" y="33"/>
                </a:lnTo>
                <a:lnTo>
                  <a:pt x="179" y="33"/>
                </a:lnTo>
                <a:lnTo>
                  <a:pt x="180" y="32"/>
                </a:lnTo>
                <a:lnTo>
                  <a:pt x="182" y="32"/>
                </a:lnTo>
                <a:lnTo>
                  <a:pt x="183" y="31"/>
                </a:lnTo>
                <a:lnTo>
                  <a:pt x="188" y="31"/>
                </a:lnTo>
                <a:lnTo>
                  <a:pt x="189" y="31"/>
                </a:lnTo>
                <a:lnTo>
                  <a:pt x="190" y="30"/>
                </a:lnTo>
                <a:lnTo>
                  <a:pt x="191" y="30"/>
                </a:lnTo>
                <a:lnTo>
                  <a:pt x="192" y="29"/>
                </a:lnTo>
                <a:lnTo>
                  <a:pt x="194" y="28"/>
                </a:lnTo>
                <a:lnTo>
                  <a:pt x="196" y="27"/>
                </a:lnTo>
                <a:lnTo>
                  <a:pt x="197" y="26"/>
                </a:lnTo>
                <a:lnTo>
                  <a:pt x="198" y="26"/>
                </a:lnTo>
                <a:lnTo>
                  <a:pt x="201" y="25"/>
                </a:lnTo>
                <a:lnTo>
                  <a:pt x="201" y="25"/>
                </a:lnTo>
                <a:lnTo>
                  <a:pt x="201" y="25"/>
                </a:lnTo>
                <a:lnTo>
                  <a:pt x="202" y="24"/>
                </a:lnTo>
                <a:lnTo>
                  <a:pt x="203" y="24"/>
                </a:lnTo>
                <a:lnTo>
                  <a:pt x="204" y="22"/>
                </a:lnTo>
                <a:lnTo>
                  <a:pt x="205" y="20"/>
                </a:lnTo>
                <a:lnTo>
                  <a:pt x="205" y="19"/>
                </a:lnTo>
                <a:lnTo>
                  <a:pt x="206" y="18"/>
                </a:lnTo>
                <a:lnTo>
                  <a:pt x="207" y="15"/>
                </a:lnTo>
                <a:lnTo>
                  <a:pt x="208" y="12"/>
                </a:lnTo>
                <a:lnTo>
                  <a:pt x="209" y="11"/>
                </a:lnTo>
                <a:lnTo>
                  <a:pt x="209" y="10"/>
                </a:lnTo>
                <a:lnTo>
                  <a:pt x="210" y="9"/>
                </a:lnTo>
                <a:lnTo>
                  <a:pt x="210" y="9"/>
                </a:lnTo>
                <a:lnTo>
                  <a:pt x="211" y="8"/>
                </a:lnTo>
                <a:lnTo>
                  <a:pt x="213" y="7"/>
                </a:lnTo>
                <a:lnTo>
                  <a:pt x="218" y="5"/>
                </a:lnTo>
                <a:lnTo>
                  <a:pt x="221" y="3"/>
                </a:lnTo>
                <a:lnTo>
                  <a:pt x="223" y="2"/>
                </a:lnTo>
                <a:lnTo>
                  <a:pt x="225" y="2"/>
                </a:lnTo>
                <a:lnTo>
                  <a:pt x="227" y="1"/>
                </a:lnTo>
                <a:lnTo>
                  <a:pt x="230" y="0"/>
                </a:lnTo>
                <a:lnTo>
                  <a:pt x="2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 267">
            <a:extLst>
              <a:ext uri="{FF2B5EF4-FFF2-40B4-BE49-F238E27FC236}">
                <a16:creationId xmlns:a16="http://schemas.microsoft.com/office/drawing/2014/main" id="{F25634BD-D69E-473C-B079-44087595D35B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1149937" cy="1580457"/>
          </a:xfrm>
          <a:custGeom>
            <a:avLst/>
            <a:gdLst>
              <a:gd name="T0" fmla="*/ 405 w 605"/>
              <a:gd name="T1" fmla="*/ 2 h 760"/>
              <a:gd name="T2" fmla="*/ 424 w 605"/>
              <a:gd name="T3" fmla="*/ 15 h 760"/>
              <a:gd name="T4" fmla="*/ 433 w 605"/>
              <a:gd name="T5" fmla="*/ 31 h 760"/>
              <a:gd name="T6" fmla="*/ 439 w 605"/>
              <a:gd name="T7" fmla="*/ 47 h 760"/>
              <a:gd name="T8" fmla="*/ 477 w 605"/>
              <a:gd name="T9" fmla="*/ 46 h 760"/>
              <a:gd name="T10" fmla="*/ 476 w 605"/>
              <a:gd name="T11" fmla="*/ 57 h 760"/>
              <a:gd name="T12" fmla="*/ 518 w 605"/>
              <a:gd name="T13" fmla="*/ 73 h 760"/>
              <a:gd name="T14" fmla="*/ 556 w 605"/>
              <a:gd name="T15" fmla="*/ 93 h 760"/>
              <a:gd name="T16" fmla="*/ 574 w 605"/>
              <a:gd name="T17" fmla="*/ 109 h 760"/>
              <a:gd name="T18" fmla="*/ 605 w 605"/>
              <a:gd name="T19" fmla="*/ 153 h 760"/>
              <a:gd name="T20" fmla="*/ 594 w 605"/>
              <a:gd name="T21" fmla="*/ 192 h 760"/>
              <a:gd name="T22" fmla="*/ 589 w 605"/>
              <a:gd name="T23" fmla="*/ 226 h 760"/>
              <a:gd name="T24" fmla="*/ 578 w 605"/>
              <a:gd name="T25" fmla="*/ 251 h 760"/>
              <a:gd name="T26" fmla="*/ 554 w 605"/>
              <a:gd name="T27" fmla="*/ 252 h 760"/>
              <a:gd name="T28" fmla="*/ 540 w 605"/>
              <a:gd name="T29" fmla="*/ 279 h 760"/>
              <a:gd name="T30" fmla="*/ 547 w 605"/>
              <a:gd name="T31" fmla="*/ 288 h 760"/>
              <a:gd name="T32" fmla="*/ 550 w 605"/>
              <a:gd name="T33" fmla="*/ 303 h 760"/>
              <a:gd name="T34" fmla="*/ 549 w 605"/>
              <a:gd name="T35" fmla="*/ 314 h 760"/>
              <a:gd name="T36" fmla="*/ 568 w 605"/>
              <a:gd name="T37" fmla="*/ 324 h 760"/>
              <a:gd name="T38" fmla="*/ 569 w 605"/>
              <a:gd name="T39" fmla="*/ 368 h 760"/>
              <a:gd name="T40" fmla="*/ 571 w 605"/>
              <a:gd name="T41" fmla="*/ 394 h 760"/>
              <a:gd name="T42" fmla="*/ 575 w 605"/>
              <a:gd name="T43" fmla="*/ 429 h 760"/>
              <a:gd name="T44" fmla="*/ 573 w 605"/>
              <a:gd name="T45" fmla="*/ 471 h 760"/>
              <a:gd name="T46" fmla="*/ 572 w 605"/>
              <a:gd name="T47" fmla="*/ 510 h 760"/>
              <a:gd name="T48" fmla="*/ 555 w 605"/>
              <a:gd name="T49" fmla="*/ 538 h 760"/>
              <a:gd name="T50" fmla="*/ 548 w 605"/>
              <a:gd name="T51" fmla="*/ 553 h 760"/>
              <a:gd name="T52" fmla="*/ 546 w 605"/>
              <a:gd name="T53" fmla="*/ 570 h 760"/>
              <a:gd name="T54" fmla="*/ 548 w 605"/>
              <a:gd name="T55" fmla="*/ 596 h 760"/>
              <a:gd name="T56" fmla="*/ 526 w 605"/>
              <a:gd name="T57" fmla="*/ 624 h 760"/>
              <a:gd name="T58" fmla="*/ 497 w 605"/>
              <a:gd name="T59" fmla="*/ 638 h 760"/>
              <a:gd name="T60" fmla="*/ 498 w 605"/>
              <a:gd name="T61" fmla="*/ 686 h 760"/>
              <a:gd name="T62" fmla="*/ 476 w 605"/>
              <a:gd name="T63" fmla="*/ 710 h 760"/>
              <a:gd name="T64" fmla="*/ 473 w 605"/>
              <a:gd name="T65" fmla="*/ 745 h 760"/>
              <a:gd name="T66" fmla="*/ 452 w 605"/>
              <a:gd name="T67" fmla="*/ 760 h 760"/>
              <a:gd name="T68" fmla="*/ 414 w 605"/>
              <a:gd name="T69" fmla="*/ 726 h 760"/>
              <a:gd name="T70" fmla="*/ 382 w 605"/>
              <a:gd name="T71" fmla="*/ 660 h 760"/>
              <a:gd name="T72" fmla="*/ 336 w 605"/>
              <a:gd name="T73" fmla="*/ 643 h 760"/>
              <a:gd name="T74" fmla="*/ 312 w 605"/>
              <a:gd name="T75" fmla="*/ 608 h 760"/>
              <a:gd name="T76" fmla="*/ 272 w 605"/>
              <a:gd name="T77" fmla="*/ 556 h 760"/>
              <a:gd name="T78" fmla="*/ 252 w 605"/>
              <a:gd name="T79" fmla="*/ 521 h 760"/>
              <a:gd name="T80" fmla="*/ 199 w 605"/>
              <a:gd name="T81" fmla="*/ 491 h 760"/>
              <a:gd name="T82" fmla="*/ 167 w 605"/>
              <a:gd name="T83" fmla="*/ 493 h 760"/>
              <a:gd name="T84" fmla="*/ 139 w 605"/>
              <a:gd name="T85" fmla="*/ 458 h 760"/>
              <a:gd name="T86" fmla="*/ 101 w 605"/>
              <a:gd name="T87" fmla="*/ 426 h 760"/>
              <a:gd name="T88" fmla="*/ 94 w 605"/>
              <a:gd name="T89" fmla="*/ 373 h 760"/>
              <a:gd name="T90" fmla="*/ 68 w 605"/>
              <a:gd name="T91" fmla="*/ 344 h 760"/>
              <a:gd name="T92" fmla="*/ 49 w 605"/>
              <a:gd name="T93" fmla="*/ 302 h 760"/>
              <a:gd name="T94" fmla="*/ 45 w 605"/>
              <a:gd name="T95" fmla="*/ 266 h 760"/>
              <a:gd name="T96" fmla="*/ 2 w 605"/>
              <a:gd name="T97" fmla="*/ 229 h 760"/>
              <a:gd name="T98" fmla="*/ 25 w 605"/>
              <a:gd name="T99" fmla="*/ 197 h 760"/>
              <a:gd name="T100" fmla="*/ 47 w 605"/>
              <a:gd name="T101" fmla="*/ 147 h 760"/>
              <a:gd name="T102" fmla="*/ 89 w 605"/>
              <a:gd name="T103" fmla="*/ 123 h 760"/>
              <a:gd name="T104" fmla="*/ 117 w 605"/>
              <a:gd name="T105" fmla="*/ 127 h 760"/>
              <a:gd name="T106" fmla="*/ 134 w 605"/>
              <a:gd name="T107" fmla="*/ 112 h 760"/>
              <a:gd name="T108" fmla="*/ 176 w 605"/>
              <a:gd name="T109" fmla="*/ 104 h 760"/>
              <a:gd name="T110" fmla="*/ 220 w 605"/>
              <a:gd name="T111" fmla="*/ 112 h 760"/>
              <a:gd name="T112" fmla="*/ 241 w 605"/>
              <a:gd name="T113" fmla="*/ 85 h 760"/>
              <a:gd name="T114" fmla="*/ 283 w 605"/>
              <a:gd name="T115" fmla="*/ 58 h 760"/>
              <a:gd name="T116" fmla="*/ 324 w 605"/>
              <a:gd name="T117" fmla="*/ 51 h 760"/>
              <a:gd name="T118" fmla="*/ 353 w 605"/>
              <a:gd name="T119" fmla="*/ 64 h 760"/>
              <a:gd name="T120" fmla="*/ 366 w 605"/>
              <a:gd name="T121" fmla="*/ 34 h 760"/>
              <a:gd name="T122" fmla="*/ 378 w 605"/>
              <a:gd name="T123" fmla="*/ 15 h 760"/>
              <a:gd name="T124" fmla="*/ 393 w 605"/>
              <a:gd name="T125" fmla="*/ 1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05" h="760">
                <a:moveTo>
                  <a:pt x="395" y="0"/>
                </a:moveTo>
                <a:lnTo>
                  <a:pt x="395" y="1"/>
                </a:lnTo>
                <a:lnTo>
                  <a:pt x="395" y="1"/>
                </a:lnTo>
                <a:lnTo>
                  <a:pt x="395" y="1"/>
                </a:lnTo>
                <a:lnTo>
                  <a:pt x="395" y="3"/>
                </a:lnTo>
                <a:lnTo>
                  <a:pt x="395" y="4"/>
                </a:lnTo>
                <a:lnTo>
                  <a:pt x="395" y="5"/>
                </a:lnTo>
                <a:lnTo>
                  <a:pt x="396" y="7"/>
                </a:lnTo>
                <a:lnTo>
                  <a:pt x="396" y="7"/>
                </a:lnTo>
                <a:lnTo>
                  <a:pt x="397" y="8"/>
                </a:lnTo>
                <a:lnTo>
                  <a:pt x="397" y="8"/>
                </a:lnTo>
                <a:lnTo>
                  <a:pt x="398" y="8"/>
                </a:lnTo>
                <a:lnTo>
                  <a:pt x="399" y="8"/>
                </a:lnTo>
                <a:lnTo>
                  <a:pt x="399" y="8"/>
                </a:lnTo>
                <a:lnTo>
                  <a:pt x="400" y="8"/>
                </a:lnTo>
                <a:lnTo>
                  <a:pt x="400" y="7"/>
                </a:lnTo>
                <a:lnTo>
                  <a:pt x="401" y="6"/>
                </a:lnTo>
                <a:lnTo>
                  <a:pt x="403" y="4"/>
                </a:lnTo>
                <a:lnTo>
                  <a:pt x="404" y="3"/>
                </a:lnTo>
                <a:lnTo>
                  <a:pt x="404" y="3"/>
                </a:lnTo>
                <a:lnTo>
                  <a:pt x="405" y="2"/>
                </a:lnTo>
                <a:lnTo>
                  <a:pt x="406" y="2"/>
                </a:lnTo>
                <a:lnTo>
                  <a:pt x="407" y="2"/>
                </a:lnTo>
                <a:lnTo>
                  <a:pt x="407" y="2"/>
                </a:lnTo>
                <a:lnTo>
                  <a:pt x="408" y="2"/>
                </a:lnTo>
                <a:lnTo>
                  <a:pt x="408" y="4"/>
                </a:lnTo>
                <a:lnTo>
                  <a:pt x="410" y="6"/>
                </a:lnTo>
                <a:lnTo>
                  <a:pt x="412" y="8"/>
                </a:lnTo>
                <a:lnTo>
                  <a:pt x="413" y="10"/>
                </a:lnTo>
                <a:lnTo>
                  <a:pt x="413" y="11"/>
                </a:lnTo>
                <a:lnTo>
                  <a:pt x="414" y="14"/>
                </a:lnTo>
                <a:lnTo>
                  <a:pt x="415" y="15"/>
                </a:lnTo>
                <a:lnTo>
                  <a:pt x="415" y="15"/>
                </a:lnTo>
                <a:lnTo>
                  <a:pt x="415" y="16"/>
                </a:lnTo>
                <a:lnTo>
                  <a:pt x="416" y="16"/>
                </a:lnTo>
                <a:lnTo>
                  <a:pt x="417" y="16"/>
                </a:lnTo>
                <a:lnTo>
                  <a:pt x="417" y="16"/>
                </a:lnTo>
                <a:lnTo>
                  <a:pt x="418" y="16"/>
                </a:lnTo>
                <a:lnTo>
                  <a:pt x="419" y="16"/>
                </a:lnTo>
                <a:lnTo>
                  <a:pt x="422" y="15"/>
                </a:lnTo>
                <a:lnTo>
                  <a:pt x="423" y="15"/>
                </a:lnTo>
                <a:lnTo>
                  <a:pt x="424" y="15"/>
                </a:lnTo>
                <a:lnTo>
                  <a:pt x="426" y="14"/>
                </a:lnTo>
                <a:lnTo>
                  <a:pt x="427" y="13"/>
                </a:lnTo>
                <a:lnTo>
                  <a:pt x="428" y="12"/>
                </a:lnTo>
                <a:lnTo>
                  <a:pt x="429" y="11"/>
                </a:lnTo>
                <a:lnTo>
                  <a:pt x="430" y="10"/>
                </a:lnTo>
                <a:lnTo>
                  <a:pt x="430" y="11"/>
                </a:lnTo>
                <a:lnTo>
                  <a:pt x="430" y="12"/>
                </a:lnTo>
                <a:lnTo>
                  <a:pt x="432" y="14"/>
                </a:lnTo>
                <a:lnTo>
                  <a:pt x="433" y="15"/>
                </a:lnTo>
                <a:lnTo>
                  <a:pt x="434" y="17"/>
                </a:lnTo>
                <a:lnTo>
                  <a:pt x="435" y="19"/>
                </a:lnTo>
                <a:lnTo>
                  <a:pt x="435" y="20"/>
                </a:lnTo>
                <a:lnTo>
                  <a:pt x="436" y="21"/>
                </a:lnTo>
                <a:lnTo>
                  <a:pt x="436" y="22"/>
                </a:lnTo>
                <a:lnTo>
                  <a:pt x="436" y="24"/>
                </a:lnTo>
                <a:lnTo>
                  <a:pt x="436" y="25"/>
                </a:lnTo>
                <a:lnTo>
                  <a:pt x="436" y="25"/>
                </a:lnTo>
                <a:lnTo>
                  <a:pt x="436" y="26"/>
                </a:lnTo>
                <a:lnTo>
                  <a:pt x="435" y="27"/>
                </a:lnTo>
                <a:lnTo>
                  <a:pt x="435" y="28"/>
                </a:lnTo>
                <a:lnTo>
                  <a:pt x="433" y="31"/>
                </a:lnTo>
                <a:lnTo>
                  <a:pt x="431" y="33"/>
                </a:lnTo>
                <a:lnTo>
                  <a:pt x="430" y="34"/>
                </a:lnTo>
                <a:lnTo>
                  <a:pt x="429" y="38"/>
                </a:lnTo>
                <a:lnTo>
                  <a:pt x="428" y="39"/>
                </a:lnTo>
                <a:lnTo>
                  <a:pt x="428" y="40"/>
                </a:lnTo>
                <a:lnTo>
                  <a:pt x="427" y="41"/>
                </a:lnTo>
                <a:lnTo>
                  <a:pt x="427" y="42"/>
                </a:lnTo>
                <a:lnTo>
                  <a:pt x="427" y="43"/>
                </a:lnTo>
                <a:lnTo>
                  <a:pt x="427" y="43"/>
                </a:lnTo>
                <a:lnTo>
                  <a:pt x="427" y="44"/>
                </a:lnTo>
                <a:lnTo>
                  <a:pt x="428" y="45"/>
                </a:lnTo>
                <a:lnTo>
                  <a:pt x="428" y="45"/>
                </a:lnTo>
                <a:lnTo>
                  <a:pt x="429" y="45"/>
                </a:lnTo>
                <a:lnTo>
                  <a:pt x="429" y="46"/>
                </a:lnTo>
                <a:lnTo>
                  <a:pt x="430" y="46"/>
                </a:lnTo>
                <a:lnTo>
                  <a:pt x="431" y="46"/>
                </a:lnTo>
                <a:lnTo>
                  <a:pt x="435" y="47"/>
                </a:lnTo>
                <a:lnTo>
                  <a:pt x="436" y="47"/>
                </a:lnTo>
                <a:lnTo>
                  <a:pt x="437" y="48"/>
                </a:lnTo>
                <a:lnTo>
                  <a:pt x="438" y="47"/>
                </a:lnTo>
                <a:lnTo>
                  <a:pt x="439" y="47"/>
                </a:lnTo>
                <a:lnTo>
                  <a:pt x="440" y="47"/>
                </a:lnTo>
                <a:lnTo>
                  <a:pt x="442" y="46"/>
                </a:lnTo>
                <a:lnTo>
                  <a:pt x="445" y="45"/>
                </a:lnTo>
                <a:lnTo>
                  <a:pt x="447" y="44"/>
                </a:lnTo>
                <a:lnTo>
                  <a:pt x="448" y="44"/>
                </a:lnTo>
                <a:lnTo>
                  <a:pt x="449" y="44"/>
                </a:lnTo>
                <a:lnTo>
                  <a:pt x="452" y="44"/>
                </a:lnTo>
                <a:lnTo>
                  <a:pt x="454" y="44"/>
                </a:lnTo>
                <a:lnTo>
                  <a:pt x="455" y="44"/>
                </a:lnTo>
                <a:lnTo>
                  <a:pt x="458" y="44"/>
                </a:lnTo>
                <a:lnTo>
                  <a:pt x="461" y="45"/>
                </a:lnTo>
                <a:lnTo>
                  <a:pt x="463" y="45"/>
                </a:lnTo>
                <a:lnTo>
                  <a:pt x="464" y="45"/>
                </a:lnTo>
                <a:lnTo>
                  <a:pt x="465" y="45"/>
                </a:lnTo>
                <a:lnTo>
                  <a:pt x="469" y="44"/>
                </a:lnTo>
                <a:lnTo>
                  <a:pt x="471" y="44"/>
                </a:lnTo>
                <a:lnTo>
                  <a:pt x="472" y="44"/>
                </a:lnTo>
                <a:lnTo>
                  <a:pt x="473" y="45"/>
                </a:lnTo>
                <a:lnTo>
                  <a:pt x="474" y="45"/>
                </a:lnTo>
                <a:lnTo>
                  <a:pt x="475" y="45"/>
                </a:lnTo>
                <a:lnTo>
                  <a:pt x="477" y="46"/>
                </a:lnTo>
                <a:lnTo>
                  <a:pt x="478" y="47"/>
                </a:lnTo>
                <a:lnTo>
                  <a:pt x="479" y="47"/>
                </a:lnTo>
                <a:lnTo>
                  <a:pt x="479" y="48"/>
                </a:lnTo>
                <a:lnTo>
                  <a:pt x="479" y="48"/>
                </a:lnTo>
                <a:lnTo>
                  <a:pt x="479" y="48"/>
                </a:lnTo>
                <a:lnTo>
                  <a:pt x="479" y="49"/>
                </a:lnTo>
                <a:lnTo>
                  <a:pt x="479" y="49"/>
                </a:lnTo>
                <a:lnTo>
                  <a:pt x="476" y="50"/>
                </a:lnTo>
                <a:lnTo>
                  <a:pt x="475" y="51"/>
                </a:lnTo>
                <a:lnTo>
                  <a:pt x="474" y="51"/>
                </a:lnTo>
                <a:lnTo>
                  <a:pt x="474" y="52"/>
                </a:lnTo>
                <a:lnTo>
                  <a:pt x="473" y="52"/>
                </a:lnTo>
                <a:lnTo>
                  <a:pt x="473" y="53"/>
                </a:lnTo>
                <a:lnTo>
                  <a:pt x="473" y="53"/>
                </a:lnTo>
                <a:lnTo>
                  <a:pt x="473" y="54"/>
                </a:lnTo>
                <a:lnTo>
                  <a:pt x="473" y="54"/>
                </a:lnTo>
                <a:lnTo>
                  <a:pt x="473" y="54"/>
                </a:lnTo>
                <a:lnTo>
                  <a:pt x="474" y="55"/>
                </a:lnTo>
                <a:lnTo>
                  <a:pt x="474" y="55"/>
                </a:lnTo>
                <a:lnTo>
                  <a:pt x="474" y="56"/>
                </a:lnTo>
                <a:lnTo>
                  <a:pt x="476" y="57"/>
                </a:lnTo>
                <a:lnTo>
                  <a:pt x="477" y="58"/>
                </a:lnTo>
                <a:lnTo>
                  <a:pt x="478" y="59"/>
                </a:lnTo>
                <a:lnTo>
                  <a:pt x="479" y="60"/>
                </a:lnTo>
                <a:lnTo>
                  <a:pt x="484" y="62"/>
                </a:lnTo>
                <a:lnTo>
                  <a:pt x="487" y="64"/>
                </a:lnTo>
                <a:lnTo>
                  <a:pt x="489" y="65"/>
                </a:lnTo>
                <a:lnTo>
                  <a:pt x="494" y="69"/>
                </a:lnTo>
                <a:lnTo>
                  <a:pt x="496" y="70"/>
                </a:lnTo>
                <a:lnTo>
                  <a:pt x="497" y="71"/>
                </a:lnTo>
                <a:lnTo>
                  <a:pt x="499" y="72"/>
                </a:lnTo>
                <a:lnTo>
                  <a:pt x="500" y="72"/>
                </a:lnTo>
                <a:lnTo>
                  <a:pt x="502" y="73"/>
                </a:lnTo>
                <a:lnTo>
                  <a:pt x="503" y="73"/>
                </a:lnTo>
                <a:lnTo>
                  <a:pt x="505" y="74"/>
                </a:lnTo>
                <a:lnTo>
                  <a:pt x="507" y="74"/>
                </a:lnTo>
                <a:lnTo>
                  <a:pt x="509" y="74"/>
                </a:lnTo>
                <a:lnTo>
                  <a:pt x="511" y="74"/>
                </a:lnTo>
                <a:lnTo>
                  <a:pt x="513" y="74"/>
                </a:lnTo>
                <a:lnTo>
                  <a:pt x="514" y="74"/>
                </a:lnTo>
                <a:lnTo>
                  <a:pt x="516" y="74"/>
                </a:lnTo>
                <a:lnTo>
                  <a:pt x="518" y="73"/>
                </a:lnTo>
                <a:lnTo>
                  <a:pt x="519" y="73"/>
                </a:lnTo>
                <a:lnTo>
                  <a:pt x="524" y="72"/>
                </a:lnTo>
                <a:lnTo>
                  <a:pt x="526" y="72"/>
                </a:lnTo>
                <a:lnTo>
                  <a:pt x="527" y="71"/>
                </a:lnTo>
                <a:lnTo>
                  <a:pt x="529" y="71"/>
                </a:lnTo>
                <a:lnTo>
                  <a:pt x="530" y="72"/>
                </a:lnTo>
                <a:lnTo>
                  <a:pt x="532" y="72"/>
                </a:lnTo>
                <a:lnTo>
                  <a:pt x="533" y="72"/>
                </a:lnTo>
                <a:lnTo>
                  <a:pt x="534" y="73"/>
                </a:lnTo>
                <a:lnTo>
                  <a:pt x="535" y="74"/>
                </a:lnTo>
                <a:lnTo>
                  <a:pt x="536" y="74"/>
                </a:lnTo>
                <a:lnTo>
                  <a:pt x="537" y="75"/>
                </a:lnTo>
                <a:lnTo>
                  <a:pt x="538" y="77"/>
                </a:lnTo>
                <a:lnTo>
                  <a:pt x="542" y="81"/>
                </a:lnTo>
                <a:lnTo>
                  <a:pt x="544" y="83"/>
                </a:lnTo>
                <a:lnTo>
                  <a:pt x="545" y="84"/>
                </a:lnTo>
                <a:lnTo>
                  <a:pt x="548" y="87"/>
                </a:lnTo>
                <a:lnTo>
                  <a:pt x="552" y="91"/>
                </a:lnTo>
                <a:lnTo>
                  <a:pt x="553" y="92"/>
                </a:lnTo>
                <a:lnTo>
                  <a:pt x="554" y="92"/>
                </a:lnTo>
                <a:lnTo>
                  <a:pt x="556" y="93"/>
                </a:lnTo>
                <a:lnTo>
                  <a:pt x="557" y="93"/>
                </a:lnTo>
                <a:lnTo>
                  <a:pt x="562" y="94"/>
                </a:lnTo>
                <a:lnTo>
                  <a:pt x="563" y="94"/>
                </a:lnTo>
                <a:lnTo>
                  <a:pt x="564" y="95"/>
                </a:lnTo>
                <a:lnTo>
                  <a:pt x="566" y="95"/>
                </a:lnTo>
                <a:lnTo>
                  <a:pt x="567" y="96"/>
                </a:lnTo>
                <a:lnTo>
                  <a:pt x="568" y="97"/>
                </a:lnTo>
                <a:lnTo>
                  <a:pt x="569" y="97"/>
                </a:lnTo>
                <a:lnTo>
                  <a:pt x="570" y="98"/>
                </a:lnTo>
                <a:lnTo>
                  <a:pt x="570" y="99"/>
                </a:lnTo>
                <a:lnTo>
                  <a:pt x="571" y="99"/>
                </a:lnTo>
                <a:lnTo>
                  <a:pt x="571" y="100"/>
                </a:lnTo>
                <a:lnTo>
                  <a:pt x="571" y="101"/>
                </a:lnTo>
                <a:lnTo>
                  <a:pt x="571" y="102"/>
                </a:lnTo>
                <a:lnTo>
                  <a:pt x="572" y="106"/>
                </a:lnTo>
                <a:lnTo>
                  <a:pt x="572" y="107"/>
                </a:lnTo>
                <a:lnTo>
                  <a:pt x="573" y="107"/>
                </a:lnTo>
                <a:lnTo>
                  <a:pt x="573" y="108"/>
                </a:lnTo>
                <a:lnTo>
                  <a:pt x="573" y="108"/>
                </a:lnTo>
                <a:lnTo>
                  <a:pt x="574" y="108"/>
                </a:lnTo>
                <a:lnTo>
                  <a:pt x="574" y="109"/>
                </a:lnTo>
                <a:lnTo>
                  <a:pt x="575" y="109"/>
                </a:lnTo>
                <a:lnTo>
                  <a:pt x="579" y="110"/>
                </a:lnTo>
                <a:lnTo>
                  <a:pt x="583" y="111"/>
                </a:lnTo>
                <a:lnTo>
                  <a:pt x="586" y="112"/>
                </a:lnTo>
                <a:lnTo>
                  <a:pt x="588" y="113"/>
                </a:lnTo>
                <a:lnTo>
                  <a:pt x="591" y="114"/>
                </a:lnTo>
                <a:lnTo>
                  <a:pt x="600" y="119"/>
                </a:lnTo>
                <a:lnTo>
                  <a:pt x="601" y="120"/>
                </a:lnTo>
                <a:lnTo>
                  <a:pt x="602" y="120"/>
                </a:lnTo>
                <a:lnTo>
                  <a:pt x="602" y="121"/>
                </a:lnTo>
                <a:lnTo>
                  <a:pt x="603" y="121"/>
                </a:lnTo>
                <a:lnTo>
                  <a:pt x="603" y="122"/>
                </a:lnTo>
                <a:lnTo>
                  <a:pt x="603" y="123"/>
                </a:lnTo>
                <a:lnTo>
                  <a:pt x="603" y="130"/>
                </a:lnTo>
                <a:lnTo>
                  <a:pt x="603" y="132"/>
                </a:lnTo>
                <a:lnTo>
                  <a:pt x="604" y="137"/>
                </a:lnTo>
                <a:lnTo>
                  <a:pt x="604" y="143"/>
                </a:lnTo>
                <a:lnTo>
                  <a:pt x="605" y="145"/>
                </a:lnTo>
                <a:lnTo>
                  <a:pt x="605" y="150"/>
                </a:lnTo>
                <a:lnTo>
                  <a:pt x="605" y="152"/>
                </a:lnTo>
                <a:lnTo>
                  <a:pt x="605" y="153"/>
                </a:lnTo>
                <a:lnTo>
                  <a:pt x="605" y="154"/>
                </a:lnTo>
                <a:lnTo>
                  <a:pt x="604" y="155"/>
                </a:lnTo>
                <a:lnTo>
                  <a:pt x="604" y="156"/>
                </a:lnTo>
                <a:lnTo>
                  <a:pt x="604" y="157"/>
                </a:lnTo>
                <a:lnTo>
                  <a:pt x="603" y="158"/>
                </a:lnTo>
                <a:lnTo>
                  <a:pt x="600" y="160"/>
                </a:lnTo>
                <a:lnTo>
                  <a:pt x="600" y="160"/>
                </a:lnTo>
                <a:lnTo>
                  <a:pt x="599" y="161"/>
                </a:lnTo>
                <a:lnTo>
                  <a:pt x="598" y="162"/>
                </a:lnTo>
                <a:lnTo>
                  <a:pt x="598" y="163"/>
                </a:lnTo>
                <a:lnTo>
                  <a:pt x="597" y="165"/>
                </a:lnTo>
                <a:lnTo>
                  <a:pt x="596" y="168"/>
                </a:lnTo>
                <a:lnTo>
                  <a:pt x="595" y="172"/>
                </a:lnTo>
                <a:lnTo>
                  <a:pt x="594" y="174"/>
                </a:lnTo>
                <a:lnTo>
                  <a:pt x="594" y="176"/>
                </a:lnTo>
                <a:lnTo>
                  <a:pt x="593" y="182"/>
                </a:lnTo>
                <a:lnTo>
                  <a:pt x="593" y="183"/>
                </a:lnTo>
                <a:lnTo>
                  <a:pt x="593" y="186"/>
                </a:lnTo>
                <a:lnTo>
                  <a:pt x="594" y="189"/>
                </a:lnTo>
                <a:lnTo>
                  <a:pt x="594" y="191"/>
                </a:lnTo>
                <a:lnTo>
                  <a:pt x="594" y="192"/>
                </a:lnTo>
                <a:lnTo>
                  <a:pt x="593" y="194"/>
                </a:lnTo>
                <a:lnTo>
                  <a:pt x="593" y="195"/>
                </a:lnTo>
                <a:lnTo>
                  <a:pt x="593" y="197"/>
                </a:lnTo>
                <a:lnTo>
                  <a:pt x="592" y="199"/>
                </a:lnTo>
                <a:lnTo>
                  <a:pt x="591" y="203"/>
                </a:lnTo>
                <a:lnTo>
                  <a:pt x="590" y="204"/>
                </a:lnTo>
                <a:lnTo>
                  <a:pt x="590" y="205"/>
                </a:lnTo>
                <a:lnTo>
                  <a:pt x="590" y="206"/>
                </a:lnTo>
                <a:lnTo>
                  <a:pt x="590" y="207"/>
                </a:lnTo>
                <a:lnTo>
                  <a:pt x="590" y="209"/>
                </a:lnTo>
                <a:lnTo>
                  <a:pt x="590" y="213"/>
                </a:lnTo>
                <a:lnTo>
                  <a:pt x="590" y="215"/>
                </a:lnTo>
                <a:lnTo>
                  <a:pt x="590" y="216"/>
                </a:lnTo>
                <a:lnTo>
                  <a:pt x="589" y="218"/>
                </a:lnTo>
                <a:lnTo>
                  <a:pt x="589" y="219"/>
                </a:lnTo>
                <a:lnTo>
                  <a:pt x="589" y="221"/>
                </a:lnTo>
                <a:lnTo>
                  <a:pt x="588" y="223"/>
                </a:lnTo>
                <a:lnTo>
                  <a:pt x="588" y="224"/>
                </a:lnTo>
                <a:lnTo>
                  <a:pt x="588" y="225"/>
                </a:lnTo>
                <a:lnTo>
                  <a:pt x="588" y="226"/>
                </a:lnTo>
                <a:lnTo>
                  <a:pt x="589" y="226"/>
                </a:lnTo>
                <a:lnTo>
                  <a:pt x="589" y="227"/>
                </a:lnTo>
                <a:lnTo>
                  <a:pt x="591" y="228"/>
                </a:lnTo>
                <a:lnTo>
                  <a:pt x="592" y="228"/>
                </a:lnTo>
                <a:lnTo>
                  <a:pt x="593" y="229"/>
                </a:lnTo>
                <a:lnTo>
                  <a:pt x="594" y="230"/>
                </a:lnTo>
                <a:lnTo>
                  <a:pt x="594" y="231"/>
                </a:lnTo>
                <a:lnTo>
                  <a:pt x="594" y="232"/>
                </a:lnTo>
                <a:lnTo>
                  <a:pt x="594" y="233"/>
                </a:lnTo>
                <a:lnTo>
                  <a:pt x="594" y="233"/>
                </a:lnTo>
                <a:lnTo>
                  <a:pt x="594" y="234"/>
                </a:lnTo>
                <a:lnTo>
                  <a:pt x="593" y="235"/>
                </a:lnTo>
                <a:lnTo>
                  <a:pt x="593" y="236"/>
                </a:lnTo>
                <a:lnTo>
                  <a:pt x="592" y="236"/>
                </a:lnTo>
                <a:lnTo>
                  <a:pt x="590" y="238"/>
                </a:lnTo>
                <a:lnTo>
                  <a:pt x="586" y="241"/>
                </a:lnTo>
                <a:lnTo>
                  <a:pt x="585" y="243"/>
                </a:lnTo>
                <a:lnTo>
                  <a:pt x="583" y="244"/>
                </a:lnTo>
                <a:lnTo>
                  <a:pt x="582" y="245"/>
                </a:lnTo>
                <a:lnTo>
                  <a:pt x="580" y="249"/>
                </a:lnTo>
                <a:lnTo>
                  <a:pt x="579" y="250"/>
                </a:lnTo>
                <a:lnTo>
                  <a:pt x="578" y="251"/>
                </a:lnTo>
                <a:lnTo>
                  <a:pt x="577" y="251"/>
                </a:lnTo>
                <a:lnTo>
                  <a:pt x="577" y="252"/>
                </a:lnTo>
                <a:lnTo>
                  <a:pt x="576" y="252"/>
                </a:lnTo>
                <a:lnTo>
                  <a:pt x="575" y="252"/>
                </a:lnTo>
                <a:lnTo>
                  <a:pt x="574" y="252"/>
                </a:lnTo>
                <a:lnTo>
                  <a:pt x="574" y="252"/>
                </a:lnTo>
                <a:lnTo>
                  <a:pt x="573" y="252"/>
                </a:lnTo>
                <a:lnTo>
                  <a:pt x="572" y="252"/>
                </a:lnTo>
                <a:lnTo>
                  <a:pt x="571" y="251"/>
                </a:lnTo>
                <a:lnTo>
                  <a:pt x="567" y="249"/>
                </a:lnTo>
                <a:lnTo>
                  <a:pt x="566" y="249"/>
                </a:lnTo>
                <a:lnTo>
                  <a:pt x="566" y="248"/>
                </a:lnTo>
                <a:lnTo>
                  <a:pt x="565" y="248"/>
                </a:lnTo>
                <a:lnTo>
                  <a:pt x="564" y="248"/>
                </a:lnTo>
                <a:lnTo>
                  <a:pt x="562" y="248"/>
                </a:lnTo>
                <a:lnTo>
                  <a:pt x="561" y="249"/>
                </a:lnTo>
                <a:lnTo>
                  <a:pt x="560" y="249"/>
                </a:lnTo>
                <a:lnTo>
                  <a:pt x="559" y="250"/>
                </a:lnTo>
                <a:lnTo>
                  <a:pt x="557" y="251"/>
                </a:lnTo>
                <a:lnTo>
                  <a:pt x="555" y="251"/>
                </a:lnTo>
                <a:lnTo>
                  <a:pt x="554" y="252"/>
                </a:lnTo>
                <a:lnTo>
                  <a:pt x="552" y="254"/>
                </a:lnTo>
                <a:lnTo>
                  <a:pt x="551" y="254"/>
                </a:lnTo>
                <a:lnTo>
                  <a:pt x="550" y="256"/>
                </a:lnTo>
                <a:lnTo>
                  <a:pt x="549" y="257"/>
                </a:lnTo>
                <a:lnTo>
                  <a:pt x="547" y="258"/>
                </a:lnTo>
                <a:lnTo>
                  <a:pt x="546" y="259"/>
                </a:lnTo>
                <a:lnTo>
                  <a:pt x="545" y="261"/>
                </a:lnTo>
                <a:lnTo>
                  <a:pt x="541" y="266"/>
                </a:lnTo>
                <a:lnTo>
                  <a:pt x="540" y="268"/>
                </a:lnTo>
                <a:lnTo>
                  <a:pt x="539" y="269"/>
                </a:lnTo>
                <a:lnTo>
                  <a:pt x="539" y="270"/>
                </a:lnTo>
                <a:lnTo>
                  <a:pt x="538" y="271"/>
                </a:lnTo>
                <a:lnTo>
                  <a:pt x="538" y="273"/>
                </a:lnTo>
                <a:lnTo>
                  <a:pt x="538" y="274"/>
                </a:lnTo>
                <a:lnTo>
                  <a:pt x="538" y="275"/>
                </a:lnTo>
                <a:lnTo>
                  <a:pt x="538" y="276"/>
                </a:lnTo>
                <a:lnTo>
                  <a:pt x="538" y="277"/>
                </a:lnTo>
                <a:lnTo>
                  <a:pt x="539" y="278"/>
                </a:lnTo>
                <a:lnTo>
                  <a:pt x="539" y="278"/>
                </a:lnTo>
                <a:lnTo>
                  <a:pt x="540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79"/>
                </a:lnTo>
                <a:lnTo>
                  <a:pt x="543" y="279"/>
                </a:lnTo>
                <a:lnTo>
                  <a:pt x="545" y="279"/>
                </a:lnTo>
                <a:lnTo>
                  <a:pt x="547" y="279"/>
                </a:lnTo>
                <a:lnTo>
                  <a:pt x="549" y="279"/>
                </a:lnTo>
                <a:lnTo>
                  <a:pt x="550" y="279"/>
                </a:lnTo>
                <a:lnTo>
                  <a:pt x="552" y="279"/>
                </a:lnTo>
                <a:lnTo>
                  <a:pt x="553" y="279"/>
                </a:lnTo>
                <a:lnTo>
                  <a:pt x="554" y="280"/>
                </a:lnTo>
                <a:lnTo>
                  <a:pt x="554" y="280"/>
                </a:lnTo>
                <a:lnTo>
                  <a:pt x="555" y="281"/>
                </a:lnTo>
                <a:lnTo>
                  <a:pt x="555" y="281"/>
                </a:lnTo>
                <a:lnTo>
                  <a:pt x="555" y="282"/>
                </a:lnTo>
                <a:lnTo>
                  <a:pt x="556" y="282"/>
                </a:lnTo>
                <a:lnTo>
                  <a:pt x="555" y="283"/>
                </a:lnTo>
                <a:lnTo>
                  <a:pt x="555" y="283"/>
                </a:lnTo>
                <a:lnTo>
                  <a:pt x="554" y="284"/>
                </a:lnTo>
                <a:lnTo>
                  <a:pt x="554" y="284"/>
                </a:lnTo>
                <a:lnTo>
                  <a:pt x="552" y="285"/>
                </a:lnTo>
                <a:lnTo>
                  <a:pt x="547" y="288"/>
                </a:lnTo>
                <a:lnTo>
                  <a:pt x="546" y="288"/>
                </a:lnTo>
                <a:lnTo>
                  <a:pt x="546" y="288"/>
                </a:lnTo>
                <a:lnTo>
                  <a:pt x="546" y="289"/>
                </a:lnTo>
                <a:lnTo>
                  <a:pt x="546" y="289"/>
                </a:lnTo>
                <a:lnTo>
                  <a:pt x="546" y="290"/>
                </a:lnTo>
                <a:lnTo>
                  <a:pt x="546" y="291"/>
                </a:lnTo>
                <a:lnTo>
                  <a:pt x="546" y="292"/>
                </a:lnTo>
                <a:lnTo>
                  <a:pt x="546" y="292"/>
                </a:lnTo>
                <a:lnTo>
                  <a:pt x="547" y="293"/>
                </a:lnTo>
                <a:lnTo>
                  <a:pt x="547" y="294"/>
                </a:lnTo>
                <a:lnTo>
                  <a:pt x="549" y="296"/>
                </a:lnTo>
                <a:lnTo>
                  <a:pt x="550" y="297"/>
                </a:lnTo>
                <a:lnTo>
                  <a:pt x="550" y="298"/>
                </a:lnTo>
                <a:lnTo>
                  <a:pt x="551" y="299"/>
                </a:lnTo>
                <a:lnTo>
                  <a:pt x="551" y="300"/>
                </a:lnTo>
                <a:lnTo>
                  <a:pt x="552" y="301"/>
                </a:lnTo>
                <a:lnTo>
                  <a:pt x="552" y="301"/>
                </a:lnTo>
                <a:lnTo>
                  <a:pt x="551" y="302"/>
                </a:lnTo>
                <a:lnTo>
                  <a:pt x="551" y="302"/>
                </a:lnTo>
                <a:lnTo>
                  <a:pt x="551" y="303"/>
                </a:lnTo>
                <a:lnTo>
                  <a:pt x="550" y="303"/>
                </a:lnTo>
                <a:lnTo>
                  <a:pt x="549" y="304"/>
                </a:lnTo>
                <a:lnTo>
                  <a:pt x="548" y="304"/>
                </a:lnTo>
                <a:lnTo>
                  <a:pt x="547" y="304"/>
                </a:lnTo>
                <a:lnTo>
                  <a:pt x="545" y="304"/>
                </a:lnTo>
                <a:lnTo>
                  <a:pt x="544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5"/>
                </a:lnTo>
                <a:lnTo>
                  <a:pt x="543" y="306"/>
                </a:lnTo>
                <a:lnTo>
                  <a:pt x="544" y="306"/>
                </a:lnTo>
                <a:lnTo>
                  <a:pt x="545" y="307"/>
                </a:lnTo>
                <a:lnTo>
                  <a:pt x="547" y="308"/>
                </a:lnTo>
                <a:lnTo>
                  <a:pt x="548" y="309"/>
                </a:lnTo>
                <a:lnTo>
                  <a:pt x="549" y="310"/>
                </a:lnTo>
                <a:lnTo>
                  <a:pt x="549" y="310"/>
                </a:lnTo>
                <a:lnTo>
                  <a:pt x="550" y="311"/>
                </a:lnTo>
                <a:lnTo>
                  <a:pt x="550" y="312"/>
                </a:lnTo>
                <a:lnTo>
                  <a:pt x="550" y="313"/>
                </a:lnTo>
                <a:lnTo>
                  <a:pt x="549" y="314"/>
                </a:lnTo>
                <a:lnTo>
                  <a:pt x="549" y="314"/>
                </a:lnTo>
                <a:lnTo>
                  <a:pt x="549" y="315"/>
                </a:lnTo>
                <a:lnTo>
                  <a:pt x="549" y="315"/>
                </a:lnTo>
                <a:lnTo>
                  <a:pt x="550" y="315"/>
                </a:lnTo>
                <a:lnTo>
                  <a:pt x="550" y="316"/>
                </a:lnTo>
                <a:lnTo>
                  <a:pt x="551" y="316"/>
                </a:lnTo>
                <a:lnTo>
                  <a:pt x="551" y="316"/>
                </a:lnTo>
                <a:lnTo>
                  <a:pt x="552" y="316"/>
                </a:lnTo>
                <a:lnTo>
                  <a:pt x="553" y="316"/>
                </a:lnTo>
                <a:lnTo>
                  <a:pt x="556" y="316"/>
                </a:lnTo>
                <a:lnTo>
                  <a:pt x="558" y="316"/>
                </a:lnTo>
                <a:lnTo>
                  <a:pt x="559" y="317"/>
                </a:lnTo>
                <a:lnTo>
                  <a:pt x="561" y="317"/>
                </a:lnTo>
                <a:lnTo>
                  <a:pt x="562" y="318"/>
                </a:lnTo>
                <a:lnTo>
                  <a:pt x="564" y="318"/>
                </a:lnTo>
                <a:lnTo>
                  <a:pt x="565" y="319"/>
                </a:lnTo>
                <a:lnTo>
                  <a:pt x="566" y="320"/>
                </a:lnTo>
                <a:lnTo>
                  <a:pt x="566" y="320"/>
                </a:lnTo>
                <a:lnTo>
                  <a:pt x="567" y="321"/>
                </a:lnTo>
                <a:lnTo>
                  <a:pt x="567" y="322"/>
                </a:lnTo>
                <a:lnTo>
                  <a:pt x="568" y="322"/>
                </a:lnTo>
                <a:lnTo>
                  <a:pt x="568" y="324"/>
                </a:lnTo>
                <a:lnTo>
                  <a:pt x="568" y="326"/>
                </a:lnTo>
                <a:lnTo>
                  <a:pt x="568" y="329"/>
                </a:lnTo>
                <a:lnTo>
                  <a:pt x="568" y="331"/>
                </a:lnTo>
                <a:lnTo>
                  <a:pt x="568" y="334"/>
                </a:lnTo>
                <a:lnTo>
                  <a:pt x="568" y="335"/>
                </a:lnTo>
                <a:lnTo>
                  <a:pt x="567" y="337"/>
                </a:lnTo>
                <a:lnTo>
                  <a:pt x="566" y="343"/>
                </a:lnTo>
                <a:lnTo>
                  <a:pt x="566" y="345"/>
                </a:lnTo>
                <a:lnTo>
                  <a:pt x="565" y="347"/>
                </a:lnTo>
                <a:lnTo>
                  <a:pt x="565" y="352"/>
                </a:lnTo>
                <a:lnTo>
                  <a:pt x="565" y="356"/>
                </a:lnTo>
                <a:lnTo>
                  <a:pt x="565" y="357"/>
                </a:lnTo>
                <a:lnTo>
                  <a:pt x="565" y="363"/>
                </a:lnTo>
                <a:lnTo>
                  <a:pt x="565" y="364"/>
                </a:lnTo>
                <a:lnTo>
                  <a:pt x="565" y="365"/>
                </a:lnTo>
                <a:lnTo>
                  <a:pt x="565" y="365"/>
                </a:lnTo>
                <a:lnTo>
                  <a:pt x="565" y="366"/>
                </a:lnTo>
                <a:lnTo>
                  <a:pt x="566" y="366"/>
                </a:lnTo>
                <a:lnTo>
                  <a:pt x="566" y="367"/>
                </a:lnTo>
                <a:lnTo>
                  <a:pt x="568" y="368"/>
                </a:lnTo>
                <a:lnTo>
                  <a:pt x="569" y="368"/>
                </a:lnTo>
                <a:lnTo>
                  <a:pt x="570" y="369"/>
                </a:lnTo>
                <a:lnTo>
                  <a:pt x="571" y="370"/>
                </a:lnTo>
                <a:lnTo>
                  <a:pt x="572" y="371"/>
                </a:lnTo>
                <a:lnTo>
                  <a:pt x="573" y="372"/>
                </a:lnTo>
                <a:lnTo>
                  <a:pt x="573" y="373"/>
                </a:lnTo>
                <a:lnTo>
                  <a:pt x="574" y="375"/>
                </a:lnTo>
                <a:lnTo>
                  <a:pt x="574" y="377"/>
                </a:lnTo>
                <a:lnTo>
                  <a:pt x="575" y="379"/>
                </a:lnTo>
                <a:lnTo>
                  <a:pt x="575" y="380"/>
                </a:lnTo>
                <a:lnTo>
                  <a:pt x="575" y="382"/>
                </a:lnTo>
                <a:lnTo>
                  <a:pt x="575" y="384"/>
                </a:lnTo>
                <a:lnTo>
                  <a:pt x="575" y="386"/>
                </a:lnTo>
                <a:lnTo>
                  <a:pt x="575" y="388"/>
                </a:lnTo>
                <a:lnTo>
                  <a:pt x="575" y="390"/>
                </a:lnTo>
                <a:lnTo>
                  <a:pt x="574" y="390"/>
                </a:lnTo>
                <a:lnTo>
                  <a:pt x="574" y="390"/>
                </a:lnTo>
                <a:lnTo>
                  <a:pt x="573" y="390"/>
                </a:lnTo>
                <a:lnTo>
                  <a:pt x="573" y="391"/>
                </a:lnTo>
                <a:lnTo>
                  <a:pt x="572" y="392"/>
                </a:lnTo>
                <a:lnTo>
                  <a:pt x="572" y="393"/>
                </a:lnTo>
                <a:lnTo>
                  <a:pt x="571" y="394"/>
                </a:lnTo>
                <a:lnTo>
                  <a:pt x="571" y="395"/>
                </a:lnTo>
                <a:lnTo>
                  <a:pt x="569" y="401"/>
                </a:lnTo>
                <a:lnTo>
                  <a:pt x="569" y="403"/>
                </a:lnTo>
                <a:lnTo>
                  <a:pt x="569" y="403"/>
                </a:lnTo>
                <a:lnTo>
                  <a:pt x="569" y="404"/>
                </a:lnTo>
                <a:lnTo>
                  <a:pt x="569" y="405"/>
                </a:lnTo>
                <a:lnTo>
                  <a:pt x="569" y="405"/>
                </a:lnTo>
                <a:lnTo>
                  <a:pt x="569" y="406"/>
                </a:lnTo>
                <a:lnTo>
                  <a:pt x="569" y="407"/>
                </a:lnTo>
                <a:lnTo>
                  <a:pt x="570" y="408"/>
                </a:lnTo>
                <a:lnTo>
                  <a:pt x="572" y="410"/>
                </a:lnTo>
                <a:lnTo>
                  <a:pt x="572" y="410"/>
                </a:lnTo>
                <a:lnTo>
                  <a:pt x="572" y="411"/>
                </a:lnTo>
                <a:lnTo>
                  <a:pt x="573" y="412"/>
                </a:lnTo>
                <a:lnTo>
                  <a:pt x="573" y="414"/>
                </a:lnTo>
                <a:lnTo>
                  <a:pt x="573" y="416"/>
                </a:lnTo>
                <a:lnTo>
                  <a:pt x="574" y="417"/>
                </a:lnTo>
                <a:lnTo>
                  <a:pt x="574" y="423"/>
                </a:lnTo>
                <a:lnTo>
                  <a:pt x="574" y="425"/>
                </a:lnTo>
                <a:lnTo>
                  <a:pt x="575" y="428"/>
                </a:lnTo>
                <a:lnTo>
                  <a:pt x="575" y="429"/>
                </a:lnTo>
                <a:lnTo>
                  <a:pt x="576" y="431"/>
                </a:lnTo>
                <a:lnTo>
                  <a:pt x="577" y="434"/>
                </a:lnTo>
                <a:lnTo>
                  <a:pt x="578" y="437"/>
                </a:lnTo>
                <a:lnTo>
                  <a:pt x="579" y="438"/>
                </a:lnTo>
                <a:lnTo>
                  <a:pt x="579" y="440"/>
                </a:lnTo>
                <a:lnTo>
                  <a:pt x="580" y="441"/>
                </a:lnTo>
                <a:lnTo>
                  <a:pt x="580" y="441"/>
                </a:lnTo>
                <a:lnTo>
                  <a:pt x="580" y="442"/>
                </a:lnTo>
                <a:lnTo>
                  <a:pt x="579" y="443"/>
                </a:lnTo>
                <a:lnTo>
                  <a:pt x="576" y="448"/>
                </a:lnTo>
                <a:lnTo>
                  <a:pt x="575" y="449"/>
                </a:lnTo>
                <a:lnTo>
                  <a:pt x="574" y="451"/>
                </a:lnTo>
                <a:lnTo>
                  <a:pt x="573" y="453"/>
                </a:lnTo>
                <a:lnTo>
                  <a:pt x="573" y="454"/>
                </a:lnTo>
                <a:lnTo>
                  <a:pt x="573" y="456"/>
                </a:lnTo>
                <a:lnTo>
                  <a:pt x="572" y="460"/>
                </a:lnTo>
                <a:lnTo>
                  <a:pt x="572" y="462"/>
                </a:lnTo>
                <a:lnTo>
                  <a:pt x="572" y="464"/>
                </a:lnTo>
                <a:lnTo>
                  <a:pt x="572" y="466"/>
                </a:lnTo>
                <a:lnTo>
                  <a:pt x="573" y="469"/>
                </a:lnTo>
                <a:lnTo>
                  <a:pt x="573" y="471"/>
                </a:lnTo>
                <a:lnTo>
                  <a:pt x="574" y="473"/>
                </a:lnTo>
                <a:lnTo>
                  <a:pt x="576" y="477"/>
                </a:lnTo>
                <a:lnTo>
                  <a:pt x="577" y="479"/>
                </a:lnTo>
                <a:lnTo>
                  <a:pt x="578" y="480"/>
                </a:lnTo>
                <a:lnTo>
                  <a:pt x="580" y="483"/>
                </a:lnTo>
                <a:lnTo>
                  <a:pt x="581" y="483"/>
                </a:lnTo>
                <a:lnTo>
                  <a:pt x="581" y="484"/>
                </a:lnTo>
                <a:lnTo>
                  <a:pt x="582" y="485"/>
                </a:lnTo>
                <a:lnTo>
                  <a:pt x="582" y="487"/>
                </a:lnTo>
                <a:lnTo>
                  <a:pt x="582" y="488"/>
                </a:lnTo>
                <a:lnTo>
                  <a:pt x="581" y="489"/>
                </a:lnTo>
                <a:lnTo>
                  <a:pt x="581" y="492"/>
                </a:lnTo>
                <a:lnTo>
                  <a:pt x="580" y="494"/>
                </a:lnTo>
                <a:lnTo>
                  <a:pt x="580" y="495"/>
                </a:lnTo>
                <a:lnTo>
                  <a:pt x="579" y="496"/>
                </a:lnTo>
                <a:lnTo>
                  <a:pt x="577" y="499"/>
                </a:lnTo>
                <a:lnTo>
                  <a:pt x="576" y="501"/>
                </a:lnTo>
                <a:lnTo>
                  <a:pt x="575" y="503"/>
                </a:lnTo>
                <a:lnTo>
                  <a:pt x="574" y="507"/>
                </a:lnTo>
                <a:lnTo>
                  <a:pt x="573" y="509"/>
                </a:lnTo>
                <a:lnTo>
                  <a:pt x="572" y="510"/>
                </a:lnTo>
                <a:lnTo>
                  <a:pt x="572" y="512"/>
                </a:lnTo>
                <a:lnTo>
                  <a:pt x="571" y="512"/>
                </a:lnTo>
                <a:lnTo>
                  <a:pt x="570" y="513"/>
                </a:lnTo>
                <a:lnTo>
                  <a:pt x="566" y="516"/>
                </a:lnTo>
                <a:lnTo>
                  <a:pt x="563" y="518"/>
                </a:lnTo>
                <a:lnTo>
                  <a:pt x="561" y="520"/>
                </a:lnTo>
                <a:lnTo>
                  <a:pt x="560" y="521"/>
                </a:lnTo>
                <a:lnTo>
                  <a:pt x="558" y="523"/>
                </a:lnTo>
                <a:lnTo>
                  <a:pt x="557" y="524"/>
                </a:lnTo>
                <a:lnTo>
                  <a:pt x="556" y="525"/>
                </a:lnTo>
                <a:lnTo>
                  <a:pt x="556" y="526"/>
                </a:lnTo>
                <a:lnTo>
                  <a:pt x="556" y="528"/>
                </a:lnTo>
                <a:lnTo>
                  <a:pt x="555" y="529"/>
                </a:lnTo>
                <a:lnTo>
                  <a:pt x="555" y="530"/>
                </a:lnTo>
                <a:lnTo>
                  <a:pt x="555" y="531"/>
                </a:lnTo>
                <a:lnTo>
                  <a:pt x="555" y="533"/>
                </a:lnTo>
                <a:lnTo>
                  <a:pt x="556" y="535"/>
                </a:lnTo>
                <a:lnTo>
                  <a:pt x="556" y="536"/>
                </a:lnTo>
                <a:lnTo>
                  <a:pt x="556" y="537"/>
                </a:lnTo>
                <a:lnTo>
                  <a:pt x="556" y="538"/>
                </a:lnTo>
                <a:lnTo>
                  <a:pt x="555" y="538"/>
                </a:lnTo>
                <a:lnTo>
                  <a:pt x="555" y="539"/>
                </a:lnTo>
                <a:lnTo>
                  <a:pt x="555" y="540"/>
                </a:lnTo>
                <a:lnTo>
                  <a:pt x="554" y="541"/>
                </a:lnTo>
                <a:lnTo>
                  <a:pt x="554" y="541"/>
                </a:lnTo>
                <a:lnTo>
                  <a:pt x="553" y="542"/>
                </a:lnTo>
                <a:lnTo>
                  <a:pt x="553" y="542"/>
                </a:lnTo>
                <a:lnTo>
                  <a:pt x="552" y="543"/>
                </a:lnTo>
                <a:lnTo>
                  <a:pt x="549" y="545"/>
                </a:lnTo>
                <a:lnTo>
                  <a:pt x="548" y="545"/>
                </a:lnTo>
                <a:lnTo>
                  <a:pt x="548" y="545"/>
                </a:lnTo>
                <a:lnTo>
                  <a:pt x="547" y="546"/>
                </a:lnTo>
                <a:lnTo>
                  <a:pt x="547" y="546"/>
                </a:lnTo>
                <a:lnTo>
                  <a:pt x="547" y="547"/>
                </a:lnTo>
                <a:lnTo>
                  <a:pt x="547" y="547"/>
                </a:lnTo>
                <a:lnTo>
                  <a:pt x="547" y="548"/>
                </a:lnTo>
                <a:lnTo>
                  <a:pt x="547" y="549"/>
                </a:lnTo>
                <a:lnTo>
                  <a:pt x="547" y="550"/>
                </a:lnTo>
                <a:lnTo>
                  <a:pt x="547" y="550"/>
                </a:lnTo>
                <a:lnTo>
                  <a:pt x="547" y="551"/>
                </a:lnTo>
                <a:lnTo>
                  <a:pt x="548" y="552"/>
                </a:lnTo>
                <a:lnTo>
                  <a:pt x="548" y="553"/>
                </a:lnTo>
                <a:lnTo>
                  <a:pt x="548" y="554"/>
                </a:lnTo>
                <a:lnTo>
                  <a:pt x="549" y="554"/>
                </a:lnTo>
                <a:lnTo>
                  <a:pt x="550" y="555"/>
                </a:lnTo>
                <a:lnTo>
                  <a:pt x="551" y="556"/>
                </a:lnTo>
                <a:lnTo>
                  <a:pt x="553" y="558"/>
                </a:lnTo>
                <a:lnTo>
                  <a:pt x="553" y="558"/>
                </a:lnTo>
                <a:lnTo>
                  <a:pt x="554" y="559"/>
                </a:lnTo>
                <a:lnTo>
                  <a:pt x="554" y="559"/>
                </a:lnTo>
                <a:lnTo>
                  <a:pt x="554" y="560"/>
                </a:lnTo>
                <a:lnTo>
                  <a:pt x="554" y="560"/>
                </a:lnTo>
                <a:lnTo>
                  <a:pt x="554" y="561"/>
                </a:lnTo>
                <a:lnTo>
                  <a:pt x="553" y="563"/>
                </a:lnTo>
                <a:lnTo>
                  <a:pt x="553" y="564"/>
                </a:lnTo>
                <a:lnTo>
                  <a:pt x="552" y="564"/>
                </a:lnTo>
                <a:lnTo>
                  <a:pt x="552" y="565"/>
                </a:lnTo>
                <a:lnTo>
                  <a:pt x="551" y="565"/>
                </a:lnTo>
                <a:lnTo>
                  <a:pt x="551" y="565"/>
                </a:lnTo>
                <a:lnTo>
                  <a:pt x="549" y="566"/>
                </a:lnTo>
                <a:lnTo>
                  <a:pt x="548" y="567"/>
                </a:lnTo>
                <a:lnTo>
                  <a:pt x="547" y="567"/>
                </a:lnTo>
                <a:lnTo>
                  <a:pt x="546" y="570"/>
                </a:lnTo>
                <a:lnTo>
                  <a:pt x="544" y="571"/>
                </a:lnTo>
                <a:lnTo>
                  <a:pt x="543" y="572"/>
                </a:lnTo>
                <a:lnTo>
                  <a:pt x="542" y="573"/>
                </a:lnTo>
                <a:lnTo>
                  <a:pt x="542" y="574"/>
                </a:lnTo>
                <a:lnTo>
                  <a:pt x="541" y="575"/>
                </a:lnTo>
                <a:lnTo>
                  <a:pt x="541" y="576"/>
                </a:lnTo>
                <a:lnTo>
                  <a:pt x="541" y="577"/>
                </a:lnTo>
                <a:lnTo>
                  <a:pt x="541" y="578"/>
                </a:lnTo>
                <a:lnTo>
                  <a:pt x="541" y="579"/>
                </a:lnTo>
                <a:lnTo>
                  <a:pt x="541" y="580"/>
                </a:lnTo>
                <a:lnTo>
                  <a:pt x="542" y="582"/>
                </a:lnTo>
                <a:lnTo>
                  <a:pt x="543" y="584"/>
                </a:lnTo>
                <a:lnTo>
                  <a:pt x="544" y="585"/>
                </a:lnTo>
                <a:lnTo>
                  <a:pt x="546" y="588"/>
                </a:lnTo>
                <a:lnTo>
                  <a:pt x="547" y="589"/>
                </a:lnTo>
                <a:lnTo>
                  <a:pt x="547" y="590"/>
                </a:lnTo>
                <a:lnTo>
                  <a:pt x="548" y="591"/>
                </a:lnTo>
                <a:lnTo>
                  <a:pt x="548" y="593"/>
                </a:lnTo>
                <a:lnTo>
                  <a:pt x="548" y="594"/>
                </a:lnTo>
                <a:lnTo>
                  <a:pt x="548" y="595"/>
                </a:lnTo>
                <a:lnTo>
                  <a:pt x="548" y="596"/>
                </a:lnTo>
                <a:lnTo>
                  <a:pt x="548" y="597"/>
                </a:lnTo>
                <a:lnTo>
                  <a:pt x="548" y="598"/>
                </a:lnTo>
                <a:lnTo>
                  <a:pt x="547" y="598"/>
                </a:lnTo>
                <a:lnTo>
                  <a:pt x="547" y="599"/>
                </a:lnTo>
                <a:lnTo>
                  <a:pt x="545" y="601"/>
                </a:lnTo>
                <a:lnTo>
                  <a:pt x="544" y="602"/>
                </a:lnTo>
                <a:lnTo>
                  <a:pt x="543" y="604"/>
                </a:lnTo>
                <a:lnTo>
                  <a:pt x="542" y="605"/>
                </a:lnTo>
                <a:lnTo>
                  <a:pt x="541" y="606"/>
                </a:lnTo>
                <a:lnTo>
                  <a:pt x="541" y="608"/>
                </a:lnTo>
                <a:lnTo>
                  <a:pt x="539" y="613"/>
                </a:lnTo>
                <a:lnTo>
                  <a:pt x="538" y="617"/>
                </a:lnTo>
                <a:lnTo>
                  <a:pt x="538" y="617"/>
                </a:lnTo>
                <a:lnTo>
                  <a:pt x="537" y="618"/>
                </a:lnTo>
                <a:lnTo>
                  <a:pt x="537" y="619"/>
                </a:lnTo>
                <a:lnTo>
                  <a:pt x="536" y="619"/>
                </a:lnTo>
                <a:lnTo>
                  <a:pt x="535" y="619"/>
                </a:lnTo>
                <a:lnTo>
                  <a:pt x="531" y="621"/>
                </a:lnTo>
                <a:lnTo>
                  <a:pt x="529" y="622"/>
                </a:lnTo>
                <a:lnTo>
                  <a:pt x="527" y="623"/>
                </a:lnTo>
                <a:lnTo>
                  <a:pt x="526" y="624"/>
                </a:lnTo>
                <a:lnTo>
                  <a:pt x="522" y="627"/>
                </a:lnTo>
                <a:lnTo>
                  <a:pt x="520" y="629"/>
                </a:lnTo>
                <a:lnTo>
                  <a:pt x="518" y="630"/>
                </a:lnTo>
                <a:lnTo>
                  <a:pt x="517" y="630"/>
                </a:lnTo>
                <a:lnTo>
                  <a:pt x="516" y="631"/>
                </a:lnTo>
                <a:lnTo>
                  <a:pt x="514" y="631"/>
                </a:lnTo>
                <a:lnTo>
                  <a:pt x="513" y="632"/>
                </a:lnTo>
                <a:lnTo>
                  <a:pt x="512" y="632"/>
                </a:lnTo>
                <a:lnTo>
                  <a:pt x="511" y="632"/>
                </a:lnTo>
                <a:lnTo>
                  <a:pt x="510" y="632"/>
                </a:lnTo>
                <a:lnTo>
                  <a:pt x="509" y="632"/>
                </a:lnTo>
                <a:lnTo>
                  <a:pt x="507" y="632"/>
                </a:lnTo>
                <a:lnTo>
                  <a:pt x="502" y="631"/>
                </a:lnTo>
                <a:lnTo>
                  <a:pt x="501" y="631"/>
                </a:lnTo>
                <a:lnTo>
                  <a:pt x="500" y="631"/>
                </a:lnTo>
                <a:lnTo>
                  <a:pt x="499" y="631"/>
                </a:lnTo>
                <a:lnTo>
                  <a:pt x="499" y="631"/>
                </a:lnTo>
                <a:lnTo>
                  <a:pt x="498" y="631"/>
                </a:lnTo>
                <a:lnTo>
                  <a:pt x="498" y="632"/>
                </a:lnTo>
                <a:lnTo>
                  <a:pt x="498" y="633"/>
                </a:lnTo>
                <a:lnTo>
                  <a:pt x="497" y="638"/>
                </a:lnTo>
                <a:lnTo>
                  <a:pt x="496" y="641"/>
                </a:lnTo>
                <a:lnTo>
                  <a:pt x="496" y="643"/>
                </a:lnTo>
                <a:lnTo>
                  <a:pt x="496" y="649"/>
                </a:lnTo>
                <a:lnTo>
                  <a:pt x="495" y="651"/>
                </a:lnTo>
                <a:lnTo>
                  <a:pt x="495" y="653"/>
                </a:lnTo>
                <a:lnTo>
                  <a:pt x="494" y="656"/>
                </a:lnTo>
                <a:lnTo>
                  <a:pt x="494" y="658"/>
                </a:lnTo>
                <a:lnTo>
                  <a:pt x="494" y="659"/>
                </a:lnTo>
                <a:lnTo>
                  <a:pt x="494" y="660"/>
                </a:lnTo>
                <a:lnTo>
                  <a:pt x="494" y="662"/>
                </a:lnTo>
                <a:lnTo>
                  <a:pt x="495" y="663"/>
                </a:lnTo>
                <a:lnTo>
                  <a:pt x="496" y="667"/>
                </a:lnTo>
                <a:lnTo>
                  <a:pt x="497" y="669"/>
                </a:lnTo>
                <a:lnTo>
                  <a:pt x="497" y="670"/>
                </a:lnTo>
                <a:lnTo>
                  <a:pt x="499" y="676"/>
                </a:lnTo>
                <a:lnTo>
                  <a:pt x="499" y="678"/>
                </a:lnTo>
                <a:lnTo>
                  <a:pt x="499" y="680"/>
                </a:lnTo>
                <a:lnTo>
                  <a:pt x="499" y="682"/>
                </a:lnTo>
                <a:lnTo>
                  <a:pt x="499" y="684"/>
                </a:lnTo>
                <a:lnTo>
                  <a:pt x="498" y="685"/>
                </a:lnTo>
                <a:lnTo>
                  <a:pt x="498" y="686"/>
                </a:lnTo>
                <a:lnTo>
                  <a:pt x="498" y="687"/>
                </a:lnTo>
                <a:lnTo>
                  <a:pt x="497" y="688"/>
                </a:lnTo>
                <a:lnTo>
                  <a:pt x="497" y="688"/>
                </a:lnTo>
                <a:lnTo>
                  <a:pt x="496" y="689"/>
                </a:lnTo>
                <a:lnTo>
                  <a:pt x="495" y="690"/>
                </a:lnTo>
                <a:lnTo>
                  <a:pt x="495" y="691"/>
                </a:lnTo>
                <a:lnTo>
                  <a:pt x="493" y="692"/>
                </a:lnTo>
                <a:lnTo>
                  <a:pt x="492" y="693"/>
                </a:lnTo>
                <a:lnTo>
                  <a:pt x="491" y="693"/>
                </a:lnTo>
                <a:lnTo>
                  <a:pt x="488" y="695"/>
                </a:lnTo>
                <a:lnTo>
                  <a:pt x="487" y="695"/>
                </a:lnTo>
                <a:lnTo>
                  <a:pt x="486" y="696"/>
                </a:lnTo>
                <a:lnTo>
                  <a:pt x="485" y="696"/>
                </a:lnTo>
                <a:lnTo>
                  <a:pt x="484" y="697"/>
                </a:lnTo>
                <a:lnTo>
                  <a:pt x="483" y="698"/>
                </a:lnTo>
                <a:lnTo>
                  <a:pt x="482" y="699"/>
                </a:lnTo>
                <a:lnTo>
                  <a:pt x="481" y="700"/>
                </a:lnTo>
                <a:lnTo>
                  <a:pt x="480" y="702"/>
                </a:lnTo>
                <a:lnTo>
                  <a:pt x="478" y="705"/>
                </a:lnTo>
                <a:lnTo>
                  <a:pt x="477" y="708"/>
                </a:lnTo>
                <a:lnTo>
                  <a:pt x="476" y="710"/>
                </a:lnTo>
                <a:lnTo>
                  <a:pt x="475" y="712"/>
                </a:lnTo>
                <a:lnTo>
                  <a:pt x="475" y="713"/>
                </a:lnTo>
                <a:lnTo>
                  <a:pt x="474" y="716"/>
                </a:lnTo>
                <a:lnTo>
                  <a:pt x="474" y="718"/>
                </a:lnTo>
                <a:lnTo>
                  <a:pt x="473" y="722"/>
                </a:lnTo>
                <a:lnTo>
                  <a:pt x="473" y="724"/>
                </a:lnTo>
                <a:lnTo>
                  <a:pt x="472" y="726"/>
                </a:lnTo>
                <a:lnTo>
                  <a:pt x="472" y="728"/>
                </a:lnTo>
                <a:lnTo>
                  <a:pt x="472" y="730"/>
                </a:lnTo>
                <a:lnTo>
                  <a:pt x="472" y="732"/>
                </a:lnTo>
                <a:lnTo>
                  <a:pt x="473" y="734"/>
                </a:lnTo>
                <a:lnTo>
                  <a:pt x="473" y="735"/>
                </a:lnTo>
                <a:lnTo>
                  <a:pt x="473" y="736"/>
                </a:lnTo>
                <a:lnTo>
                  <a:pt x="473" y="738"/>
                </a:lnTo>
                <a:lnTo>
                  <a:pt x="474" y="739"/>
                </a:lnTo>
                <a:lnTo>
                  <a:pt x="476" y="744"/>
                </a:lnTo>
                <a:lnTo>
                  <a:pt x="476" y="746"/>
                </a:lnTo>
                <a:lnTo>
                  <a:pt x="476" y="746"/>
                </a:lnTo>
                <a:lnTo>
                  <a:pt x="475" y="746"/>
                </a:lnTo>
                <a:lnTo>
                  <a:pt x="474" y="745"/>
                </a:lnTo>
                <a:lnTo>
                  <a:pt x="473" y="745"/>
                </a:lnTo>
                <a:lnTo>
                  <a:pt x="472" y="745"/>
                </a:lnTo>
                <a:lnTo>
                  <a:pt x="471" y="745"/>
                </a:lnTo>
                <a:lnTo>
                  <a:pt x="469" y="745"/>
                </a:lnTo>
                <a:lnTo>
                  <a:pt x="468" y="745"/>
                </a:lnTo>
                <a:lnTo>
                  <a:pt x="466" y="746"/>
                </a:lnTo>
                <a:lnTo>
                  <a:pt x="465" y="747"/>
                </a:lnTo>
                <a:lnTo>
                  <a:pt x="463" y="747"/>
                </a:lnTo>
                <a:lnTo>
                  <a:pt x="462" y="748"/>
                </a:lnTo>
                <a:lnTo>
                  <a:pt x="461" y="749"/>
                </a:lnTo>
                <a:lnTo>
                  <a:pt x="460" y="750"/>
                </a:lnTo>
                <a:lnTo>
                  <a:pt x="459" y="751"/>
                </a:lnTo>
                <a:lnTo>
                  <a:pt x="459" y="752"/>
                </a:lnTo>
                <a:lnTo>
                  <a:pt x="458" y="753"/>
                </a:lnTo>
                <a:lnTo>
                  <a:pt x="456" y="757"/>
                </a:lnTo>
                <a:lnTo>
                  <a:pt x="455" y="758"/>
                </a:lnTo>
                <a:lnTo>
                  <a:pt x="455" y="758"/>
                </a:lnTo>
                <a:lnTo>
                  <a:pt x="455" y="759"/>
                </a:lnTo>
                <a:lnTo>
                  <a:pt x="454" y="759"/>
                </a:lnTo>
                <a:lnTo>
                  <a:pt x="454" y="759"/>
                </a:lnTo>
                <a:lnTo>
                  <a:pt x="453" y="759"/>
                </a:lnTo>
                <a:lnTo>
                  <a:pt x="452" y="760"/>
                </a:lnTo>
                <a:lnTo>
                  <a:pt x="451" y="759"/>
                </a:lnTo>
                <a:lnTo>
                  <a:pt x="450" y="759"/>
                </a:lnTo>
                <a:lnTo>
                  <a:pt x="449" y="759"/>
                </a:lnTo>
                <a:lnTo>
                  <a:pt x="448" y="758"/>
                </a:lnTo>
                <a:lnTo>
                  <a:pt x="446" y="757"/>
                </a:lnTo>
                <a:lnTo>
                  <a:pt x="442" y="755"/>
                </a:lnTo>
                <a:lnTo>
                  <a:pt x="440" y="753"/>
                </a:lnTo>
                <a:lnTo>
                  <a:pt x="436" y="750"/>
                </a:lnTo>
                <a:lnTo>
                  <a:pt x="430" y="746"/>
                </a:lnTo>
                <a:lnTo>
                  <a:pt x="427" y="744"/>
                </a:lnTo>
                <a:lnTo>
                  <a:pt x="424" y="742"/>
                </a:lnTo>
                <a:lnTo>
                  <a:pt x="423" y="741"/>
                </a:lnTo>
                <a:lnTo>
                  <a:pt x="421" y="739"/>
                </a:lnTo>
                <a:lnTo>
                  <a:pt x="419" y="737"/>
                </a:lnTo>
                <a:lnTo>
                  <a:pt x="418" y="735"/>
                </a:lnTo>
                <a:lnTo>
                  <a:pt x="417" y="734"/>
                </a:lnTo>
                <a:lnTo>
                  <a:pt x="416" y="732"/>
                </a:lnTo>
                <a:lnTo>
                  <a:pt x="416" y="731"/>
                </a:lnTo>
                <a:lnTo>
                  <a:pt x="415" y="730"/>
                </a:lnTo>
                <a:lnTo>
                  <a:pt x="415" y="728"/>
                </a:lnTo>
                <a:lnTo>
                  <a:pt x="414" y="726"/>
                </a:lnTo>
                <a:lnTo>
                  <a:pt x="414" y="720"/>
                </a:lnTo>
                <a:lnTo>
                  <a:pt x="413" y="714"/>
                </a:lnTo>
                <a:lnTo>
                  <a:pt x="413" y="709"/>
                </a:lnTo>
                <a:lnTo>
                  <a:pt x="413" y="707"/>
                </a:lnTo>
                <a:lnTo>
                  <a:pt x="412" y="704"/>
                </a:lnTo>
                <a:lnTo>
                  <a:pt x="412" y="702"/>
                </a:lnTo>
                <a:lnTo>
                  <a:pt x="411" y="699"/>
                </a:lnTo>
                <a:lnTo>
                  <a:pt x="410" y="694"/>
                </a:lnTo>
                <a:lnTo>
                  <a:pt x="409" y="692"/>
                </a:lnTo>
                <a:lnTo>
                  <a:pt x="408" y="691"/>
                </a:lnTo>
                <a:lnTo>
                  <a:pt x="408" y="690"/>
                </a:lnTo>
                <a:lnTo>
                  <a:pt x="407" y="689"/>
                </a:lnTo>
                <a:lnTo>
                  <a:pt x="406" y="687"/>
                </a:lnTo>
                <a:lnTo>
                  <a:pt x="403" y="683"/>
                </a:lnTo>
                <a:lnTo>
                  <a:pt x="399" y="679"/>
                </a:lnTo>
                <a:lnTo>
                  <a:pt x="395" y="674"/>
                </a:lnTo>
                <a:lnTo>
                  <a:pt x="388" y="666"/>
                </a:lnTo>
                <a:lnTo>
                  <a:pt x="387" y="665"/>
                </a:lnTo>
                <a:lnTo>
                  <a:pt x="385" y="663"/>
                </a:lnTo>
                <a:lnTo>
                  <a:pt x="384" y="661"/>
                </a:lnTo>
                <a:lnTo>
                  <a:pt x="382" y="660"/>
                </a:lnTo>
                <a:lnTo>
                  <a:pt x="380" y="657"/>
                </a:lnTo>
                <a:lnTo>
                  <a:pt x="378" y="656"/>
                </a:lnTo>
                <a:lnTo>
                  <a:pt x="376" y="655"/>
                </a:lnTo>
                <a:lnTo>
                  <a:pt x="374" y="653"/>
                </a:lnTo>
                <a:lnTo>
                  <a:pt x="372" y="651"/>
                </a:lnTo>
                <a:lnTo>
                  <a:pt x="370" y="650"/>
                </a:lnTo>
                <a:lnTo>
                  <a:pt x="368" y="649"/>
                </a:lnTo>
                <a:lnTo>
                  <a:pt x="365" y="647"/>
                </a:lnTo>
                <a:lnTo>
                  <a:pt x="364" y="647"/>
                </a:lnTo>
                <a:lnTo>
                  <a:pt x="363" y="646"/>
                </a:lnTo>
                <a:lnTo>
                  <a:pt x="360" y="646"/>
                </a:lnTo>
                <a:lnTo>
                  <a:pt x="358" y="646"/>
                </a:lnTo>
                <a:lnTo>
                  <a:pt x="356" y="645"/>
                </a:lnTo>
                <a:lnTo>
                  <a:pt x="353" y="645"/>
                </a:lnTo>
                <a:lnTo>
                  <a:pt x="347" y="645"/>
                </a:lnTo>
                <a:lnTo>
                  <a:pt x="344" y="645"/>
                </a:lnTo>
                <a:lnTo>
                  <a:pt x="343" y="645"/>
                </a:lnTo>
                <a:lnTo>
                  <a:pt x="341" y="645"/>
                </a:lnTo>
                <a:lnTo>
                  <a:pt x="340" y="644"/>
                </a:lnTo>
                <a:lnTo>
                  <a:pt x="338" y="644"/>
                </a:lnTo>
                <a:lnTo>
                  <a:pt x="336" y="643"/>
                </a:lnTo>
                <a:lnTo>
                  <a:pt x="334" y="642"/>
                </a:lnTo>
                <a:lnTo>
                  <a:pt x="332" y="641"/>
                </a:lnTo>
                <a:lnTo>
                  <a:pt x="330" y="640"/>
                </a:lnTo>
                <a:lnTo>
                  <a:pt x="328" y="639"/>
                </a:lnTo>
                <a:lnTo>
                  <a:pt x="326" y="637"/>
                </a:lnTo>
                <a:lnTo>
                  <a:pt x="324" y="636"/>
                </a:lnTo>
                <a:lnTo>
                  <a:pt x="323" y="634"/>
                </a:lnTo>
                <a:lnTo>
                  <a:pt x="321" y="633"/>
                </a:lnTo>
                <a:lnTo>
                  <a:pt x="320" y="631"/>
                </a:lnTo>
                <a:lnTo>
                  <a:pt x="320" y="630"/>
                </a:lnTo>
                <a:lnTo>
                  <a:pt x="319" y="629"/>
                </a:lnTo>
                <a:lnTo>
                  <a:pt x="318" y="627"/>
                </a:lnTo>
                <a:lnTo>
                  <a:pt x="318" y="625"/>
                </a:lnTo>
                <a:lnTo>
                  <a:pt x="317" y="623"/>
                </a:lnTo>
                <a:lnTo>
                  <a:pt x="316" y="617"/>
                </a:lnTo>
                <a:lnTo>
                  <a:pt x="315" y="615"/>
                </a:lnTo>
                <a:lnTo>
                  <a:pt x="315" y="613"/>
                </a:lnTo>
                <a:lnTo>
                  <a:pt x="314" y="612"/>
                </a:lnTo>
                <a:lnTo>
                  <a:pt x="313" y="610"/>
                </a:lnTo>
                <a:lnTo>
                  <a:pt x="313" y="609"/>
                </a:lnTo>
                <a:lnTo>
                  <a:pt x="312" y="608"/>
                </a:lnTo>
                <a:lnTo>
                  <a:pt x="311" y="606"/>
                </a:lnTo>
                <a:lnTo>
                  <a:pt x="308" y="603"/>
                </a:lnTo>
                <a:lnTo>
                  <a:pt x="303" y="597"/>
                </a:lnTo>
                <a:lnTo>
                  <a:pt x="296" y="590"/>
                </a:lnTo>
                <a:lnTo>
                  <a:pt x="295" y="589"/>
                </a:lnTo>
                <a:lnTo>
                  <a:pt x="294" y="588"/>
                </a:lnTo>
                <a:lnTo>
                  <a:pt x="293" y="587"/>
                </a:lnTo>
                <a:lnTo>
                  <a:pt x="292" y="585"/>
                </a:lnTo>
                <a:lnTo>
                  <a:pt x="292" y="584"/>
                </a:lnTo>
                <a:lnTo>
                  <a:pt x="290" y="580"/>
                </a:lnTo>
                <a:lnTo>
                  <a:pt x="289" y="578"/>
                </a:lnTo>
                <a:lnTo>
                  <a:pt x="287" y="576"/>
                </a:lnTo>
                <a:lnTo>
                  <a:pt x="284" y="572"/>
                </a:lnTo>
                <a:lnTo>
                  <a:pt x="283" y="571"/>
                </a:lnTo>
                <a:lnTo>
                  <a:pt x="282" y="569"/>
                </a:lnTo>
                <a:lnTo>
                  <a:pt x="279" y="564"/>
                </a:lnTo>
                <a:lnTo>
                  <a:pt x="279" y="563"/>
                </a:lnTo>
                <a:lnTo>
                  <a:pt x="278" y="562"/>
                </a:lnTo>
                <a:lnTo>
                  <a:pt x="277" y="561"/>
                </a:lnTo>
                <a:lnTo>
                  <a:pt x="276" y="560"/>
                </a:lnTo>
                <a:lnTo>
                  <a:pt x="272" y="556"/>
                </a:lnTo>
                <a:lnTo>
                  <a:pt x="270" y="555"/>
                </a:lnTo>
                <a:lnTo>
                  <a:pt x="269" y="553"/>
                </a:lnTo>
                <a:lnTo>
                  <a:pt x="267" y="551"/>
                </a:lnTo>
                <a:lnTo>
                  <a:pt x="266" y="549"/>
                </a:lnTo>
                <a:lnTo>
                  <a:pt x="265" y="548"/>
                </a:lnTo>
                <a:lnTo>
                  <a:pt x="261" y="545"/>
                </a:lnTo>
                <a:lnTo>
                  <a:pt x="260" y="544"/>
                </a:lnTo>
                <a:lnTo>
                  <a:pt x="260" y="543"/>
                </a:lnTo>
                <a:lnTo>
                  <a:pt x="259" y="542"/>
                </a:lnTo>
                <a:lnTo>
                  <a:pt x="258" y="541"/>
                </a:lnTo>
                <a:lnTo>
                  <a:pt x="258" y="539"/>
                </a:lnTo>
                <a:lnTo>
                  <a:pt x="257" y="538"/>
                </a:lnTo>
                <a:lnTo>
                  <a:pt x="257" y="536"/>
                </a:lnTo>
                <a:lnTo>
                  <a:pt x="256" y="530"/>
                </a:lnTo>
                <a:lnTo>
                  <a:pt x="255" y="528"/>
                </a:lnTo>
                <a:lnTo>
                  <a:pt x="255" y="527"/>
                </a:lnTo>
                <a:lnTo>
                  <a:pt x="255" y="525"/>
                </a:lnTo>
                <a:lnTo>
                  <a:pt x="254" y="524"/>
                </a:lnTo>
                <a:lnTo>
                  <a:pt x="254" y="523"/>
                </a:lnTo>
                <a:lnTo>
                  <a:pt x="253" y="522"/>
                </a:lnTo>
                <a:lnTo>
                  <a:pt x="252" y="521"/>
                </a:lnTo>
                <a:lnTo>
                  <a:pt x="249" y="517"/>
                </a:lnTo>
                <a:lnTo>
                  <a:pt x="245" y="514"/>
                </a:lnTo>
                <a:lnTo>
                  <a:pt x="241" y="509"/>
                </a:lnTo>
                <a:lnTo>
                  <a:pt x="238" y="506"/>
                </a:lnTo>
                <a:lnTo>
                  <a:pt x="236" y="504"/>
                </a:lnTo>
                <a:lnTo>
                  <a:pt x="234" y="503"/>
                </a:lnTo>
                <a:lnTo>
                  <a:pt x="233" y="501"/>
                </a:lnTo>
                <a:lnTo>
                  <a:pt x="231" y="500"/>
                </a:lnTo>
                <a:lnTo>
                  <a:pt x="230" y="499"/>
                </a:lnTo>
                <a:lnTo>
                  <a:pt x="228" y="498"/>
                </a:lnTo>
                <a:lnTo>
                  <a:pt x="226" y="497"/>
                </a:lnTo>
                <a:lnTo>
                  <a:pt x="224" y="496"/>
                </a:lnTo>
                <a:lnTo>
                  <a:pt x="222" y="495"/>
                </a:lnTo>
                <a:lnTo>
                  <a:pt x="221" y="495"/>
                </a:lnTo>
                <a:lnTo>
                  <a:pt x="217" y="493"/>
                </a:lnTo>
                <a:lnTo>
                  <a:pt x="214" y="493"/>
                </a:lnTo>
                <a:lnTo>
                  <a:pt x="206" y="491"/>
                </a:lnTo>
                <a:lnTo>
                  <a:pt x="204" y="491"/>
                </a:lnTo>
                <a:lnTo>
                  <a:pt x="201" y="490"/>
                </a:lnTo>
                <a:lnTo>
                  <a:pt x="200" y="491"/>
                </a:lnTo>
                <a:lnTo>
                  <a:pt x="199" y="491"/>
                </a:lnTo>
                <a:lnTo>
                  <a:pt x="199" y="491"/>
                </a:lnTo>
                <a:lnTo>
                  <a:pt x="198" y="491"/>
                </a:lnTo>
                <a:lnTo>
                  <a:pt x="197" y="492"/>
                </a:lnTo>
                <a:lnTo>
                  <a:pt x="196" y="492"/>
                </a:lnTo>
                <a:lnTo>
                  <a:pt x="196" y="493"/>
                </a:lnTo>
                <a:lnTo>
                  <a:pt x="195" y="495"/>
                </a:lnTo>
                <a:lnTo>
                  <a:pt x="194" y="496"/>
                </a:lnTo>
                <a:lnTo>
                  <a:pt x="194" y="496"/>
                </a:lnTo>
                <a:lnTo>
                  <a:pt x="193" y="497"/>
                </a:lnTo>
                <a:lnTo>
                  <a:pt x="192" y="497"/>
                </a:lnTo>
                <a:lnTo>
                  <a:pt x="192" y="497"/>
                </a:lnTo>
                <a:lnTo>
                  <a:pt x="191" y="497"/>
                </a:lnTo>
                <a:lnTo>
                  <a:pt x="189" y="497"/>
                </a:lnTo>
                <a:lnTo>
                  <a:pt x="187" y="497"/>
                </a:lnTo>
                <a:lnTo>
                  <a:pt x="184" y="496"/>
                </a:lnTo>
                <a:lnTo>
                  <a:pt x="180" y="495"/>
                </a:lnTo>
                <a:lnTo>
                  <a:pt x="179" y="495"/>
                </a:lnTo>
                <a:lnTo>
                  <a:pt x="177" y="494"/>
                </a:lnTo>
                <a:lnTo>
                  <a:pt x="172" y="494"/>
                </a:lnTo>
                <a:lnTo>
                  <a:pt x="169" y="494"/>
                </a:lnTo>
                <a:lnTo>
                  <a:pt x="167" y="493"/>
                </a:lnTo>
                <a:lnTo>
                  <a:pt x="165" y="493"/>
                </a:lnTo>
                <a:lnTo>
                  <a:pt x="163" y="492"/>
                </a:lnTo>
                <a:lnTo>
                  <a:pt x="161" y="492"/>
                </a:lnTo>
                <a:lnTo>
                  <a:pt x="159" y="491"/>
                </a:lnTo>
                <a:lnTo>
                  <a:pt x="157" y="490"/>
                </a:lnTo>
                <a:lnTo>
                  <a:pt x="156" y="489"/>
                </a:lnTo>
                <a:lnTo>
                  <a:pt x="155" y="489"/>
                </a:lnTo>
                <a:lnTo>
                  <a:pt x="154" y="488"/>
                </a:lnTo>
                <a:lnTo>
                  <a:pt x="153" y="487"/>
                </a:lnTo>
                <a:lnTo>
                  <a:pt x="152" y="485"/>
                </a:lnTo>
                <a:lnTo>
                  <a:pt x="152" y="485"/>
                </a:lnTo>
                <a:lnTo>
                  <a:pt x="149" y="481"/>
                </a:lnTo>
                <a:lnTo>
                  <a:pt x="147" y="476"/>
                </a:lnTo>
                <a:lnTo>
                  <a:pt x="145" y="473"/>
                </a:lnTo>
                <a:lnTo>
                  <a:pt x="145" y="471"/>
                </a:lnTo>
                <a:lnTo>
                  <a:pt x="144" y="470"/>
                </a:lnTo>
                <a:lnTo>
                  <a:pt x="143" y="465"/>
                </a:lnTo>
                <a:lnTo>
                  <a:pt x="142" y="463"/>
                </a:lnTo>
                <a:lnTo>
                  <a:pt x="141" y="461"/>
                </a:lnTo>
                <a:lnTo>
                  <a:pt x="140" y="460"/>
                </a:lnTo>
                <a:lnTo>
                  <a:pt x="139" y="458"/>
                </a:lnTo>
                <a:lnTo>
                  <a:pt x="138" y="456"/>
                </a:lnTo>
                <a:lnTo>
                  <a:pt x="137" y="455"/>
                </a:lnTo>
                <a:lnTo>
                  <a:pt x="136" y="453"/>
                </a:lnTo>
                <a:lnTo>
                  <a:pt x="133" y="450"/>
                </a:lnTo>
                <a:lnTo>
                  <a:pt x="131" y="448"/>
                </a:lnTo>
                <a:lnTo>
                  <a:pt x="124" y="442"/>
                </a:lnTo>
                <a:lnTo>
                  <a:pt x="122" y="441"/>
                </a:lnTo>
                <a:lnTo>
                  <a:pt x="120" y="440"/>
                </a:lnTo>
                <a:lnTo>
                  <a:pt x="118" y="439"/>
                </a:lnTo>
                <a:lnTo>
                  <a:pt x="116" y="438"/>
                </a:lnTo>
                <a:lnTo>
                  <a:pt x="111" y="435"/>
                </a:lnTo>
                <a:lnTo>
                  <a:pt x="109" y="435"/>
                </a:lnTo>
                <a:lnTo>
                  <a:pt x="108" y="434"/>
                </a:lnTo>
                <a:lnTo>
                  <a:pt x="106" y="433"/>
                </a:lnTo>
                <a:lnTo>
                  <a:pt x="105" y="431"/>
                </a:lnTo>
                <a:lnTo>
                  <a:pt x="104" y="430"/>
                </a:lnTo>
                <a:lnTo>
                  <a:pt x="103" y="429"/>
                </a:lnTo>
                <a:lnTo>
                  <a:pt x="102" y="429"/>
                </a:lnTo>
                <a:lnTo>
                  <a:pt x="102" y="428"/>
                </a:lnTo>
                <a:lnTo>
                  <a:pt x="101" y="427"/>
                </a:lnTo>
                <a:lnTo>
                  <a:pt x="101" y="426"/>
                </a:lnTo>
                <a:lnTo>
                  <a:pt x="101" y="425"/>
                </a:lnTo>
                <a:lnTo>
                  <a:pt x="100" y="422"/>
                </a:lnTo>
                <a:lnTo>
                  <a:pt x="99" y="418"/>
                </a:lnTo>
                <a:lnTo>
                  <a:pt x="98" y="415"/>
                </a:lnTo>
                <a:lnTo>
                  <a:pt x="97" y="411"/>
                </a:lnTo>
                <a:lnTo>
                  <a:pt x="95" y="406"/>
                </a:lnTo>
                <a:lnTo>
                  <a:pt x="94" y="405"/>
                </a:lnTo>
                <a:lnTo>
                  <a:pt x="94" y="403"/>
                </a:lnTo>
                <a:lnTo>
                  <a:pt x="94" y="402"/>
                </a:lnTo>
                <a:lnTo>
                  <a:pt x="94" y="400"/>
                </a:lnTo>
                <a:lnTo>
                  <a:pt x="94" y="399"/>
                </a:lnTo>
                <a:lnTo>
                  <a:pt x="95" y="396"/>
                </a:lnTo>
                <a:lnTo>
                  <a:pt x="95" y="393"/>
                </a:lnTo>
                <a:lnTo>
                  <a:pt x="95" y="391"/>
                </a:lnTo>
                <a:lnTo>
                  <a:pt x="95" y="387"/>
                </a:lnTo>
                <a:lnTo>
                  <a:pt x="95" y="382"/>
                </a:lnTo>
                <a:lnTo>
                  <a:pt x="95" y="380"/>
                </a:lnTo>
                <a:lnTo>
                  <a:pt x="95" y="378"/>
                </a:lnTo>
                <a:lnTo>
                  <a:pt x="95" y="376"/>
                </a:lnTo>
                <a:lnTo>
                  <a:pt x="94" y="374"/>
                </a:lnTo>
                <a:lnTo>
                  <a:pt x="94" y="373"/>
                </a:lnTo>
                <a:lnTo>
                  <a:pt x="93" y="372"/>
                </a:lnTo>
                <a:lnTo>
                  <a:pt x="92" y="371"/>
                </a:lnTo>
                <a:lnTo>
                  <a:pt x="91" y="370"/>
                </a:lnTo>
                <a:lnTo>
                  <a:pt x="90" y="369"/>
                </a:lnTo>
                <a:lnTo>
                  <a:pt x="87" y="368"/>
                </a:lnTo>
                <a:lnTo>
                  <a:pt x="85" y="367"/>
                </a:lnTo>
                <a:lnTo>
                  <a:pt x="82" y="366"/>
                </a:lnTo>
                <a:lnTo>
                  <a:pt x="81" y="365"/>
                </a:lnTo>
                <a:lnTo>
                  <a:pt x="80" y="365"/>
                </a:lnTo>
                <a:lnTo>
                  <a:pt x="78" y="364"/>
                </a:lnTo>
                <a:lnTo>
                  <a:pt x="77" y="363"/>
                </a:lnTo>
                <a:lnTo>
                  <a:pt x="77" y="362"/>
                </a:lnTo>
                <a:lnTo>
                  <a:pt x="76" y="361"/>
                </a:lnTo>
                <a:lnTo>
                  <a:pt x="75" y="359"/>
                </a:lnTo>
                <a:lnTo>
                  <a:pt x="73" y="356"/>
                </a:lnTo>
                <a:lnTo>
                  <a:pt x="72" y="354"/>
                </a:lnTo>
                <a:lnTo>
                  <a:pt x="71" y="352"/>
                </a:lnTo>
                <a:lnTo>
                  <a:pt x="70" y="350"/>
                </a:lnTo>
                <a:lnTo>
                  <a:pt x="69" y="348"/>
                </a:lnTo>
                <a:lnTo>
                  <a:pt x="69" y="346"/>
                </a:lnTo>
                <a:lnTo>
                  <a:pt x="68" y="344"/>
                </a:lnTo>
                <a:lnTo>
                  <a:pt x="68" y="342"/>
                </a:lnTo>
                <a:lnTo>
                  <a:pt x="67" y="340"/>
                </a:lnTo>
                <a:lnTo>
                  <a:pt x="67" y="332"/>
                </a:lnTo>
                <a:lnTo>
                  <a:pt x="66" y="330"/>
                </a:lnTo>
                <a:lnTo>
                  <a:pt x="66" y="328"/>
                </a:lnTo>
                <a:lnTo>
                  <a:pt x="65" y="326"/>
                </a:lnTo>
                <a:lnTo>
                  <a:pt x="63" y="319"/>
                </a:lnTo>
                <a:lnTo>
                  <a:pt x="63" y="317"/>
                </a:lnTo>
                <a:lnTo>
                  <a:pt x="62" y="315"/>
                </a:lnTo>
                <a:lnTo>
                  <a:pt x="61" y="313"/>
                </a:lnTo>
                <a:lnTo>
                  <a:pt x="60" y="312"/>
                </a:lnTo>
                <a:lnTo>
                  <a:pt x="59" y="310"/>
                </a:lnTo>
                <a:lnTo>
                  <a:pt x="58" y="310"/>
                </a:lnTo>
                <a:lnTo>
                  <a:pt x="57" y="309"/>
                </a:lnTo>
                <a:lnTo>
                  <a:pt x="57" y="308"/>
                </a:lnTo>
                <a:lnTo>
                  <a:pt x="53" y="307"/>
                </a:lnTo>
                <a:lnTo>
                  <a:pt x="53" y="306"/>
                </a:lnTo>
                <a:lnTo>
                  <a:pt x="52" y="306"/>
                </a:lnTo>
                <a:lnTo>
                  <a:pt x="51" y="305"/>
                </a:lnTo>
                <a:lnTo>
                  <a:pt x="51" y="304"/>
                </a:lnTo>
                <a:lnTo>
                  <a:pt x="49" y="302"/>
                </a:lnTo>
                <a:lnTo>
                  <a:pt x="48" y="301"/>
                </a:lnTo>
                <a:lnTo>
                  <a:pt x="48" y="300"/>
                </a:lnTo>
                <a:lnTo>
                  <a:pt x="48" y="298"/>
                </a:lnTo>
                <a:lnTo>
                  <a:pt x="48" y="295"/>
                </a:lnTo>
                <a:lnTo>
                  <a:pt x="47" y="294"/>
                </a:lnTo>
                <a:lnTo>
                  <a:pt x="47" y="292"/>
                </a:lnTo>
                <a:lnTo>
                  <a:pt x="47" y="291"/>
                </a:lnTo>
                <a:lnTo>
                  <a:pt x="47" y="290"/>
                </a:lnTo>
                <a:lnTo>
                  <a:pt x="47" y="288"/>
                </a:lnTo>
                <a:lnTo>
                  <a:pt x="48" y="285"/>
                </a:lnTo>
                <a:lnTo>
                  <a:pt x="48" y="282"/>
                </a:lnTo>
                <a:lnTo>
                  <a:pt x="49" y="278"/>
                </a:lnTo>
                <a:lnTo>
                  <a:pt x="49" y="277"/>
                </a:lnTo>
                <a:lnTo>
                  <a:pt x="49" y="276"/>
                </a:lnTo>
                <a:lnTo>
                  <a:pt x="49" y="274"/>
                </a:lnTo>
                <a:lnTo>
                  <a:pt x="49" y="272"/>
                </a:lnTo>
                <a:lnTo>
                  <a:pt x="48" y="271"/>
                </a:lnTo>
                <a:lnTo>
                  <a:pt x="47" y="269"/>
                </a:lnTo>
                <a:lnTo>
                  <a:pt x="47" y="268"/>
                </a:lnTo>
                <a:lnTo>
                  <a:pt x="46" y="267"/>
                </a:lnTo>
                <a:lnTo>
                  <a:pt x="45" y="266"/>
                </a:lnTo>
                <a:lnTo>
                  <a:pt x="44" y="265"/>
                </a:lnTo>
                <a:lnTo>
                  <a:pt x="43" y="265"/>
                </a:lnTo>
                <a:lnTo>
                  <a:pt x="42" y="264"/>
                </a:lnTo>
                <a:lnTo>
                  <a:pt x="37" y="262"/>
                </a:lnTo>
                <a:lnTo>
                  <a:pt x="35" y="261"/>
                </a:lnTo>
                <a:lnTo>
                  <a:pt x="34" y="261"/>
                </a:lnTo>
                <a:lnTo>
                  <a:pt x="30" y="258"/>
                </a:lnTo>
                <a:lnTo>
                  <a:pt x="23" y="254"/>
                </a:lnTo>
                <a:lnTo>
                  <a:pt x="20" y="252"/>
                </a:lnTo>
                <a:lnTo>
                  <a:pt x="19" y="252"/>
                </a:lnTo>
                <a:lnTo>
                  <a:pt x="17" y="251"/>
                </a:lnTo>
                <a:lnTo>
                  <a:pt x="16" y="250"/>
                </a:lnTo>
                <a:lnTo>
                  <a:pt x="15" y="249"/>
                </a:lnTo>
                <a:lnTo>
                  <a:pt x="14" y="248"/>
                </a:lnTo>
                <a:lnTo>
                  <a:pt x="13" y="247"/>
                </a:lnTo>
                <a:lnTo>
                  <a:pt x="12" y="245"/>
                </a:ln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 268">
            <a:extLst>
              <a:ext uri="{FF2B5EF4-FFF2-40B4-BE49-F238E27FC236}">
                <a16:creationId xmlns:a16="http://schemas.microsoft.com/office/drawing/2014/main" id="{A703C9E0-01E8-404E-9DA1-698768E29AC9}"/>
              </a:ext>
            </a:extLst>
          </p:cNvPr>
          <p:cNvSpPr>
            <a:spLocks/>
          </p:cNvSpPr>
          <p:nvPr/>
        </p:nvSpPr>
        <p:spPr bwMode="auto">
          <a:xfrm>
            <a:off x="6651014" y="4271540"/>
            <a:ext cx="1127128" cy="1580457"/>
          </a:xfrm>
          <a:custGeom>
            <a:avLst/>
            <a:gdLst>
              <a:gd name="T0" fmla="*/ 389 w 593"/>
              <a:gd name="T1" fmla="*/ 6 h 760"/>
              <a:gd name="T2" fmla="*/ 403 w 593"/>
              <a:gd name="T3" fmla="*/ 16 h 760"/>
              <a:gd name="T4" fmla="*/ 421 w 593"/>
              <a:gd name="T5" fmla="*/ 15 h 760"/>
              <a:gd name="T6" fmla="*/ 416 w 593"/>
              <a:gd name="T7" fmla="*/ 40 h 760"/>
              <a:gd name="T8" fmla="*/ 428 w 593"/>
              <a:gd name="T9" fmla="*/ 47 h 760"/>
              <a:gd name="T10" fmla="*/ 461 w 593"/>
              <a:gd name="T11" fmla="*/ 45 h 760"/>
              <a:gd name="T12" fmla="*/ 461 w 593"/>
              <a:gd name="T13" fmla="*/ 53 h 760"/>
              <a:gd name="T14" fmla="*/ 487 w 593"/>
              <a:gd name="T15" fmla="*/ 72 h 760"/>
              <a:gd name="T16" fmla="*/ 518 w 593"/>
              <a:gd name="T17" fmla="*/ 72 h 760"/>
              <a:gd name="T18" fmla="*/ 550 w 593"/>
              <a:gd name="T19" fmla="*/ 94 h 760"/>
              <a:gd name="T20" fmla="*/ 561 w 593"/>
              <a:gd name="T21" fmla="*/ 108 h 760"/>
              <a:gd name="T22" fmla="*/ 591 w 593"/>
              <a:gd name="T23" fmla="*/ 132 h 760"/>
              <a:gd name="T24" fmla="*/ 585 w 593"/>
              <a:gd name="T25" fmla="*/ 165 h 760"/>
              <a:gd name="T26" fmla="*/ 578 w 593"/>
              <a:gd name="T27" fmla="*/ 205 h 760"/>
              <a:gd name="T28" fmla="*/ 580 w 593"/>
              <a:gd name="T29" fmla="*/ 228 h 760"/>
              <a:gd name="T30" fmla="*/ 567 w 593"/>
              <a:gd name="T31" fmla="*/ 250 h 760"/>
              <a:gd name="T32" fmla="*/ 549 w 593"/>
              <a:gd name="T33" fmla="*/ 249 h 760"/>
              <a:gd name="T34" fmla="*/ 526 w 593"/>
              <a:gd name="T35" fmla="*/ 271 h 760"/>
              <a:gd name="T36" fmla="*/ 540 w 593"/>
              <a:gd name="T37" fmla="*/ 279 h 760"/>
              <a:gd name="T38" fmla="*/ 534 w 593"/>
              <a:gd name="T39" fmla="*/ 289 h 760"/>
              <a:gd name="T40" fmla="*/ 538 w 593"/>
              <a:gd name="T41" fmla="*/ 303 h 760"/>
              <a:gd name="T42" fmla="*/ 538 w 593"/>
              <a:gd name="T43" fmla="*/ 311 h 760"/>
              <a:gd name="T44" fmla="*/ 550 w 593"/>
              <a:gd name="T45" fmla="*/ 318 h 760"/>
              <a:gd name="T46" fmla="*/ 553 w 593"/>
              <a:gd name="T47" fmla="*/ 347 h 760"/>
              <a:gd name="T48" fmla="*/ 561 w 593"/>
              <a:gd name="T49" fmla="*/ 373 h 760"/>
              <a:gd name="T50" fmla="*/ 559 w 593"/>
              <a:gd name="T51" fmla="*/ 395 h 760"/>
              <a:gd name="T52" fmla="*/ 562 w 593"/>
              <a:gd name="T53" fmla="*/ 423 h 760"/>
              <a:gd name="T54" fmla="*/ 561 w 593"/>
              <a:gd name="T55" fmla="*/ 454 h 760"/>
              <a:gd name="T56" fmla="*/ 570 w 593"/>
              <a:gd name="T57" fmla="*/ 488 h 760"/>
              <a:gd name="T58" fmla="*/ 549 w 593"/>
              <a:gd name="T59" fmla="*/ 520 h 760"/>
              <a:gd name="T60" fmla="*/ 543 w 593"/>
              <a:gd name="T61" fmla="*/ 540 h 760"/>
              <a:gd name="T62" fmla="*/ 535 w 593"/>
              <a:gd name="T63" fmla="*/ 551 h 760"/>
              <a:gd name="T64" fmla="*/ 540 w 593"/>
              <a:gd name="T65" fmla="*/ 565 h 760"/>
              <a:gd name="T66" fmla="*/ 530 w 593"/>
              <a:gd name="T67" fmla="*/ 582 h 760"/>
              <a:gd name="T68" fmla="*/ 531 w 593"/>
              <a:gd name="T69" fmla="*/ 604 h 760"/>
              <a:gd name="T70" fmla="*/ 506 w 593"/>
              <a:gd name="T71" fmla="*/ 630 h 760"/>
              <a:gd name="T72" fmla="*/ 486 w 593"/>
              <a:gd name="T73" fmla="*/ 633 h 760"/>
              <a:gd name="T74" fmla="*/ 487 w 593"/>
              <a:gd name="T75" fmla="*/ 678 h 760"/>
              <a:gd name="T76" fmla="*/ 474 w 593"/>
              <a:gd name="T77" fmla="*/ 696 h 760"/>
              <a:gd name="T78" fmla="*/ 460 w 593"/>
              <a:gd name="T79" fmla="*/ 728 h 760"/>
              <a:gd name="T80" fmla="*/ 456 w 593"/>
              <a:gd name="T81" fmla="*/ 745 h 760"/>
              <a:gd name="T82" fmla="*/ 440 w 593"/>
              <a:gd name="T83" fmla="*/ 760 h 760"/>
              <a:gd name="T84" fmla="*/ 404 w 593"/>
              <a:gd name="T85" fmla="*/ 732 h 760"/>
              <a:gd name="T86" fmla="*/ 394 w 593"/>
              <a:gd name="T87" fmla="*/ 687 h 760"/>
              <a:gd name="T88" fmla="*/ 352 w 593"/>
              <a:gd name="T89" fmla="*/ 647 h 760"/>
              <a:gd name="T90" fmla="*/ 314 w 593"/>
              <a:gd name="T91" fmla="*/ 637 h 760"/>
              <a:gd name="T92" fmla="*/ 299 w 593"/>
              <a:gd name="T93" fmla="*/ 606 h 760"/>
              <a:gd name="T94" fmla="*/ 266 w 593"/>
              <a:gd name="T95" fmla="*/ 562 h 760"/>
              <a:gd name="T96" fmla="*/ 244 w 593"/>
              <a:gd name="T97" fmla="*/ 530 h 760"/>
              <a:gd name="T98" fmla="*/ 216 w 593"/>
              <a:gd name="T99" fmla="*/ 498 h 760"/>
              <a:gd name="T100" fmla="*/ 183 w 593"/>
              <a:gd name="T101" fmla="*/ 495 h 760"/>
              <a:gd name="T102" fmla="*/ 151 w 593"/>
              <a:gd name="T103" fmla="*/ 492 h 760"/>
              <a:gd name="T104" fmla="*/ 129 w 593"/>
              <a:gd name="T105" fmla="*/ 461 h 760"/>
              <a:gd name="T106" fmla="*/ 93 w 593"/>
              <a:gd name="T107" fmla="*/ 431 h 760"/>
              <a:gd name="T108" fmla="*/ 82 w 593"/>
              <a:gd name="T109" fmla="*/ 399 h 760"/>
              <a:gd name="T110" fmla="*/ 70 w 593"/>
              <a:gd name="T111" fmla="*/ 366 h 760"/>
              <a:gd name="T112" fmla="*/ 55 w 593"/>
              <a:gd name="T113" fmla="*/ 332 h 760"/>
              <a:gd name="T114" fmla="*/ 39 w 593"/>
              <a:gd name="T115" fmla="*/ 304 h 760"/>
              <a:gd name="T116" fmla="*/ 37 w 593"/>
              <a:gd name="T117" fmla="*/ 272 h 760"/>
              <a:gd name="T118" fmla="*/ 4 w 593"/>
              <a:gd name="T119" fmla="*/ 25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3" h="760">
                <a:moveTo>
                  <a:pt x="383" y="0"/>
                </a:moveTo>
                <a:lnTo>
                  <a:pt x="383" y="1"/>
                </a:lnTo>
                <a:lnTo>
                  <a:pt x="383" y="1"/>
                </a:lnTo>
                <a:lnTo>
                  <a:pt x="383" y="1"/>
                </a:lnTo>
                <a:lnTo>
                  <a:pt x="383" y="3"/>
                </a:lnTo>
                <a:lnTo>
                  <a:pt x="383" y="4"/>
                </a:lnTo>
                <a:lnTo>
                  <a:pt x="383" y="5"/>
                </a:lnTo>
                <a:lnTo>
                  <a:pt x="384" y="7"/>
                </a:lnTo>
                <a:lnTo>
                  <a:pt x="384" y="7"/>
                </a:lnTo>
                <a:lnTo>
                  <a:pt x="385" y="8"/>
                </a:lnTo>
                <a:lnTo>
                  <a:pt x="385" y="8"/>
                </a:lnTo>
                <a:lnTo>
                  <a:pt x="386" y="8"/>
                </a:lnTo>
                <a:lnTo>
                  <a:pt x="387" y="8"/>
                </a:lnTo>
                <a:lnTo>
                  <a:pt x="387" y="8"/>
                </a:lnTo>
                <a:lnTo>
                  <a:pt x="388" y="8"/>
                </a:lnTo>
                <a:lnTo>
                  <a:pt x="388" y="7"/>
                </a:lnTo>
                <a:lnTo>
                  <a:pt x="389" y="6"/>
                </a:lnTo>
                <a:lnTo>
                  <a:pt x="391" y="4"/>
                </a:lnTo>
                <a:lnTo>
                  <a:pt x="392" y="3"/>
                </a:lnTo>
                <a:lnTo>
                  <a:pt x="392" y="3"/>
                </a:lnTo>
                <a:lnTo>
                  <a:pt x="393" y="2"/>
                </a:lnTo>
                <a:lnTo>
                  <a:pt x="394" y="2"/>
                </a:lnTo>
                <a:lnTo>
                  <a:pt x="395" y="2"/>
                </a:lnTo>
                <a:lnTo>
                  <a:pt x="395" y="2"/>
                </a:lnTo>
                <a:lnTo>
                  <a:pt x="396" y="2"/>
                </a:lnTo>
                <a:lnTo>
                  <a:pt x="396" y="4"/>
                </a:lnTo>
                <a:lnTo>
                  <a:pt x="398" y="6"/>
                </a:lnTo>
                <a:lnTo>
                  <a:pt x="400" y="8"/>
                </a:lnTo>
                <a:lnTo>
                  <a:pt x="401" y="10"/>
                </a:lnTo>
                <a:lnTo>
                  <a:pt x="401" y="11"/>
                </a:lnTo>
                <a:lnTo>
                  <a:pt x="402" y="14"/>
                </a:lnTo>
                <a:lnTo>
                  <a:pt x="403" y="15"/>
                </a:lnTo>
                <a:lnTo>
                  <a:pt x="403" y="15"/>
                </a:lnTo>
                <a:lnTo>
                  <a:pt x="403" y="16"/>
                </a:lnTo>
                <a:lnTo>
                  <a:pt x="404" y="16"/>
                </a:lnTo>
                <a:lnTo>
                  <a:pt x="405" y="16"/>
                </a:lnTo>
                <a:lnTo>
                  <a:pt x="405" y="16"/>
                </a:lnTo>
                <a:lnTo>
                  <a:pt x="406" y="16"/>
                </a:lnTo>
                <a:lnTo>
                  <a:pt x="407" y="16"/>
                </a:lnTo>
                <a:lnTo>
                  <a:pt x="410" y="15"/>
                </a:lnTo>
                <a:lnTo>
                  <a:pt x="411" y="15"/>
                </a:lnTo>
                <a:lnTo>
                  <a:pt x="412" y="15"/>
                </a:lnTo>
                <a:lnTo>
                  <a:pt x="414" y="14"/>
                </a:lnTo>
                <a:lnTo>
                  <a:pt x="415" y="13"/>
                </a:lnTo>
                <a:lnTo>
                  <a:pt x="416" y="12"/>
                </a:lnTo>
                <a:lnTo>
                  <a:pt x="417" y="11"/>
                </a:lnTo>
                <a:lnTo>
                  <a:pt x="418" y="10"/>
                </a:lnTo>
                <a:lnTo>
                  <a:pt x="418" y="11"/>
                </a:lnTo>
                <a:lnTo>
                  <a:pt x="418" y="12"/>
                </a:lnTo>
                <a:lnTo>
                  <a:pt x="420" y="14"/>
                </a:lnTo>
                <a:lnTo>
                  <a:pt x="421" y="15"/>
                </a:lnTo>
                <a:lnTo>
                  <a:pt x="422" y="17"/>
                </a:lnTo>
                <a:lnTo>
                  <a:pt x="423" y="19"/>
                </a:lnTo>
                <a:lnTo>
                  <a:pt x="423" y="20"/>
                </a:lnTo>
                <a:lnTo>
                  <a:pt x="424" y="21"/>
                </a:lnTo>
                <a:lnTo>
                  <a:pt x="424" y="22"/>
                </a:lnTo>
                <a:lnTo>
                  <a:pt x="424" y="24"/>
                </a:lnTo>
                <a:lnTo>
                  <a:pt x="424" y="25"/>
                </a:lnTo>
                <a:lnTo>
                  <a:pt x="424" y="25"/>
                </a:lnTo>
                <a:lnTo>
                  <a:pt x="424" y="26"/>
                </a:lnTo>
                <a:lnTo>
                  <a:pt x="423" y="27"/>
                </a:lnTo>
                <a:lnTo>
                  <a:pt x="423" y="28"/>
                </a:lnTo>
                <a:lnTo>
                  <a:pt x="421" y="31"/>
                </a:lnTo>
                <a:lnTo>
                  <a:pt x="419" y="33"/>
                </a:lnTo>
                <a:lnTo>
                  <a:pt x="418" y="34"/>
                </a:lnTo>
                <a:lnTo>
                  <a:pt x="417" y="38"/>
                </a:lnTo>
                <a:lnTo>
                  <a:pt x="416" y="39"/>
                </a:lnTo>
                <a:lnTo>
                  <a:pt x="416" y="40"/>
                </a:lnTo>
                <a:lnTo>
                  <a:pt x="415" y="41"/>
                </a:lnTo>
                <a:lnTo>
                  <a:pt x="415" y="42"/>
                </a:lnTo>
                <a:lnTo>
                  <a:pt x="415" y="43"/>
                </a:lnTo>
                <a:lnTo>
                  <a:pt x="415" y="43"/>
                </a:lnTo>
                <a:lnTo>
                  <a:pt x="415" y="44"/>
                </a:lnTo>
                <a:lnTo>
                  <a:pt x="416" y="45"/>
                </a:lnTo>
                <a:lnTo>
                  <a:pt x="416" y="45"/>
                </a:lnTo>
                <a:lnTo>
                  <a:pt x="417" y="45"/>
                </a:lnTo>
                <a:lnTo>
                  <a:pt x="417" y="46"/>
                </a:lnTo>
                <a:lnTo>
                  <a:pt x="418" y="46"/>
                </a:lnTo>
                <a:lnTo>
                  <a:pt x="419" y="46"/>
                </a:lnTo>
                <a:lnTo>
                  <a:pt x="423" y="47"/>
                </a:lnTo>
                <a:lnTo>
                  <a:pt x="424" y="47"/>
                </a:lnTo>
                <a:lnTo>
                  <a:pt x="425" y="48"/>
                </a:lnTo>
                <a:lnTo>
                  <a:pt x="426" y="47"/>
                </a:lnTo>
                <a:lnTo>
                  <a:pt x="427" y="47"/>
                </a:lnTo>
                <a:lnTo>
                  <a:pt x="428" y="47"/>
                </a:lnTo>
                <a:lnTo>
                  <a:pt x="430" y="46"/>
                </a:lnTo>
                <a:lnTo>
                  <a:pt x="433" y="45"/>
                </a:lnTo>
                <a:lnTo>
                  <a:pt x="435" y="44"/>
                </a:lnTo>
                <a:lnTo>
                  <a:pt x="436" y="44"/>
                </a:lnTo>
                <a:lnTo>
                  <a:pt x="437" y="44"/>
                </a:lnTo>
                <a:lnTo>
                  <a:pt x="440" y="44"/>
                </a:lnTo>
                <a:lnTo>
                  <a:pt x="442" y="44"/>
                </a:lnTo>
                <a:lnTo>
                  <a:pt x="443" y="44"/>
                </a:lnTo>
                <a:lnTo>
                  <a:pt x="446" y="44"/>
                </a:lnTo>
                <a:lnTo>
                  <a:pt x="449" y="45"/>
                </a:lnTo>
                <a:lnTo>
                  <a:pt x="451" y="45"/>
                </a:lnTo>
                <a:lnTo>
                  <a:pt x="452" y="45"/>
                </a:lnTo>
                <a:lnTo>
                  <a:pt x="453" y="45"/>
                </a:lnTo>
                <a:lnTo>
                  <a:pt x="457" y="44"/>
                </a:lnTo>
                <a:lnTo>
                  <a:pt x="459" y="44"/>
                </a:lnTo>
                <a:lnTo>
                  <a:pt x="460" y="44"/>
                </a:lnTo>
                <a:lnTo>
                  <a:pt x="461" y="45"/>
                </a:lnTo>
                <a:lnTo>
                  <a:pt x="462" y="45"/>
                </a:lnTo>
                <a:lnTo>
                  <a:pt x="463" y="45"/>
                </a:lnTo>
                <a:lnTo>
                  <a:pt x="465" y="46"/>
                </a:lnTo>
                <a:lnTo>
                  <a:pt x="466" y="47"/>
                </a:lnTo>
                <a:lnTo>
                  <a:pt x="467" y="47"/>
                </a:lnTo>
                <a:lnTo>
                  <a:pt x="467" y="48"/>
                </a:lnTo>
                <a:lnTo>
                  <a:pt x="467" y="48"/>
                </a:lnTo>
                <a:lnTo>
                  <a:pt x="467" y="48"/>
                </a:lnTo>
                <a:lnTo>
                  <a:pt x="467" y="49"/>
                </a:lnTo>
                <a:lnTo>
                  <a:pt x="467" y="49"/>
                </a:lnTo>
                <a:lnTo>
                  <a:pt x="464" y="50"/>
                </a:lnTo>
                <a:lnTo>
                  <a:pt x="463" y="51"/>
                </a:lnTo>
                <a:lnTo>
                  <a:pt x="462" y="51"/>
                </a:lnTo>
                <a:lnTo>
                  <a:pt x="462" y="52"/>
                </a:lnTo>
                <a:lnTo>
                  <a:pt x="461" y="52"/>
                </a:lnTo>
                <a:lnTo>
                  <a:pt x="461" y="53"/>
                </a:lnTo>
                <a:lnTo>
                  <a:pt x="461" y="53"/>
                </a:lnTo>
                <a:lnTo>
                  <a:pt x="461" y="54"/>
                </a:lnTo>
                <a:lnTo>
                  <a:pt x="461" y="54"/>
                </a:lnTo>
                <a:lnTo>
                  <a:pt x="461" y="54"/>
                </a:lnTo>
                <a:lnTo>
                  <a:pt x="462" y="55"/>
                </a:lnTo>
                <a:lnTo>
                  <a:pt x="462" y="55"/>
                </a:lnTo>
                <a:lnTo>
                  <a:pt x="462" y="56"/>
                </a:lnTo>
                <a:lnTo>
                  <a:pt x="464" y="57"/>
                </a:lnTo>
                <a:lnTo>
                  <a:pt x="465" y="58"/>
                </a:lnTo>
                <a:lnTo>
                  <a:pt x="466" y="59"/>
                </a:lnTo>
                <a:lnTo>
                  <a:pt x="467" y="60"/>
                </a:lnTo>
                <a:lnTo>
                  <a:pt x="472" y="62"/>
                </a:lnTo>
                <a:lnTo>
                  <a:pt x="475" y="64"/>
                </a:lnTo>
                <a:lnTo>
                  <a:pt x="477" y="65"/>
                </a:lnTo>
                <a:lnTo>
                  <a:pt x="482" y="69"/>
                </a:lnTo>
                <a:lnTo>
                  <a:pt x="484" y="70"/>
                </a:lnTo>
                <a:lnTo>
                  <a:pt x="485" y="71"/>
                </a:lnTo>
                <a:lnTo>
                  <a:pt x="487" y="72"/>
                </a:lnTo>
                <a:lnTo>
                  <a:pt x="488" y="72"/>
                </a:lnTo>
                <a:lnTo>
                  <a:pt x="490" y="73"/>
                </a:lnTo>
                <a:lnTo>
                  <a:pt x="491" y="73"/>
                </a:lnTo>
                <a:lnTo>
                  <a:pt x="493" y="74"/>
                </a:lnTo>
                <a:lnTo>
                  <a:pt x="495" y="74"/>
                </a:lnTo>
                <a:lnTo>
                  <a:pt x="497" y="74"/>
                </a:lnTo>
                <a:lnTo>
                  <a:pt x="499" y="74"/>
                </a:lnTo>
                <a:lnTo>
                  <a:pt x="501" y="74"/>
                </a:lnTo>
                <a:lnTo>
                  <a:pt x="502" y="74"/>
                </a:lnTo>
                <a:lnTo>
                  <a:pt x="504" y="74"/>
                </a:lnTo>
                <a:lnTo>
                  <a:pt x="506" y="73"/>
                </a:lnTo>
                <a:lnTo>
                  <a:pt x="507" y="73"/>
                </a:lnTo>
                <a:lnTo>
                  <a:pt x="512" y="72"/>
                </a:lnTo>
                <a:lnTo>
                  <a:pt x="514" y="72"/>
                </a:lnTo>
                <a:lnTo>
                  <a:pt x="515" y="71"/>
                </a:lnTo>
                <a:lnTo>
                  <a:pt x="517" y="71"/>
                </a:lnTo>
                <a:lnTo>
                  <a:pt x="518" y="72"/>
                </a:lnTo>
                <a:lnTo>
                  <a:pt x="520" y="72"/>
                </a:lnTo>
                <a:lnTo>
                  <a:pt x="521" y="72"/>
                </a:lnTo>
                <a:lnTo>
                  <a:pt x="522" y="73"/>
                </a:lnTo>
                <a:lnTo>
                  <a:pt x="523" y="74"/>
                </a:lnTo>
                <a:lnTo>
                  <a:pt x="524" y="74"/>
                </a:lnTo>
                <a:lnTo>
                  <a:pt x="525" y="75"/>
                </a:lnTo>
                <a:lnTo>
                  <a:pt x="526" y="77"/>
                </a:lnTo>
                <a:lnTo>
                  <a:pt x="530" y="81"/>
                </a:lnTo>
                <a:lnTo>
                  <a:pt x="532" y="83"/>
                </a:lnTo>
                <a:lnTo>
                  <a:pt x="533" y="84"/>
                </a:lnTo>
                <a:lnTo>
                  <a:pt x="536" y="87"/>
                </a:lnTo>
                <a:lnTo>
                  <a:pt x="540" y="91"/>
                </a:lnTo>
                <a:lnTo>
                  <a:pt x="541" y="92"/>
                </a:lnTo>
                <a:lnTo>
                  <a:pt x="542" y="92"/>
                </a:lnTo>
                <a:lnTo>
                  <a:pt x="544" y="93"/>
                </a:lnTo>
                <a:lnTo>
                  <a:pt x="545" y="93"/>
                </a:lnTo>
                <a:lnTo>
                  <a:pt x="550" y="94"/>
                </a:lnTo>
                <a:lnTo>
                  <a:pt x="551" y="94"/>
                </a:lnTo>
                <a:lnTo>
                  <a:pt x="552" y="95"/>
                </a:lnTo>
                <a:lnTo>
                  <a:pt x="554" y="95"/>
                </a:lnTo>
                <a:lnTo>
                  <a:pt x="555" y="96"/>
                </a:lnTo>
                <a:lnTo>
                  <a:pt x="556" y="97"/>
                </a:lnTo>
                <a:lnTo>
                  <a:pt x="557" y="97"/>
                </a:lnTo>
                <a:lnTo>
                  <a:pt x="558" y="98"/>
                </a:lnTo>
                <a:lnTo>
                  <a:pt x="558" y="99"/>
                </a:lnTo>
                <a:lnTo>
                  <a:pt x="559" y="99"/>
                </a:lnTo>
                <a:lnTo>
                  <a:pt x="559" y="100"/>
                </a:lnTo>
                <a:lnTo>
                  <a:pt x="559" y="101"/>
                </a:lnTo>
                <a:lnTo>
                  <a:pt x="559" y="102"/>
                </a:lnTo>
                <a:lnTo>
                  <a:pt x="560" y="106"/>
                </a:lnTo>
                <a:lnTo>
                  <a:pt x="560" y="107"/>
                </a:lnTo>
                <a:lnTo>
                  <a:pt x="561" y="107"/>
                </a:lnTo>
                <a:lnTo>
                  <a:pt x="561" y="108"/>
                </a:lnTo>
                <a:lnTo>
                  <a:pt x="561" y="108"/>
                </a:lnTo>
                <a:lnTo>
                  <a:pt x="562" y="108"/>
                </a:lnTo>
                <a:lnTo>
                  <a:pt x="562" y="109"/>
                </a:lnTo>
                <a:lnTo>
                  <a:pt x="563" y="109"/>
                </a:lnTo>
                <a:lnTo>
                  <a:pt x="567" y="110"/>
                </a:lnTo>
                <a:lnTo>
                  <a:pt x="571" y="111"/>
                </a:lnTo>
                <a:lnTo>
                  <a:pt x="574" y="112"/>
                </a:lnTo>
                <a:lnTo>
                  <a:pt x="576" y="113"/>
                </a:lnTo>
                <a:lnTo>
                  <a:pt x="579" y="114"/>
                </a:lnTo>
                <a:lnTo>
                  <a:pt x="588" y="119"/>
                </a:lnTo>
                <a:lnTo>
                  <a:pt x="589" y="120"/>
                </a:lnTo>
                <a:lnTo>
                  <a:pt x="590" y="120"/>
                </a:lnTo>
                <a:lnTo>
                  <a:pt x="590" y="121"/>
                </a:lnTo>
                <a:lnTo>
                  <a:pt x="591" y="121"/>
                </a:lnTo>
                <a:lnTo>
                  <a:pt x="591" y="122"/>
                </a:lnTo>
                <a:lnTo>
                  <a:pt x="591" y="123"/>
                </a:lnTo>
                <a:lnTo>
                  <a:pt x="591" y="130"/>
                </a:lnTo>
                <a:lnTo>
                  <a:pt x="591" y="132"/>
                </a:lnTo>
                <a:lnTo>
                  <a:pt x="592" y="137"/>
                </a:lnTo>
                <a:lnTo>
                  <a:pt x="592" y="143"/>
                </a:lnTo>
                <a:lnTo>
                  <a:pt x="593" y="145"/>
                </a:lnTo>
                <a:lnTo>
                  <a:pt x="593" y="150"/>
                </a:lnTo>
                <a:lnTo>
                  <a:pt x="593" y="152"/>
                </a:lnTo>
                <a:lnTo>
                  <a:pt x="593" y="153"/>
                </a:lnTo>
                <a:lnTo>
                  <a:pt x="593" y="154"/>
                </a:lnTo>
                <a:lnTo>
                  <a:pt x="592" y="155"/>
                </a:lnTo>
                <a:lnTo>
                  <a:pt x="592" y="156"/>
                </a:lnTo>
                <a:lnTo>
                  <a:pt x="592" y="157"/>
                </a:lnTo>
                <a:lnTo>
                  <a:pt x="591" y="158"/>
                </a:lnTo>
                <a:lnTo>
                  <a:pt x="588" y="160"/>
                </a:lnTo>
                <a:lnTo>
                  <a:pt x="588" y="160"/>
                </a:lnTo>
                <a:lnTo>
                  <a:pt x="587" y="161"/>
                </a:lnTo>
                <a:lnTo>
                  <a:pt x="586" y="162"/>
                </a:lnTo>
                <a:lnTo>
                  <a:pt x="586" y="163"/>
                </a:lnTo>
                <a:lnTo>
                  <a:pt x="585" y="165"/>
                </a:lnTo>
                <a:lnTo>
                  <a:pt x="584" y="168"/>
                </a:lnTo>
                <a:lnTo>
                  <a:pt x="583" y="172"/>
                </a:lnTo>
                <a:lnTo>
                  <a:pt x="582" y="174"/>
                </a:lnTo>
                <a:lnTo>
                  <a:pt x="582" y="176"/>
                </a:lnTo>
                <a:lnTo>
                  <a:pt x="581" y="182"/>
                </a:lnTo>
                <a:lnTo>
                  <a:pt x="581" y="183"/>
                </a:lnTo>
                <a:lnTo>
                  <a:pt x="581" y="186"/>
                </a:lnTo>
                <a:lnTo>
                  <a:pt x="582" y="189"/>
                </a:lnTo>
                <a:lnTo>
                  <a:pt x="582" y="191"/>
                </a:lnTo>
                <a:lnTo>
                  <a:pt x="582" y="192"/>
                </a:lnTo>
                <a:lnTo>
                  <a:pt x="581" y="194"/>
                </a:lnTo>
                <a:lnTo>
                  <a:pt x="581" y="195"/>
                </a:lnTo>
                <a:lnTo>
                  <a:pt x="581" y="197"/>
                </a:lnTo>
                <a:lnTo>
                  <a:pt x="580" y="199"/>
                </a:lnTo>
                <a:lnTo>
                  <a:pt x="579" y="203"/>
                </a:lnTo>
                <a:lnTo>
                  <a:pt x="578" y="204"/>
                </a:lnTo>
                <a:lnTo>
                  <a:pt x="578" y="205"/>
                </a:lnTo>
                <a:lnTo>
                  <a:pt x="578" y="206"/>
                </a:lnTo>
                <a:lnTo>
                  <a:pt x="578" y="207"/>
                </a:lnTo>
                <a:lnTo>
                  <a:pt x="578" y="209"/>
                </a:lnTo>
                <a:lnTo>
                  <a:pt x="578" y="213"/>
                </a:lnTo>
                <a:lnTo>
                  <a:pt x="578" y="215"/>
                </a:lnTo>
                <a:lnTo>
                  <a:pt x="578" y="216"/>
                </a:lnTo>
                <a:lnTo>
                  <a:pt x="577" y="218"/>
                </a:lnTo>
                <a:lnTo>
                  <a:pt x="577" y="219"/>
                </a:lnTo>
                <a:lnTo>
                  <a:pt x="577" y="221"/>
                </a:lnTo>
                <a:lnTo>
                  <a:pt x="576" y="223"/>
                </a:lnTo>
                <a:lnTo>
                  <a:pt x="576" y="224"/>
                </a:lnTo>
                <a:lnTo>
                  <a:pt x="576" y="225"/>
                </a:lnTo>
                <a:lnTo>
                  <a:pt x="576" y="226"/>
                </a:lnTo>
                <a:lnTo>
                  <a:pt x="577" y="226"/>
                </a:lnTo>
                <a:lnTo>
                  <a:pt x="577" y="227"/>
                </a:lnTo>
                <a:lnTo>
                  <a:pt x="579" y="228"/>
                </a:lnTo>
                <a:lnTo>
                  <a:pt x="580" y="228"/>
                </a:lnTo>
                <a:lnTo>
                  <a:pt x="581" y="229"/>
                </a:lnTo>
                <a:lnTo>
                  <a:pt x="582" y="230"/>
                </a:lnTo>
                <a:lnTo>
                  <a:pt x="582" y="231"/>
                </a:lnTo>
                <a:lnTo>
                  <a:pt x="582" y="232"/>
                </a:lnTo>
                <a:lnTo>
                  <a:pt x="582" y="233"/>
                </a:lnTo>
                <a:lnTo>
                  <a:pt x="582" y="233"/>
                </a:lnTo>
                <a:lnTo>
                  <a:pt x="582" y="234"/>
                </a:lnTo>
                <a:lnTo>
                  <a:pt x="581" y="235"/>
                </a:lnTo>
                <a:lnTo>
                  <a:pt x="581" y="236"/>
                </a:lnTo>
                <a:lnTo>
                  <a:pt x="580" y="236"/>
                </a:lnTo>
                <a:lnTo>
                  <a:pt x="578" y="238"/>
                </a:lnTo>
                <a:lnTo>
                  <a:pt x="574" y="241"/>
                </a:lnTo>
                <a:lnTo>
                  <a:pt x="573" y="243"/>
                </a:lnTo>
                <a:lnTo>
                  <a:pt x="571" y="244"/>
                </a:lnTo>
                <a:lnTo>
                  <a:pt x="570" y="245"/>
                </a:lnTo>
                <a:lnTo>
                  <a:pt x="568" y="249"/>
                </a:lnTo>
                <a:lnTo>
                  <a:pt x="567" y="250"/>
                </a:lnTo>
                <a:lnTo>
                  <a:pt x="566" y="251"/>
                </a:lnTo>
                <a:lnTo>
                  <a:pt x="565" y="251"/>
                </a:lnTo>
                <a:lnTo>
                  <a:pt x="565" y="252"/>
                </a:lnTo>
                <a:lnTo>
                  <a:pt x="564" y="252"/>
                </a:lnTo>
                <a:lnTo>
                  <a:pt x="563" y="252"/>
                </a:lnTo>
                <a:lnTo>
                  <a:pt x="562" y="252"/>
                </a:lnTo>
                <a:lnTo>
                  <a:pt x="562" y="252"/>
                </a:lnTo>
                <a:lnTo>
                  <a:pt x="561" y="252"/>
                </a:lnTo>
                <a:lnTo>
                  <a:pt x="560" y="252"/>
                </a:lnTo>
                <a:lnTo>
                  <a:pt x="559" y="251"/>
                </a:lnTo>
                <a:lnTo>
                  <a:pt x="555" y="249"/>
                </a:lnTo>
                <a:lnTo>
                  <a:pt x="554" y="249"/>
                </a:lnTo>
                <a:lnTo>
                  <a:pt x="554" y="248"/>
                </a:lnTo>
                <a:lnTo>
                  <a:pt x="553" y="248"/>
                </a:lnTo>
                <a:lnTo>
                  <a:pt x="552" y="248"/>
                </a:lnTo>
                <a:lnTo>
                  <a:pt x="550" y="248"/>
                </a:lnTo>
                <a:lnTo>
                  <a:pt x="549" y="249"/>
                </a:lnTo>
                <a:lnTo>
                  <a:pt x="548" y="249"/>
                </a:lnTo>
                <a:lnTo>
                  <a:pt x="547" y="250"/>
                </a:lnTo>
                <a:lnTo>
                  <a:pt x="545" y="251"/>
                </a:lnTo>
                <a:lnTo>
                  <a:pt x="543" y="251"/>
                </a:lnTo>
                <a:lnTo>
                  <a:pt x="542" y="252"/>
                </a:lnTo>
                <a:lnTo>
                  <a:pt x="540" y="254"/>
                </a:lnTo>
                <a:lnTo>
                  <a:pt x="539" y="254"/>
                </a:lnTo>
                <a:lnTo>
                  <a:pt x="538" y="256"/>
                </a:lnTo>
                <a:lnTo>
                  <a:pt x="537" y="257"/>
                </a:lnTo>
                <a:lnTo>
                  <a:pt x="535" y="258"/>
                </a:lnTo>
                <a:lnTo>
                  <a:pt x="534" y="259"/>
                </a:lnTo>
                <a:lnTo>
                  <a:pt x="533" y="261"/>
                </a:lnTo>
                <a:lnTo>
                  <a:pt x="529" y="266"/>
                </a:lnTo>
                <a:lnTo>
                  <a:pt x="528" y="268"/>
                </a:lnTo>
                <a:lnTo>
                  <a:pt x="527" y="269"/>
                </a:lnTo>
                <a:lnTo>
                  <a:pt x="527" y="270"/>
                </a:lnTo>
                <a:lnTo>
                  <a:pt x="526" y="271"/>
                </a:lnTo>
                <a:lnTo>
                  <a:pt x="526" y="273"/>
                </a:lnTo>
                <a:lnTo>
                  <a:pt x="526" y="274"/>
                </a:lnTo>
                <a:lnTo>
                  <a:pt x="526" y="275"/>
                </a:lnTo>
                <a:lnTo>
                  <a:pt x="526" y="276"/>
                </a:lnTo>
                <a:lnTo>
                  <a:pt x="526" y="277"/>
                </a:lnTo>
                <a:lnTo>
                  <a:pt x="527" y="278"/>
                </a:lnTo>
                <a:lnTo>
                  <a:pt x="527" y="278"/>
                </a:lnTo>
                <a:lnTo>
                  <a:pt x="528" y="279"/>
                </a:lnTo>
                <a:lnTo>
                  <a:pt x="528" y="279"/>
                </a:lnTo>
                <a:lnTo>
                  <a:pt x="529" y="279"/>
                </a:lnTo>
                <a:lnTo>
                  <a:pt x="530" y="279"/>
                </a:lnTo>
                <a:lnTo>
                  <a:pt x="531" y="279"/>
                </a:lnTo>
                <a:lnTo>
                  <a:pt x="533" y="279"/>
                </a:lnTo>
                <a:lnTo>
                  <a:pt x="535" y="279"/>
                </a:lnTo>
                <a:lnTo>
                  <a:pt x="537" y="279"/>
                </a:lnTo>
                <a:lnTo>
                  <a:pt x="538" y="279"/>
                </a:lnTo>
                <a:lnTo>
                  <a:pt x="540" y="279"/>
                </a:lnTo>
                <a:lnTo>
                  <a:pt x="541" y="279"/>
                </a:lnTo>
                <a:lnTo>
                  <a:pt x="542" y="280"/>
                </a:lnTo>
                <a:lnTo>
                  <a:pt x="542" y="280"/>
                </a:lnTo>
                <a:lnTo>
                  <a:pt x="543" y="281"/>
                </a:lnTo>
                <a:lnTo>
                  <a:pt x="543" y="281"/>
                </a:lnTo>
                <a:lnTo>
                  <a:pt x="543" y="282"/>
                </a:lnTo>
                <a:lnTo>
                  <a:pt x="544" y="282"/>
                </a:lnTo>
                <a:lnTo>
                  <a:pt x="543" y="283"/>
                </a:lnTo>
                <a:lnTo>
                  <a:pt x="543" y="283"/>
                </a:lnTo>
                <a:lnTo>
                  <a:pt x="542" y="284"/>
                </a:lnTo>
                <a:lnTo>
                  <a:pt x="542" y="284"/>
                </a:lnTo>
                <a:lnTo>
                  <a:pt x="540" y="285"/>
                </a:lnTo>
                <a:lnTo>
                  <a:pt x="535" y="288"/>
                </a:lnTo>
                <a:lnTo>
                  <a:pt x="534" y="288"/>
                </a:lnTo>
                <a:lnTo>
                  <a:pt x="534" y="288"/>
                </a:lnTo>
                <a:lnTo>
                  <a:pt x="534" y="289"/>
                </a:lnTo>
                <a:lnTo>
                  <a:pt x="534" y="289"/>
                </a:lnTo>
                <a:lnTo>
                  <a:pt x="534" y="290"/>
                </a:lnTo>
                <a:lnTo>
                  <a:pt x="534" y="291"/>
                </a:lnTo>
                <a:lnTo>
                  <a:pt x="534" y="292"/>
                </a:lnTo>
                <a:lnTo>
                  <a:pt x="534" y="292"/>
                </a:lnTo>
                <a:lnTo>
                  <a:pt x="535" y="293"/>
                </a:lnTo>
                <a:lnTo>
                  <a:pt x="535" y="294"/>
                </a:lnTo>
                <a:lnTo>
                  <a:pt x="537" y="296"/>
                </a:lnTo>
                <a:lnTo>
                  <a:pt x="538" y="297"/>
                </a:lnTo>
                <a:lnTo>
                  <a:pt x="538" y="298"/>
                </a:lnTo>
                <a:lnTo>
                  <a:pt x="539" y="299"/>
                </a:lnTo>
                <a:lnTo>
                  <a:pt x="539" y="300"/>
                </a:lnTo>
                <a:lnTo>
                  <a:pt x="540" y="301"/>
                </a:lnTo>
                <a:lnTo>
                  <a:pt x="540" y="301"/>
                </a:lnTo>
                <a:lnTo>
                  <a:pt x="539" y="302"/>
                </a:lnTo>
                <a:lnTo>
                  <a:pt x="539" y="302"/>
                </a:lnTo>
                <a:lnTo>
                  <a:pt x="539" y="303"/>
                </a:lnTo>
                <a:lnTo>
                  <a:pt x="538" y="303"/>
                </a:lnTo>
                <a:lnTo>
                  <a:pt x="537" y="304"/>
                </a:lnTo>
                <a:lnTo>
                  <a:pt x="536" y="304"/>
                </a:lnTo>
                <a:lnTo>
                  <a:pt x="535" y="304"/>
                </a:lnTo>
                <a:lnTo>
                  <a:pt x="533" y="304"/>
                </a:lnTo>
                <a:lnTo>
                  <a:pt x="532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5"/>
                </a:lnTo>
                <a:lnTo>
                  <a:pt x="531" y="306"/>
                </a:lnTo>
                <a:lnTo>
                  <a:pt x="532" y="306"/>
                </a:lnTo>
                <a:lnTo>
                  <a:pt x="533" y="307"/>
                </a:lnTo>
                <a:lnTo>
                  <a:pt x="535" y="308"/>
                </a:lnTo>
                <a:lnTo>
                  <a:pt x="536" y="309"/>
                </a:lnTo>
                <a:lnTo>
                  <a:pt x="537" y="310"/>
                </a:lnTo>
                <a:lnTo>
                  <a:pt x="537" y="310"/>
                </a:lnTo>
                <a:lnTo>
                  <a:pt x="538" y="311"/>
                </a:lnTo>
                <a:lnTo>
                  <a:pt x="538" y="312"/>
                </a:lnTo>
                <a:lnTo>
                  <a:pt x="538" y="313"/>
                </a:lnTo>
                <a:lnTo>
                  <a:pt x="537" y="314"/>
                </a:lnTo>
                <a:lnTo>
                  <a:pt x="537" y="314"/>
                </a:lnTo>
                <a:lnTo>
                  <a:pt x="537" y="315"/>
                </a:lnTo>
                <a:lnTo>
                  <a:pt x="537" y="315"/>
                </a:lnTo>
                <a:lnTo>
                  <a:pt x="538" y="315"/>
                </a:lnTo>
                <a:lnTo>
                  <a:pt x="538" y="316"/>
                </a:lnTo>
                <a:lnTo>
                  <a:pt x="539" y="316"/>
                </a:lnTo>
                <a:lnTo>
                  <a:pt x="539" y="316"/>
                </a:lnTo>
                <a:lnTo>
                  <a:pt x="540" y="316"/>
                </a:lnTo>
                <a:lnTo>
                  <a:pt x="541" y="316"/>
                </a:lnTo>
                <a:lnTo>
                  <a:pt x="544" y="316"/>
                </a:lnTo>
                <a:lnTo>
                  <a:pt x="546" y="316"/>
                </a:lnTo>
                <a:lnTo>
                  <a:pt x="547" y="317"/>
                </a:lnTo>
                <a:lnTo>
                  <a:pt x="549" y="317"/>
                </a:lnTo>
                <a:lnTo>
                  <a:pt x="550" y="318"/>
                </a:lnTo>
                <a:lnTo>
                  <a:pt x="552" y="318"/>
                </a:lnTo>
                <a:lnTo>
                  <a:pt x="553" y="319"/>
                </a:lnTo>
                <a:lnTo>
                  <a:pt x="554" y="320"/>
                </a:lnTo>
                <a:lnTo>
                  <a:pt x="554" y="320"/>
                </a:lnTo>
                <a:lnTo>
                  <a:pt x="555" y="321"/>
                </a:lnTo>
                <a:lnTo>
                  <a:pt x="555" y="322"/>
                </a:lnTo>
                <a:lnTo>
                  <a:pt x="556" y="322"/>
                </a:lnTo>
                <a:lnTo>
                  <a:pt x="556" y="324"/>
                </a:lnTo>
                <a:lnTo>
                  <a:pt x="556" y="326"/>
                </a:lnTo>
                <a:lnTo>
                  <a:pt x="556" y="329"/>
                </a:lnTo>
                <a:lnTo>
                  <a:pt x="556" y="331"/>
                </a:lnTo>
                <a:lnTo>
                  <a:pt x="556" y="334"/>
                </a:lnTo>
                <a:lnTo>
                  <a:pt x="556" y="335"/>
                </a:lnTo>
                <a:lnTo>
                  <a:pt x="555" y="337"/>
                </a:lnTo>
                <a:lnTo>
                  <a:pt x="554" y="343"/>
                </a:lnTo>
                <a:lnTo>
                  <a:pt x="554" y="345"/>
                </a:lnTo>
                <a:lnTo>
                  <a:pt x="553" y="347"/>
                </a:lnTo>
                <a:lnTo>
                  <a:pt x="553" y="352"/>
                </a:lnTo>
                <a:lnTo>
                  <a:pt x="553" y="356"/>
                </a:lnTo>
                <a:lnTo>
                  <a:pt x="553" y="357"/>
                </a:lnTo>
                <a:lnTo>
                  <a:pt x="553" y="363"/>
                </a:lnTo>
                <a:lnTo>
                  <a:pt x="553" y="364"/>
                </a:lnTo>
                <a:lnTo>
                  <a:pt x="553" y="365"/>
                </a:lnTo>
                <a:lnTo>
                  <a:pt x="553" y="365"/>
                </a:lnTo>
                <a:lnTo>
                  <a:pt x="553" y="366"/>
                </a:lnTo>
                <a:lnTo>
                  <a:pt x="554" y="366"/>
                </a:lnTo>
                <a:lnTo>
                  <a:pt x="554" y="367"/>
                </a:lnTo>
                <a:lnTo>
                  <a:pt x="556" y="368"/>
                </a:lnTo>
                <a:lnTo>
                  <a:pt x="557" y="368"/>
                </a:lnTo>
                <a:lnTo>
                  <a:pt x="558" y="369"/>
                </a:lnTo>
                <a:lnTo>
                  <a:pt x="559" y="370"/>
                </a:lnTo>
                <a:lnTo>
                  <a:pt x="560" y="371"/>
                </a:lnTo>
                <a:lnTo>
                  <a:pt x="561" y="372"/>
                </a:lnTo>
                <a:lnTo>
                  <a:pt x="561" y="373"/>
                </a:lnTo>
                <a:lnTo>
                  <a:pt x="562" y="375"/>
                </a:lnTo>
                <a:lnTo>
                  <a:pt x="562" y="377"/>
                </a:lnTo>
                <a:lnTo>
                  <a:pt x="563" y="379"/>
                </a:lnTo>
                <a:lnTo>
                  <a:pt x="563" y="380"/>
                </a:lnTo>
                <a:lnTo>
                  <a:pt x="563" y="382"/>
                </a:lnTo>
                <a:lnTo>
                  <a:pt x="563" y="384"/>
                </a:lnTo>
                <a:lnTo>
                  <a:pt x="563" y="386"/>
                </a:lnTo>
                <a:lnTo>
                  <a:pt x="563" y="388"/>
                </a:lnTo>
                <a:lnTo>
                  <a:pt x="563" y="390"/>
                </a:lnTo>
                <a:lnTo>
                  <a:pt x="562" y="390"/>
                </a:lnTo>
                <a:lnTo>
                  <a:pt x="562" y="390"/>
                </a:lnTo>
                <a:lnTo>
                  <a:pt x="561" y="390"/>
                </a:lnTo>
                <a:lnTo>
                  <a:pt x="561" y="391"/>
                </a:lnTo>
                <a:lnTo>
                  <a:pt x="560" y="392"/>
                </a:lnTo>
                <a:lnTo>
                  <a:pt x="560" y="393"/>
                </a:lnTo>
                <a:lnTo>
                  <a:pt x="559" y="394"/>
                </a:lnTo>
                <a:lnTo>
                  <a:pt x="559" y="395"/>
                </a:lnTo>
                <a:lnTo>
                  <a:pt x="557" y="401"/>
                </a:lnTo>
                <a:lnTo>
                  <a:pt x="557" y="403"/>
                </a:lnTo>
                <a:lnTo>
                  <a:pt x="557" y="403"/>
                </a:lnTo>
                <a:lnTo>
                  <a:pt x="557" y="404"/>
                </a:lnTo>
                <a:lnTo>
                  <a:pt x="557" y="405"/>
                </a:lnTo>
                <a:lnTo>
                  <a:pt x="557" y="405"/>
                </a:lnTo>
                <a:lnTo>
                  <a:pt x="557" y="406"/>
                </a:lnTo>
                <a:lnTo>
                  <a:pt x="557" y="407"/>
                </a:lnTo>
                <a:lnTo>
                  <a:pt x="558" y="408"/>
                </a:lnTo>
                <a:lnTo>
                  <a:pt x="560" y="410"/>
                </a:lnTo>
                <a:lnTo>
                  <a:pt x="560" y="410"/>
                </a:lnTo>
                <a:lnTo>
                  <a:pt x="560" y="411"/>
                </a:lnTo>
                <a:lnTo>
                  <a:pt x="561" y="412"/>
                </a:lnTo>
                <a:lnTo>
                  <a:pt x="561" y="414"/>
                </a:lnTo>
                <a:lnTo>
                  <a:pt x="561" y="416"/>
                </a:lnTo>
                <a:lnTo>
                  <a:pt x="562" y="417"/>
                </a:lnTo>
                <a:lnTo>
                  <a:pt x="562" y="423"/>
                </a:lnTo>
                <a:lnTo>
                  <a:pt x="562" y="425"/>
                </a:lnTo>
                <a:lnTo>
                  <a:pt x="563" y="428"/>
                </a:lnTo>
                <a:lnTo>
                  <a:pt x="563" y="429"/>
                </a:lnTo>
                <a:lnTo>
                  <a:pt x="564" y="431"/>
                </a:lnTo>
                <a:lnTo>
                  <a:pt x="565" y="434"/>
                </a:lnTo>
                <a:lnTo>
                  <a:pt x="566" y="437"/>
                </a:lnTo>
                <a:lnTo>
                  <a:pt x="567" y="438"/>
                </a:lnTo>
                <a:lnTo>
                  <a:pt x="567" y="440"/>
                </a:lnTo>
                <a:lnTo>
                  <a:pt x="568" y="441"/>
                </a:lnTo>
                <a:lnTo>
                  <a:pt x="568" y="441"/>
                </a:lnTo>
                <a:lnTo>
                  <a:pt x="568" y="442"/>
                </a:lnTo>
                <a:lnTo>
                  <a:pt x="567" y="443"/>
                </a:lnTo>
                <a:lnTo>
                  <a:pt x="564" y="448"/>
                </a:lnTo>
                <a:lnTo>
                  <a:pt x="563" y="449"/>
                </a:lnTo>
                <a:lnTo>
                  <a:pt x="562" y="451"/>
                </a:lnTo>
                <a:lnTo>
                  <a:pt x="561" y="453"/>
                </a:lnTo>
                <a:lnTo>
                  <a:pt x="561" y="454"/>
                </a:lnTo>
                <a:lnTo>
                  <a:pt x="561" y="456"/>
                </a:lnTo>
                <a:lnTo>
                  <a:pt x="560" y="460"/>
                </a:lnTo>
                <a:lnTo>
                  <a:pt x="560" y="462"/>
                </a:lnTo>
                <a:lnTo>
                  <a:pt x="560" y="464"/>
                </a:lnTo>
                <a:lnTo>
                  <a:pt x="560" y="466"/>
                </a:lnTo>
                <a:lnTo>
                  <a:pt x="561" y="469"/>
                </a:lnTo>
                <a:lnTo>
                  <a:pt x="561" y="471"/>
                </a:lnTo>
                <a:lnTo>
                  <a:pt x="562" y="473"/>
                </a:lnTo>
                <a:lnTo>
                  <a:pt x="564" y="477"/>
                </a:lnTo>
                <a:lnTo>
                  <a:pt x="565" y="479"/>
                </a:lnTo>
                <a:lnTo>
                  <a:pt x="566" y="480"/>
                </a:lnTo>
                <a:lnTo>
                  <a:pt x="568" y="483"/>
                </a:lnTo>
                <a:lnTo>
                  <a:pt x="569" y="483"/>
                </a:lnTo>
                <a:lnTo>
                  <a:pt x="569" y="484"/>
                </a:lnTo>
                <a:lnTo>
                  <a:pt x="570" y="485"/>
                </a:lnTo>
                <a:lnTo>
                  <a:pt x="570" y="487"/>
                </a:lnTo>
                <a:lnTo>
                  <a:pt x="570" y="488"/>
                </a:lnTo>
                <a:lnTo>
                  <a:pt x="569" y="489"/>
                </a:lnTo>
                <a:lnTo>
                  <a:pt x="569" y="492"/>
                </a:lnTo>
                <a:lnTo>
                  <a:pt x="568" y="494"/>
                </a:lnTo>
                <a:lnTo>
                  <a:pt x="568" y="495"/>
                </a:lnTo>
                <a:lnTo>
                  <a:pt x="567" y="496"/>
                </a:lnTo>
                <a:lnTo>
                  <a:pt x="565" y="499"/>
                </a:lnTo>
                <a:lnTo>
                  <a:pt x="564" y="501"/>
                </a:lnTo>
                <a:lnTo>
                  <a:pt x="563" y="503"/>
                </a:lnTo>
                <a:lnTo>
                  <a:pt x="562" y="507"/>
                </a:lnTo>
                <a:lnTo>
                  <a:pt x="561" y="509"/>
                </a:lnTo>
                <a:lnTo>
                  <a:pt x="560" y="510"/>
                </a:lnTo>
                <a:lnTo>
                  <a:pt x="560" y="512"/>
                </a:lnTo>
                <a:lnTo>
                  <a:pt x="559" y="512"/>
                </a:lnTo>
                <a:lnTo>
                  <a:pt x="558" y="513"/>
                </a:lnTo>
                <a:lnTo>
                  <a:pt x="554" y="516"/>
                </a:lnTo>
                <a:lnTo>
                  <a:pt x="551" y="518"/>
                </a:lnTo>
                <a:lnTo>
                  <a:pt x="549" y="520"/>
                </a:lnTo>
                <a:lnTo>
                  <a:pt x="548" y="521"/>
                </a:lnTo>
                <a:lnTo>
                  <a:pt x="546" y="523"/>
                </a:lnTo>
                <a:lnTo>
                  <a:pt x="545" y="524"/>
                </a:lnTo>
                <a:lnTo>
                  <a:pt x="544" y="525"/>
                </a:lnTo>
                <a:lnTo>
                  <a:pt x="544" y="526"/>
                </a:lnTo>
                <a:lnTo>
                  <a:pt x="544" y="528"/>
                </a:lnTo>
                <a:lnTo>
                  <a:pt x="543" y="529"/>
                </a:lnTo>
                <a:lnTo>
                  <a:pt x="543" y="530"/>
                </a:lnTo>
                <a:lnTo>
                  <a:pt x="543" y="531"/>
                </a:lnTo>
                <a:lnTo>
                  <a:pt x="543" y="533"/>
                </a:lnTo>
                <a:lnTo>
                  <a:pt x="544" y="535"/>
                </a:lnTo>
                <a:lnTo>
                  <a:pt x="544" y="536"/>
                </a:lnTo>
                <a:lnTo>
                  <a:pt x="544" y="537"/>
                </a:lnTo>
                <a:lnTo>
                  <a:pt x="544" y="538"/>
                </a:lnTo>
                <a:lnTo>
                  <a:pt x="543" y="538"/>
                </a:lnTo>
                <a:lnTo>
                  <a:pt x="543" y="539"/>
                </a:lnTo>
                <a:lnTo>
                  <a:pt x="543" y="540"/>
                </a:lnTo>
                <a:lnTo>
                  <a:pt x="542" y="541"/>
                </a:lnTo>
                <a:lnTo>
                  <a:pt x="542" y="541"/>
                </a:lnTo>
                <a:lnTo>
                  <a:pt x="541" y="542"/>
                </a:lnTo>
                <a:lnTo>
                  <a:pt x="541" y="542"/>
                </a:lnTo>
                <a:lnTo>
                  <a:pt x="540" y="543"/>
                </a:lnTo>
                <a:lnTo>
                  <a:pt x="537" y="545"/>
                </a:lnTo>
                <a:lnTo>
                  <a:pt x="536" y="545"/>
                </a:lnTo>
                <a:lnTo>
                  <a:pt x="536" y="545"/>
                </a:lnTo>
                <a:lnTo>
                  <a:pt x="535" y="546"/>
                </a:lnTo>
                <a:lnTo>
                  <a:pt x="535" y="546"/>
                </a:lnTo>
                <a:lnTo>
                  <a:pt x="535" y="547"/>
                </a:lnTo>
                <a:lnTo>
                  <a:pt x="535" y="547"/>
                </a:lnTo>
                <a:lnTo>
                  <a:pt x="535" y="548"/>
                </a:lnTo>
                <a:lnTo>
                  <a:pt x="535" y="549"/>
                </a:lnTo>
                <a:lnTo>
                  <a:pt x="535" y="550"/>
                </a:lnTo>
                <a:lnTo>
                  <a:pt x="535" y="550"/>
                </a:lnTo>
                <a:lnTo>
                  <a:pt x="535" y="551"/>
                </a:lnTo>
                <a:lnTo>
                  <a:pt x="536" y="552"/>
                </a:lnTo>
                <a:lnTo>
                  <a:pt x="536" y="553"/>
                </a:lnTo>
                <a:lnTo>
                  <a:pt x="536" y="554"/>
                </a:lnTo>
                <a:lnTo>
                  <a:pt x="537" y="554"/>
                </a:lnTo>
                <a:lnTo>
                  <a:pt x="538" y="555"/>
                </a:lnTo>
                <a:lnTo>
                  <a:pt x="539" y="556"/>
                </a:lnTo>
                <a:lnTo>
                  <a:pt x="541" y="558"/>
                </a:lnTo>
                <a:lnTo>
                  <a:pt x="541" y="558"/>
                </a:lnTo>
                <a:lnTo>
                  <a:pt x="542" y="559"/>
                </a:lnTo>
                <a:lnTo>
                  <a:pt x="542" y="559"/>
                </a:lnTo>
                <a:lnTo>
                  <a:pt x="542" y="560"/>
                </a:lnTo>
                <a:lnTo>
                  <a:pt x="542" y="560"/>
                </a:lnTo>
                <a:lnTo>
                  <a:pt x="542" y="561"/>
                </a:lnTo>
                <a:lnTo>
                  <a:pt x="541" y="563"/>
                </a:lnTo>
                <a:lnTo>
                  <a:pt x="541" y="564"/>
                </a:lnTo>
                <a:lnTo>
                  <a:pt x="540" y="564"/>
                </a:lnTo>
                <a:lnTo>
                  <a:pt x="540" y="565"/>
                </a:lnTo>
                <a:lnTo>
                  <a:pt x="539" y="565"/>
                </a:lnTo>
                <a:lnTo>
                  <a:pt x="539" y="565"/>
                </a:lnTo>
                <a:lnTo>
                  <a:pt x="537" y="566"/>
                </a:lnTo>
                <a:lnTo>
                  <a:pt x="536" y="567"/>
                </a:lnTo>
                <a:lnTo>
                  <a:pt x="535" y="567"/>
                </a:lnTo>
                <a:lnTo>
                  <a:pt x="534" y="570"/>
                </a:lnTo>
                <a:lnTo>
                  <a:pt x="532" y="571"/>
                </a:lnTo>
                <a:lnTo>
                  <a:pt x="531" y="572"/>
                </a:lnTo>
                <a:lnTo>
                  <a:pt x="530" y="573"/>
                </a:lnTo>
                <a:lnTo>
                  <a:pt x="530" y="574"/>
                </a:lnTo>
                <a:lnTo>
                  <a:pt x="529" y="575"/>
                </a:lnTo>
                <a:lnTo>
                  <a:pt x="529" y="576"/>
                </a:lnTo>
                <a:lnTo>
                  <a:pt x="529" y="577"/>
                </a:lnTo>
                <a:lnTo>
                  <a:pt x="529" y="578"/>
                </a:lnTo>
                <a:lnTo>
                  <a:pt x="529" y="579"/>
                </a:lnTo>
                <a:lnTo>
                  <a:pt x="529" y="580"/>
                </a:lnTo>
                <a:lnTo>
                  <a:pt x="530" y="582"/>
                </a:lnTo>
                <a:lnTo>
                  <a:pt x="531" y="584"/>
                </a:lnTo>
                <a:lnTo>
                  <a:pt x="532" y="585"/>
                </a:lnTo>
                <a:lnTo>
                  <a:pt x="534" y="588"/>
                </a:lnTo>
                <a:lnTo>
                  <a:pt x="535" y="589"/>
                </a:lnTo>
                <a:lnTo>
                  <a:pt x="535" y="590"/>
                </a:lnTo>
                <a:lnTo>
                  <a:pt x="536" y="591"/>
                </a:lnTo>
                <a:lnTo>
                  <a:pt x="536" y="593"/>
                </a:lnTo>
                <a:lnTo>
                  <a:pt x="536" y="594"/>
                </a:lnTo>
                <a:lnTo>
                  <a:pt x="536" y="595"/>
                </a:lnTo>
                <a:lnTo>
                  <a:pt x="536" y="596"/>
                </a:lnTo>
                <a:lnTo>
                  <a:pt x="536" y="597"/>
                </a:lnTo>
                <a:lnTo>
                  <a:pt x="536" y="598"/>
                </a:lnTo>
                <a:lnTo>
                  <a:pt x="535" y="598"/>
                </a:lnTo>
                <a:lnTo>
                  <a:pt x="535" y="599"/>
                </a:lnTo>
                <a:lnTo>
                  <a:pt x="533" y="601"/>
                </a:lnTo>
                <a:lnTo>
                  <a:pt x="532" y="602"/>
                </a:lnTo>
                <a:lnTo>
                  <a:pt x="531" y="604"/>
                </a:lnTo>
                <a:lnTo>
                  <a:pt x="530" y="605"/>
                </a:lnTo>
                <a:lnTo>
                  <a:pt x="529" y="606"/>
                </a:lnTo>
                <a:lnTo>
                  <a:pt x="529" y="608"/>
                </a:lnTo>
                <a:lnTo>
                  <a:pt x="527" y="613"/>
                </a:lnTo>
                <a:lnTo>
                  <a:pt x="526" y="617"/>
                </a:lnTo>
                <a:lnTo>
                  <a:pt x="526" y="617"/>
                </a:lnTo>
                <a:lnTo>
                  <a:pt x="525" y="618"/>
                </a:lnTo>
                <a:lnTo>
                  <a:pt x="525" y="619"/>
                </a:lnTo>
                <a:lnTo>
                  <a:pt x="524" y="619"/>
                </a:lnTo>
                <a:lnTo>
                  <a:pt x="523" y="619"/>
                </a:lnTo>
                <a:lnTo>
                  <a:pt x="519" y="621"/>
                </a:lnTo>
                <a:lnTo>
                  <a:pt x="517" y="622"/>
                </a:lnTo>
                <a:lnTo>
                  <a:pt x="515" y="623"/>
                </a:lnTo>
                <a:lnTo>
                  <a:pt x="514" y="624"/>
                </a:lnTo>
                <a:lnTo>
                  <a:pt x="510" y="627"/>
                </a:lnTo>
                <a:lnTo>
                  <a:pt x="508" y="629"/>
                </a:lnTo>
                <a:lnTo>
                  <a:pt x="506" y="630"/>
                </a:lnTo>
                <a:lnTo>
                  <a:pt x="505" y="630"/>
                </a:lnTo>
                <a:lnTo>
                  <a:pt x="504" y="631"/>
                </a:lnTo>
                <a:lnTo>
                  <a:pt x="502" y="631"/>
                </a:lnTo>
                <a:lnTo>
                  <a:pt x="501" y="632"/>
                </a:lnTo>
                <a:lnTo>
                  <a:pt x="500" y="632"/>
                </a:lnTo>
                <a:lnTo>
                  <a:pt x="499" y="632"/>
                </a:lnTo>
                <a:lnTo>
                  <a:pt x="498" y="632"/>
                </a:lnTo>
                <a:lnTo>
                  <a:pt x="497" y="632"/>
                </a:lnTo>
                <a:lnTo>
                  <a:pt x="495" y="632"/>
                </a:lnTo>
                <a:lnTo>
                  <a:pt x="490" y="631"/>
                </a:lnTo>
                <a:lnTo>
                  <a:pt x="489" y="631"/>
                </a:lnTo>
                <a:lnTo>
                  <a:pt x="488" y="631"/>
                </a:lnTo>
                <a:lnTo>
                  <a:pt x="487" y="631"/>
                </a:lnTo>
                <a:lnTo>
                  <a:pt x="487" y="631"/>
                </a:lnTo>
                <a:lnTo>
                  <a:pt x="486" y="631"/>
                </a:lnTo>
                <a:lnTo>
                  <a:pt x="486" y="632"/>
                </a:lnTo>
                <a:lnTo>
                  <a:pt x="486" y="633"/>
                </a:lnTo>
                <a:lnTo>
                  <a:pt x="485" y="638"/>
                </a:lnTo>
                <a:lnTo>
                  <a:pt x="484" y="641"/>
                </a:lnTo>
                <a:lnTo>
                  <a:pt x="484" y="643"/>
                </a:lnTo>
                <a:lnTo>
                  <a:pt x="484" y="649"/>
                </a:lnTo>
                <a:lnTo>
                  <a:pt x="483" y="651"/>
                </a:lnTo>
                <a:lnTo>
                  <a:pt x="483" y="653"/>
                </a:lnTo>
                <a:lnTo>
                  <a:pt x="482" y="656"/>
                </a:lnTo>
                <a:lnTo>
                  <a:pt x="482" y="658"/>
                </a:lnTo>
                <a:lnTo>
                  <a:pt x="482" y="659"/>
                </a:lnTo>
                <a:lnTo>
                  <a:pt x="482" y="660"/>
                </a:lnTo>
                <a:lnTo>
                  <a:pt x="482" y="662"/>
                </a:lnTo>
                <a:lnTo>
                  <a:pt x="483" y="663"/>
                </a:lnTo>
                <a:lnTo>
                  <a:pt x="484" y="667"/>
                </a:lnTo>
                <a:lnTo>
                  <a:pt x="485" y="669"/>
                </a:lnTo>
                <a:lnTo>
                  <a:pt x="485" y="670"/>
                </a:lnTo>
                <a:lnTo>
                  <a:pt x="487" y="676"/>
                </a:lnTo>
                <a:lnTo>
                  <a:pt x="487" y="678"/>
                </a:lnTo>
                <a:lnTo>
                  <a:pt x="487" y="680"/>
                </a:lnTo>
                <a:lnTo>
                  <a:pt x="487" y="682"/>
                </a:lnTo>
                <a:lnTo>
                  <a:pt x="487" y="684"/>
                </a:lnTo>
                <a:lnTo>
                  <a:pt x="486" y="685"/>
                </a:lnTo>
                <a:lnTo>
                  <a:pt x="486" y="686"/>
                </a:lnTo>
                <a:lnTo>
                  <a:pt x="486" y="687"/>
                </a:lnTo>
                <a:lnTo>
                  <a:pt x="485" y="688"/>
                </a:lnTo>
                <a:lnTo>
                  <a:pt x="485" y="688"/>
                </a:lnTo>
                <a:lnTo>
                  <a:pt x="484" y="689"/>
                </a:lnTo>
                <a:lnTo>
                  <a:pt x="483" y="690"/>
                </a:lnTo>
                <a:lnTo>
                  <a:pt x="483" y="691"/>
                </a:lnTo>
                <a:lnTo>
                  <a:pt x="481" y="692"/>
                </a:lnTo>
                <a:lnTo>
                  <a:pt x="480" y="693"/>
                </a:lnTo>
                <a:lnTo>
                  <a:pt x="479" y="693"/>
                </a:lnTo>
                <a:lnTo>
                  <a:pt x="476" y="695"/>
                </a:lnTo>
                <a:lnTo>
                  <a:pt x="475" y="695"/>
                </a:lnTo>
                <a:lnTo>
                  <a:pt x="474" y="696"/>
                </a:lnTo>
                <a:lnTo>
                  <a:pt x="473" y="696"/>
                </a:lnTo>
                <a:lnTo>
                  <a:pt x="472" y="697"/>
                </a:lnTo>
                <a:lnTo>
                  <a:pt x="471" y="698"/>
                </a:lnTo>
                <a:lnTo>
                  <a:pt x="470" y="699"/>
                </a:lnTo>
                <a:lnTo>
                  <a:pt x="469" y="700"/>
                </a:lnTo>
                <a:lnTo>
                  <a:pt x="468" y="702"/>
                </a:lnTo>
                <a:lnTo>
                  <a:pt x="466" y="705"/>
                </a:lnTo>
                <a:lnTo>
                  <a:pt x="465" y="708"/>
                </a:lnTo>
                <a:lnTo>
                  <a:pt x="464" y="710"/>
                </a:lnTo>
                <a:lnTo>
                  <a:pt x="463" y="712"/>
                </a:lnTo>
                <a:lnTo>
                  <a:pt x="463" y="713"/>
                </a:lnTo>
                <a:lnTo>
                  <a:pt x="462" y="716"/>
                </a:lnTo>
                <a:lnTo>
                  <a:pt x="462" y="718"/>
                </a:lnTo>
                <a:lnTo>
                  <a:pt x="461" y="722"/>
                </a:lnTo>
                <a:lnTo>
                  <a:pt x="461" y="724"/>
                </a:lnTo>
                <a:lnTo>
                  <a:pt x="460" y="726"/>
                </a:lnTo>
                <a:lnTo>
                  <a:pt x="460" y="728"/>
                </a:lnTo>
                <a:lnTo>
                  <a:pt x="460" y="730"/>
                </a:lnTo>
                <a:lnTo>
                  <a:pt x="460" y="732"/>
                </a:lnTo>
                <a:lnTo>
                  <a:pt x="461" y="734"/>
                </a:lnTo>
                <a:lnTo>
                  <a:pt x="461" y="735"/>
                </a:lnTo>
                <a:lnTo>
                  <a:pt x="461" y="736"/>
                </a:lnTo>
                <a:lnTo>
                  <a:pt x="461" y="738"/>
                </a:lnTo>
                <a:lnTo>
                  <a:pt x="462" y="739"/>
                </a:lnTo>
                <a:lnTo>
                  <a:pt x="464" y="744"/>
                </a:lnTo>
                <a:lnTo>
                  <a:pt x="464" y="746"/>
                </a:lnTo>
                <a:lnTo>
                  <a:pt x="464" y="746"/>
                </a:lnTo>
                <a:lnTo>
                  <a:pt x="463" y="746"/>
                </a:lnTo>
                <a:lnTo>
                  <a:pt x="462" y="745"/>
                </a:lnTo>
                <a:lnTo>
                  <a:pt x="461" y="745"/>
                </a:lnTo>
                <a:lnTo>
                  <a:pt x="460" y="745"/>
                </a:lnTo>
                <a:lnTo>
                  <a:pt x="459" y="745"/>
                </a:lnTo>
                <a:lnTo>
                  <a:pt x="457" y="745"/>
                </a:lnTo>
                <a:lnTo>
                  <a:pt x="456" y="745"/>
                </a:lnTo>
                <a:lnTo>
                  <a:pt x="454" y="746"/>
                </a:lnTo>
                <a:lnTo>
                  <a:pt x="453" y="747"/>
                </a:lnTo>
                <a:lnTo>
                  <a:pt x="451" y="747"/>
                </a:lnTo>
                <a:lnTo>
                  <a:pt x="450" y="748"/>
                </a:lnTo>
                <a:lnTo>
                  <a:pt x="449" y="749"/>
                </a:lnTo>
                <a:lnTo>
                  <a:pt x="448" y="750"/>
                </a:lnTo>
                <a:lnTo>
                  <a:pt x="447" y="751"/>
                </a:lnTo>
                <a:lnTo>
                  <a:pt x="447" y="752"/>
                </a:lnTo>
                <a:lnTo>
                  <a:pt x="446" y="753"/>
                </a:lnTo>
                <a:lnTo>
                  <a:pt x="444" y="757"/>
                </a:lnTo>
                <a:lnTo>
                  <a:pt x="443" y="758"/>
                </a:lnTo>
                <a:lnTo>
                  <a:pt x="443" y="758"/>
                </a:lnTo>
                <a:lnTo>
                  <a:pt x="443" y="759"/>
                </a:lnTo>
                <a:lnTo>
                  <a:pt x="442" y="759"/>
                </a:lnTo>
                <a:lnTo>
                  <a:pt x="442" y="759"/>
                </a:lnTo>
                <a:lnTo>
                  <a:pt x="441" y="759"/>
                </a:lnTo>
                <a:lnTo>
                  <a:pt x="440" y="760"/>
                </a:lnTo>
                <a:lnTo>
                  <a:pt x="439" y="759"/>
                </a:lnTo>
                <a:lnTo>
                  <a:pt x="438" y="759"/>
                </a:lnTo>
                <a:lnTo>
                  <a:pt x="437" y="759"/>
                </a:lnTo>
                <a:lnTo>
                  <a:pt x="436" y="758"/>
                </a:lnTo>
                <a:lnTo>
                  <a:pt x="434" y="757"/>
                </a:lnTo>
                <a:lnTo>
                  <a:pt x="430" y="755"/>
                </a:lnTo>
                <a:lnTo>
                  <a:pt x="428" y="753"/>
                </a:lnTo>
                <a:lnTo>
                  <a:pt x="424" y="750"/>
                </a:lnTo>
                <a:lnTo>
                  <a:pt x="418" y="746"/>
                </a:lnTo>
                <a:lnTo>
                  <a:pt x="415" y="744"/>
                </a:lnTo>
                <a:lnTo>
                  <a:pt x="412" y="742"/>
                </a:lnTo>
                <a:lnTo>
                  <a:pt x="411" y="741"/>
                </a:lnTo>
                <a:lnTo>
                  <a:pt x="409" y="739"/>
                </a:lnTo>
                <a:lnTo>
                  <a:pt x="407" y="737"/>
                </a:lnTo>
                <a:lnTo>
                  <a:pt x="406" y="735"/>
                </a:lnTo>
                <a:lnTo>
                  <a:pt x="405" y="734"/>
                </a:lnTo>
                <a:lnTo>
                  <a:pt x="404" y="732"/>
                </a:lnTo>
                <a:lnTo>
                  <a:pt x="404" y="731"/>
                </a:lnTo>
                <a:lnTo>
                  <a:pt x="403" y="730"/>
                </a:lnTo>
                <a:lnTo>
                  <a:pt x="403" y="728"/>
                </a:lnTo>
                <a:lnTo>
                  <a:pt x="402" y="726"/>
                </a:lnTo>
                <a:lnTo>
                  <a:pt x="402" y="720"/>
                </a:lnTo>
                <a:lnTo>
                  <a:pt x="401" y="714"/>
                </a:lnTo>
                <a:lnTo>
                  <a:pt x="401" y="709"/>
                </a:lnTo>
                <a:lnTo>
                  <a:pt x="401" y="707"/>
                </a:lnTo>
                <a:lnTo>
                  <a:pt x="400" y="704"/>
                </a:lnTo>
                <a:lnTo>
                  <a:pt x="400" y="702"/>
                </a:lnTo>
                <a:lnTo>
                  <a:pt x="399" y="699"/>
                </a:lnTo>
                <a:lnTo>
                  <a:pt x="398" y="694"/>
                </a:lnTo>
                <a:lnTo>
                  <a:pt x="397" y="692"/>
                </a:lnTo>
                <a:lnTo>
                  <a:pt x="396" y="691"/>
                </a:lnTo>
                <a:lnTo>
                  <a:pt x="396" y="690"/>
                </a:lnTo>
                <a:lnTo>
                  <a:pt x="395" y="689"/>
                </a:lnTo>
                <a:lnTo>
                  <a:pt x="394" y="687"/>
                </a:lnTo>
                <a:lnTo>
                  <a:pt x="391" y="683"/>
                </a:lnTo>
                <a:lnTo>
                  <a:pt x="387" y="679"/>
                </a:lnTo>
                <a:lnTo>
                  <a:pt x="383" y="674"/>
                </a:lnTo>
                <a:lnTo>
                  <a:pt x="376" y="666"/>
                </a:lnTo>
                <a:lnTo>
                  <a:pt x="375" y="665"/>
                </a:lnTo>
                <a:lnTo>
                  <a:pt x="373" y="663"/>
                </a:lnTo>
                <a:lnTo>
                  <a:pt x="372" y="661"/>
                </a:lnTo>
                <a:lnTo>
                  <a:pt x="370" y="660"/>
                </a:lnTo>
                <a:lnTo>
                  <a:pt x="368" y="657"/>
                </a:lnTo>
                <a:lnTo>
                  <a:pt x="366" y="656"/>
                </a:lnTo>
                <a:lnTo>
                  <a:pt x="364" y="655"/>
                </a:lnTo>
                <a:lnTo>
                  <a:pt x="362" y="653"/>
                </a:lnTo>
                <a:lnTo>
                  <a:pt x="360" y="651"/>
                </a:lnTo>
                <a:lnTo>
                  <a:pt x="358" y="650"/>
                </a:lnTo>
                <a:lnTo>
                  <a:pt x="356" y="649"/>
                </a:lnTo>
                <a:lnTo>
                  <a:pt x="353" y="647"/>
                </a:lnTo>
                <a:lnTo>
                  <a:pt x="352" y="647"/>
                </a:lnTo>
                <a:lnTo>
                  <a:pt x="351" y="646"/>
                </a:lnTo>
                <a:lnTo>
                  <a:pt x="348" y="646"/>
                </a:lnTo>
                <a:lnTo>
                  <a:pt x="346" y="646"/>
                </a:lnTo>
                <a:lnTo>
                  <a:pt x="344" y="645"/>
                </a:lnTo>
                <a:lnTo>
                  <a:pt x="341" y="645"/>
                </a:lnTo>
                <a:lnTo>
                  <a:pt x="335" y="645"/>
                </a:lnTo>
                <a:lnTo>
                  <a:pt x="332" y="645"/>
                </a:lnTo>
                <a:lnTo>
                  <a:pt x="331" y="645"/>
                </a:lnTo>
                <a:lnTo>
                  <a:pt x="329" y="645"/>
                </a:lnTo>
                <a:lnTo>
                  <a:pt x="328" y="644"/>
                </a:lnTo>
                <a:lnTo>
                  <a:pt x="326" y="644"/>
                </a:lnTo>
                <a:lnTo>
                  <a:pt x="324" y="643"/>
                </a:lnTo>
                <a:lnTo>
                  <a:pt x="322" y="642"/>
                </a:lnTo>
                <a:lnTo>
                  <a:pt x="320" y="641"/>
                </a:lnTo>
                <a:lnTo>
                  <a:pt x="318" y="640"/>
                </a:lnTo>
                <a:lnTo>
                  <a:pt x="316" y="639"/>
                </a:lnTo>
                <a:lnTo>
                  <a:pt x="314" y="637"/>
                </a:lnTo>
                <a:lnTo>
                  <a:pt x="312" y="636"/>
                </a:lnTo>
                <a:lnTo>
                  <a:pt x="311" y="634"/>
                </a:lnTo>
                <a:lnTo>
                  <a:pt x="309" y="633"/>
                </a:lnTo>
                <a:lnTo>
                  <a:pt x="308" y="631"/>
                </a:lnTo>
                <a:lnTo>
                  <a:pt x="308" y="630"/>
                </a:lnTo>
                <a:lnTo>
                  <a:pt x="307" y="629"/>
                </a:lnTo>
                <a:lnTo>
                  <a:pt x="306" y="627"/>
                </a:lnTo>
                <a:lnTo>
                  <a:pt x="306" y="625"/>
                </a:lnTo>
                <a:lnTo>
                  <a:pt x="305" y="623"/>
                </a:lnTo>
                <a:lnTo>
                  <a:pt x="304" y="617"/>
                </a:lnTo>
                <a:lnTo>
                  <a:pt x="303" y="615"/>
                </a:lnTo>
                <a:lnTo>
                  <a:pt x="303" y="613"/>
                </a:lnTo>
                <a:lnTo>
                  <a:pt x="302" y="612"/>
                </a:lnTo>
                <a:lnTo>
                  <a:pt x="301" y="610"/>
                </a:lnTo>
                <a:lnTo>
                  <a:pt x="301" y="609"/>
                </a:lnTo>
                <a:lnTo>
                  <a:pt x="300" y="608"/>
                </a:lnTo>
                <a:lnTo>
                  <a:pt x="299" y="606"/>
                </a:lnTo>
                <a:lnTo>
                  <a:pt x="296" y="603"/>
                </a:lnTo>
                <a:lnTo>
                  <a:pt x="291" y="597"/>
                </a:lnTo>
                <a:lnTo>
                  <a:pt x="284" y="590"/>
                </a:lnTo>
                <a:lnTo>
                  <a:pt x="283" y="589"/>
                </a:lnTo>
                <a:lnTo>
                  <a:pt x="282" y="588"/>
                </a:lnTo>
                <a:lnTo>
                  <a:pt x="281" y="587"/>
                </a:lnTo>
                <a:lnTo>
                  <a:pt x="280" y="585"/>
                </a:lnTo>
                <a:lnTo>
                  <a:pt x="280" y="584"/>
                </a:lnTo>
                <a:lnTo>
                  <a:pt x="278" y="580"/>
                </a:lnTo>
                <a:lnTo>
                  <a:pt x="277" y="578"/>
                </a:lnTo>
                <a:lnTo>
                  <a:pt x="275" y="576"/>
                </a:lnTo>
                <a:lnTo>
                  <a:pt x="272" y="572"/>
                </a:lnTo>
                <a:lnTo>
                  <a:pt x="271" y="571"/>
                </a:lnTo>
                <a:lnTo>
                  <a:pt x="270" y="569"/>
                </a:lnTo>
                <a:lnTo>
                  <a:pt x="267" y="564"/>
                </a:lnTo>
                <a:lnTo>
                  <a:pt x="267" y="563"/>
                </a:lnTo>
                <a:lnTo>
                  <a:pt x="266" y="562"/>
                </a:lnTo>
                <a:lnTo>
                  <a:pt x="265" y="561"/>
                </a:lnTo>
                <a:lnTo>
                  <a:pt x="264" y="560"/>
                </a:lnTo>
                <a:lnTo>
                  <a:pt x="260" y="556"/>
                </a:lnTo>
                <a:lnTo>
                  <a:pt x="258" y="555"/>
                </a:lnTo>
                <a:lnTo>
                  <a:pt x="257" y="553"/>
                </a:lnTo>
                <a:lnTo>
                  <a:pt x="255" y="551"/>
                </a:lnTo>
                <a:lnTo>
                  <a:pt x="254" y="549"/>
                </a:lnTo>
                <a:lnTo>
                  <a:pt x="253" y="548"/>
                </a:lnTo>
                <a:lnTo>
                  <a:pt x="249" y="545"/>
                </a:lnTo>
                <a:lnTo>
                  <a:pt x="248" y="544"/>
                </a:lnTo>
                <a:lnTo>
                  <a:pt x="248" y="543"/>
                </a:lnTo>
                <a:lnTo>
                  <a:pt x="247" y="542"/>
                </a:lnTo>
                <a:lnTo>
                  <a:pt x="246" y="541"/>
                </a:lnTo>
                <a:lnTo>
                  <a:pt x="246" y="539"/>
                </a:lnTo>
                <a:lnTo>
                  <a:pt x="245" y="538"/>
                </a:lnTo>
                <a:lnTo>
                  <a:pt x="245" y="536"/>
                </a:lnTo>
                <a:lnTo>
                  <a:pt x="244" y="530"/>
                </a:lnTo>
                <a:lnTo>
                  <a:pt x="243" y="528"/>
                </a:lnTo>
                <a:lnTo>
                  <a:pt x="243" y="527"/>
                </a:lnTo>
                <a:lnTo>
                  <a:pt x="243" y="525"/>
                </a:lnTo>
                <a:lnTo>
                  <a:pt x="242" y="524"/>
                </a:lnTo>
                <a:lnTo>
                  <a:pt x="242" y="523"/>
                </a:lnTo>
                <a:lnTo>
                  <a:pt x="241" y="522"/>
                </a:lnTo>
                <a:lnTo>
                  <a:pt x="240" y="521"/>
                </a:lnTo>
                <a:lnTo>
                  <a:pt x="237" y="517"/>
                </a:lnTo>
                <a:lnTo>
                  <a:pt x="233" y="514"/>
                </a:lnTo>
                <a:lnTo>
                  <a:pt x="229" y="509"/>
                </a:lnTo>
                <a:lnTo>
                  <a:pt x="226" y="506"/>
                </a:lnTo>
                <a:lnTo>
                  <a:pt x="224" y="504"/>
                </a:lnTo>
                <a:lnTo>
                  <a:pt x="222" y="503"/>
                </a:lnTo>
                <a:lnTo>
                  <a:pt x="221" y="501"/>
                </a:lnTo>
                <a:lnTo>
                  <a:pt x="219" y="500"/>
                </a:lnTo>
                <a:lnTo>
                  <a:pt x="218" y="499"/>
                </a:lnTo>
                <a:lnTo>
                  <a:pt x="216" y="498"/>
                </a:lnTo>
                <a:lnTo>
                  <a:pt x="214" y="497"/>
                </a:lnTo>
                <a:lnTo>
                  <a:pt x="212" y="496"/>
                </a:lnTo>
                <a:lnTo>
                  <a:pt x="210" y="495"/>
                </a:lnTo>
                <a:lnTo>
                  <a:pt x="209" y="495"/>
                </a:lnTo>
                <a:lnTo>
                  <a:pt x="205" y="493"/>
                </a:lnTo>
                <a:lnTo>
                  <a:pt x="202" y="493"/>
                </a:lnTo>
                <a:lnTo>
                  <a:pt x="194" y="491"/>
                </a:lnTo>
                <a:lnTo>
                  <a:pt x="192" y="491"/>
                </a:lnTo>
                <a:lnTo>
                  <a:pt x="189" y="490"/>
                </a:lnTo>
                <a:lnTo>
                  <a:pt x="188" y="491"/>
                </a:lnTo>
                <a:lnTo>
                  <a:pt x="187" y="491"/>
                </a:lnTo>
                <a:lnTo>
                  <a:pt x="187" y="491"/>
                </a:lnTo>
                <a:lnTo>
                  <a:pt x="186" y="491"/>
                </a:lnTo>
                <a:lnTo>
                  <a:pt x="185" y="492"/>
                </a:lnTo>
                <a:lnTo>
                  <a:pt x="184" y="492"/>
                </a:lnTo>
                <a:lnTo>
                  <a:pt x="184" y="493"/>
                </a:lnTo>
                <a:lnTo>
                  <a:pt x="183" y="495"/>
                </a:lnTo>
                <a:lnTo>
                  <a:pt x="182" y="496"/>
                </a:lnTo>
                <a:lnTo>
                  <a:pt x="182" y="496"/>
                </a:lnTo>
                <a:lnTo>
                  <a:pt x="181" y="497"/>
                </a:lnTo>
                <a:lnTo>
                  <a:pt x="180" y="497"/>
                </a:lnTo>
                <a:lnTo>
                  <a:pt x="180" y="497"/>
                </a:lnTo>
                <a:lnTo>
                  <a:pt x="179" y="497"/>
                </a:lnTo>
                <a:lnTo>
                  <a:pt x="177" y="497"/>
                </a:lnTo>
                <a:lnTo>
                  <a:pt x="175" y="497"/>
                </a:lnTo>
                <a:lnTo>
                  <a:pt x="172" y="496"/>
                </a:lnTo>
                <a:lnTo>
                  <a:pt x="168" y="495"/>
                </a:lnTo>
                <a:lnTo>
                  <a:pt x="167" y="495"/>
                </a:lnTo>
                <a:lnTo>
                  <a:pt x="165" y="494"/>
                </a:lnTo>
                <a:lnTo>
                  <a:pt x="160" y="494"/>
                </a:lnTo>
                <a:lnTo>
                  <a:pt x="157" y="494"/>
                </a:lnTo>
                <a:lnTo>
                  <a:pt x="155" y="493"/>
                </a:lnTo>
                <a:lnTo>
                  <a:pt x="153" y="493"/>
                </a:lnTo>
                <a:lnTo>
                  <a:pt x="151" y="492"/>
                </a:lnTo>
                <a:lnTo>
                  <a:pt x="149" y="492"/>
                </a:lnTo>
                <a:lnTo>
                  <a:pt x="147" y="491"/>
                </a:lnTo>
                <a:lnTo>
                  <a:pt x="145" y="490"/>
                </a:lnTo>
                <a:lnTo>
                  <a:pt x="144" y="489"/>
                </a:lnTo>
                <a:lnTo>
                  <a:pt x="143" y="489"/>
                </a:lnTo>
                <a:lnTo>
                  <a:pt x="142" y="488"/>
                </a:lnTo>
                <a:lnTo>
                  <a:pt x="141" y="487"/>
                </a:lnTo>
                <a:lnTo>
                  <a:pt x="140" y="485"/>
                </a:lnTo>
                <a:lnTo>
                  <a:pt x="140" y="485"/>
                </a:lnTo>
                <a:lnTo>
                  <a:pt x="137" y="481"/>
                </a:lnTo>
                <a:lnTo>
                  <a:pt x="135" y="476"/>
                </a:lnTo>
                <a:lnTo>
                  <a:pt x="133" y="473"/>
                </a:lnTo>
                <a:lnTo>
                  <a:pt x="133" y="471"/>
                </a:lnTo>
                <a:lnTo>
                  <a:pt x="132" y="470"/>
                </a:lnTo>
                <a:lnTo>
                  <a:pt x="131" y="465"/>
                </a:lnTo>
                <a:lnTo>
                  <a:pt x="130" y="463"/>
                </a:lnTo>
                <a:lnTo>
                  <a:pt x="129" y="461"/>
                </a:lnTo>
                <a:lnTo>
                  <a:pt x="128" y="460"/>
                </a:lnTo>
                <a:lnTo>
                  <a:pt x="127" y="458"/>
                </a:lnTo>
                <a:lnTo>
                  <a:pt x="126" y="456"/>
                </a:lnTo>
                <a:lnTo>
                  <a:pt x="125" y="455"/>
                </a:lnTo>
                <a:lnTo>
                  <a:pt x="124" y="453"/>
                </a:lnTo>
                <a:lnTo>
                  <a:pt x="121" y="450"/>
                </a:lnTo>
                <a:lnTo>
                  <a:pt x="119" y="448"/>
                </a:lnTo>
                <a:lnTo>
                  <a:pt x="112" y="442"/>
                </a:lnTo>
                <a:lnTo>
                  <a:pt x="110" y="441"/>
                </a:lnTo>
                <a:lnTo>
                  <a:pt x="108" y="440"/>
                </a:lnTo>
                <a:lnTo>
                  <a:pt x="106" y="439"/>
                </a:lnTo>
                <a:lnTo>
                  <a:pt x="104" y="438"/>
                </a:lnTo>
                <a:lnTo>
                  <a:pt x="99" y="435"/>
                </a:lnTo>
                <a:lnTo>
                  <a:pt x="97" y="435"/>
                </a:lnTo>
                <a:lnTo>
                  <a:pt x="96" y="434"/>
                </a:lnTo>
                <a:lnTo>
                  <a:pt x="94" y="433"/>
                </a:lnTo>
                <a:lnTo>
                  <a:pt x="93" y="431"/>
                </a:lnTo>
                <a:lnTo>
                  <a:pt x="92" y="430"/>
                </a:lnTo>
                <a:lnTo>
                  <a:pt x="91" y="429"/>
                </a:lnTo>
                <a:lnTo>
                  <a:pt x="90" y="429"/>
                </a:lnTo>
                <a:lnTo>
                  <a:pt x="90" y="428"/>
                </a:lnTo>
                <a:lnTo>
                  <a:pt x="89" y="427"/>
                </a:lnTo>
                <a:lnTo>
                  <a:pt x="89" y="426"/>
                </a:lnTo>
                <a:lnTo>
                  <a:pt x="89" y="425"/>
                </a:lnTo>
                <a:lnTo>
                  <a:pt x="88" y="422"/>
                </a:lnTo>
                <a:lnTo>
                  <a:pt x="87" y="418"/>
                </a:lnTo>
                <a:lnTo>
                  <a:pt x="86" y="415"/>
                </a:lnTo>
                <a:lnTo>
                  <a:pt x="85" y="411"/>
                </a:lnTo>
                <a:lnTo>
                  <a:pt x="83" y="406"/>
                </a:lnTo>
                <a:lnTo>
                  <a:pt x="82" y="405"/>
                </a:lnTo>
                <a:lnTo>
                  <a:pt x="82" y="403"/>
                </a:lnTo>
                <a:lnTo>
                  <a:pt x="82" y="402"/>
                </a:lnTo>
                <a:lnTo>
                  <a:pt x="82" y="400"/>
                </a:lnTo>
                <a:lnTo>
                  <a:pt x="82" y="399"/>
                </a:lnTo>
                <a:lnTo>
                  <a:pt x="83" y="396"/>
                </a:lnTo>
                <a:lnTo>
                  <a:pt x="83" y="393"/>
                </a:lnTo>
                <a:lnTo>
                  <a:pt x="83" y="391"/>
                </a:lnTo>
                <a:lnTo>
                  <a:pt x="83" y="387"/>
                </a:lnTo>
                <a:lnTo>
                  <a:pt x="83" y="382"/>
                </a:lnTo>
                <a:lnTo>
                  <a:pt x="83" y="380"/>
                </a:lnTo>
                <a:lnTo>
                  <a:pt x="83" y="378"/>
                </a:lnTo>
                <a:lnTo>
                  <a:pt x="83" y="376"/>
                </a:lnTo>
                <a:lnTo>
                  <a:pt x="82" y="374"/>
                </a:lnTo>
                <a:lnTo>
                  <a:pt x="82" y="373"/>
                </a:lnTo>
                <a:lnTo>
                  <a:pt x="81" y="372"/>
                </a:lnTo>
                <a:lnTo>
                  <a:pt x="80" y="371"/>
                </a:lnTo>
                <a:lnTo>
                  <a:pt x="79" y="370"/>
                </a:lnTo>
                <a:lnTo>
                  <a:pt x="78" y="369"/>
                </a:lnTo>
                <a:lnTo>
                  <a:pt x="75" y="368"/>
                </a:lnTo>
                <a:lnTo>
                  <a:pt x="73" y="367"/>
                </a:lnTo>
                <a:lnTo>
                  <a:pt x="70" y="366"/>
                </a:lnTo>
                <a:lnTo>
                  <a:pt x="69" y="365"/>
                </a:lnTo>
                <a:lnTo>
                  <a:pt x="68" y="365"/>
                </a:lnTo>
                <a:lnTo>
                  <a:pt x="66" y="364"/>
                </a:lnTo>
                <a:lnTo>
                  <a:pt x="65" y="363"/>
                </a:lnTo>
                <a:lnTo>
                  <a:pt x="65" y="362"/>
                </a:lnTo>
                <a:lnTo>
                  <a:pt x="64" y="361"/>
                </a:lnTo>
                <a:lnTo>
                  <a:pt x="63" y="359"/>
                </a:lnTo>
                <a:lnTo>
                  <a:pt x="61" y="356"/>
                </a:lnTo>
                <a:lnTo>
                  <a:pt x="60" y="354"/>
                </a:lnTo>
                <a:lnTo>
                  <a:pt x="59" y="352"/>
                </a:lnTo>
                <a:lnTo>
                  <a:pt x="58" y="350"/>
                </a:lnTo>
                <a:lnTo>
                  <a:pt x="57" y="348"/>
                </a:lnTo>
                <a:lnTo>
                  <a:pt x="57" y="346"/>
                </a:lnTo>
                <a:lnTo>
                  <a:pt x="56" y="344"/>
                </a:lnTo>
                <a:lnTo>
                  <a:pt x="56" y="342"/>
                </a:lnTo>
                <a:lnTo>
                  <a:pt x="55" y="340"/>
                </a:lnTo>
                <a:lnTo>
                  <a:pt x="55" y="332"/>
                </a:lnTo>
                <a:lnTo>
                  <a:pt x="54" y="330"/>
                </a:lnTo>
                <a:lnTo>
                  <a:pt x="54" y="328"/>
                </a:lnTo>
                <a:lnTo>
                  <a:pt x="53" y="326"/>
                </a:lnTo>
                <a:lnTo>
                  <a:pt x="51" y="319"/>
                </a:lnTo>
                <a:lnTo>
                  <a:pt x="51" y="317"/>
                </a:lnTo>
                <a:lnTo>
                  <a:pt x="50" y="315"/>
                </a:lnTo>
                <a:lnTo>
                  <a:pt x="49" y="313"/>
                </a:lnTo>
                <a:lnTo>
                  <a:pt x="48" y="312"/>
                </a:lnTo>
                <a:lnTo>
                  <a:pt x="47" y="310"/>
                </a:lnTo>
                <a:lnTo>
                  <a:pt x="46" y="310"/>
                </a:lnTo>
                <a:lnTo>
                  <a:pt x="45" y="309"/>
                </a:lnTo>
                <a:lnTo>
                  <a:pt x="45" y="308"/>
                </a:lnTo>
                <a:lnTo>
                  <a:pt x="41" y="307"/>
                </a:lnTo>
                <a:lnTo>
                  <a:pt x="41" y="306"/>
                </a:lnTo>
                <a:lnTo>
                  <a:pt x="40" y="306"/>
                </a:lnTo>
                <a:lnTo>
                  <a:pt x="39" y="305"/>
                </a:lnTo>
                <a:lnTo>
                  <a:pt x="39" y="304"/>
                </a:lnTo>
                <a:lnTo>
                  <a:pt x="37" y="302"/>
                </a:lnTo>
                <a:lnTo>
                  <a:pt x="36" y="301"/>
                </a:lnTo>
                <a:lnTo>
                  <a:pt x="36" y="300"/>
                </a:lnTo>
                <a:lnTo>
                  <a:pt x="36" y="298"/>
                </a:lnTo>
                <a:lnTo>
                  <a:pt x="36" y="295"/>
                </a:lnTo>
                <a:lnTo>
                  <a:pt x="35" y="294"/>
                </a:lnTo>
                <a:lnTo>
                  <a:pt x="35" y="292"/>
                </a:lnTo>
                <a:lnTo>
                  <a:pt x="35" y="291"/>
                </a:lnTo>
                <a:lnTo>
                  <a:pt x="35" y="290"/>
                </a:lnTo>
                <a:lnTo>
                  <a:pt x="35" y="288"/>
                </a:lnTo>
                <a:lnTo>
                  <a:pt x="36" y="285"/>
                </a:lnTo>
                <a:lnTo>
                  <a:pt x="36" y="282"/>
                </a:lnTo>
                <a:lnTo>
                  <a:pt x="37" y="278"/>
                </a:lnTo>
                <a:lnTo>
                  <a:pt x="37" y="277"/>
                </a:lnTo>
                <a:lnTo>
                  <a:pt x="37" y="276"/>
                </a:lnTo>
                <a:lnTo>
                  <a:pt x="37" y="274"/>
                </a:lnTo>
                <a:lnTo>
                  <a:pt x="37" y="272"/>
                </a:lnTo>
                <a:lnTo>
                  <a:pt x="36" y="271"/>
                </a:lnTo>
                <a:lnTo>
                  <a:pt x="35" y="269"/>
                </a:lnTo>
                <a:lnTo>
                  <a:pt x="35" y="268"/>
                </a:lnTo>
                <a:lnTo>
                  <a:pt x="34" y="267"/>
                </a:lnTo>
                <a:lnTo>
                  <a:pt x="33" y="266"/>
                </a:lnTo>
                <a:lnTo>
                  <a:pt x="32" y="265"/>
                </a:lnTo>
                <a:lnTo>
                  <a:pt x="31" y="265"/>
                </a:lnTo>
                <a:lnTo>
                  <a:pt x="30" y="264"/>
                </a:lnTo>
                <a:lnTo>
                  <a:pt x="25" y="262"/>
                </a:lnTo>
                <a:lnTo>
                  <a:pt x="23" y="261"/>
                </a:lnTo>
                <a:lnTo>
                  <a:pt x="22" y="261"/>
                </a:lnTo>
                <a:lnTo>
                  <a:pt x="18" y="258"/>
                </a:lnTo>
                <a:lnTo>
                  <a:pt x="11" y="254"/>
                </a:lnTo>
                <a:lnTo>
                  <a:pt x="8" y="252"/>
                </a:lnTo>
                <a:lnTo>
                  <a:pt x="7" y="252"/>
                </a:lnTo>
                <a:lnTo>
                  <a:pt x="5" y="251"/>
                </a:lnTo>
                <a:lnTo>
                  <a:pt x="4" y="250"/>
                </a:lnTo>
                <a:lnTo>
                  <a:pt x="3" y="249"/>
                </a:lnTo>
                <a:lnTo>
                  <a:pt x="2" y="248"/>
                </a:lnTo>
                <a:lnTo>
                  <a:pt x="1" y="247"/>
                </a:lnTo>
                <a:lnTo>
                  <a:pt x="0" y="2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 269">
            <a:extLst>
              <a:ext uri="{FF2B5EF4-FFF2-40B4-BE49-F238E27FC236}">
                <a16:creationId xmlns:a16="http://schemas.microsoft.com/office/drawing/2014/main" id="{A61F8EFC-E525-41A8-8291-BFAB76324FAA}"/>
              </a:ext>
            </a:extLst>
          </p:cNvPr>
          <p:cNvSpPr>
            <a:spLocks/>
          </p:cNvSpPr>
          <p:nvPr/>
        </p:nvSpPr>
        <p:spPr bwMode="auto">
          <a:xfrm>
            <a:off x="6628207" y="4271540"/>
            <a:ext cx="750785" cy="509489"/>
          </a:xfrm>
          <a:custGeom>
            <a:avLst/>
            <a:gdLst>
              <a:gd name="T0" fmla="*/ 3 w 395"/>
              <a:gd name="T1" fmla="*/ 231 h 245"/>
              <a:gd name="T2" fmla="*/ 0 w 395"/>
              <a:gd name="T3" fmla="*/ 221 h 245"/>
              <a:gd name="T4" fmla="*/ 2 w 395"/>
              <a:gd name="T5" fmla="*/ 214 h 245"/>
              <a:gd name="T6" fmla="*/ 8 w 395"/>
              <a:gd name="T7" fmla="*/ 208 h 245"/>
              <a:gd name="T8" fmla="*/ 23 w 395"/>
              <a:gd name="T9" fmla="*/ 199 h 245"/>
              <a:gd name="T10" fmla="*/ 27 w 395"/>
              <a:gd name="T11" fmla="*/ 194 h 245"/>
              <a:gd name="T12" fmla="*/ 32 w 395"/>
              <a:gd name="T13" fmla="*/ 171 h 245"/>
              <a:gd name="T14" fmla="*/ 36 w 395"/>
              <a:gd name="T15" fmla="*/ 164 h 245"/>
              <a:gd name="T16" fmla="*/ 43 w 395"/>
              <a:gd name="T17" fmla="*/ 154 h 245"/>
              <a:gd name="T18" fmla="*/ 52 w 395"/>
              <a:gd name="T19" fmla="*/ 139 h 245"/>
              <a:gd name="T20" fmla="*/ 62 w 395"/>
              <a:gd name="T21" fmla="*/ 124 h 245"/>
              <a:gd name="T22" fmla="*/ 73 w 395"/>
              <a:gd name="T23" fmla="*/ 123 h 245"/>
              <a:gd name="T24" fmla="*/ 84 w 395"/>
              <a:gd name="T25" fmla="*/ 125 h 245"/>
              <a:gd name="T26" fmla="*/ 91 w 395"/>
              <a:gd name="T27" fmla="*/ 121 h 245"/>
              <a:gd name="T28" fmla="*/ 99 w 395"/>
              <a:gd name="T29" fmla="*/ 117 h 245"/>
              <a:gd name="T30" fmla="*/ 107 w 395"/>
              <a:gd name="T31" fmla="*/ 118 h 245"/>
              <a:gd name="T32" fmla="*/ 113 w 395"/>
              <a:gd name="T33" fmla="*/ 123 h 245"/>
              <a:gd name="T34" fmla="*/ 117 w 395"/>
              <a:gd name="T35" fmla="*/ 127 h 245"/>
              <a:gd name="T36" fmla="*/ 119 w 395"/>
              <a:gd name="T37" fmla="*/ 127 h 245"/>
              <a:gd name="T38" fmla="*/ 122 w 395"/>
              <a:gd name="T39" fmla="*/ 121 h 245"/>
              <a:gd name="T40" fmla="*/ 129 w 395"/>
              <a:gd name="T41" fmla="*/ 117 h 245"/>
              <a:gd name="T42" fmla="*/ 133 w 395"/>
              <a:gd name="T43" fmla="*/ 112 h 245"/>
              <a:gd name="T44" fmla="*/ 142 w 395"/>
              <a:gd name="T45" fmla="*/ 109 h 245"/>
              <a:gd name="T46" fmla="*/ 155 w 395"/>
              <a:gd name="T47" fmla="*/ 106 h 245"/>
              <a:gd name="T48" fmla="*/ 166 w 395"/>
              <a:gd name="T49" fmla="*/ 103 h 245"/>
              <a:gd name="T50" fmla="*/ 173 w 395"/>
              <a:gd name="T51" fmla="*/ 103 h 245"/>
              <a:gd name="T52" fmla="*/ 186 w 395"/>
              <a:gd name="T53" fmla="*/ 107 h 245"/>
              <a:gd name="T54" fmla="*/ 196 w 395"/>
              <a:gd name="T55" fmla="*/ 110 h 245"/>
              <a:gd name="T56" fmla="*/ 206 w 395"/>
              <a:gd name="T57" fmla="*/ 110 h 245"/>
              <a:gd name="T58" fmla="*/ 213 w 395"/>
              <a:gd name="T59" fmla="*/ 110 h 245"/>
              <a:gd name="T60" fmla="*/ 222 w 395"/>
              <a:gd name="T61" fmla="*/ 113 h 245"/>
              <a:gd name="T62" fmla="*/ 230 w 395"/>
              <a:gd name="T63" fmla="*/ 110 h 245"/>
              <a:gd name="T64" fmla="*/ 238 w 395"/>
              <a:gd name="T65" fmla="*/ 103 h 245"/>
              <a:gd name="T66" fmla="*/ 241 w 395"/>
              <a:gd name="T67" fmla="*/ 92 h 245"/>
              <a:gd name="T68" fmla="*/ 241 w 395"/>
              <a:gd name="T69" fmla="*/ 84 h 245"/>
              <a:gd name="T70" fmla="*/ 245 w 395"/>
              <a:gd name="T71" fmla="*/ 80 h 245"/>
              <a:gd name="T72" fmla="*/ 257 w 395"/>
              <a:gd name="T73" fmla="*/ 74 h 245"/>
              <a:gd name="T74" fmla="*/ 271 w 395"/>
              <a:gd name="T75" fmla="*/ 66 h 245"/>
              <a:gd name="T76" fmla="*/ 283 w 395"/>
              <a:gd name="T77" fmla="*/ 58 h 245"/>
              <a:gd name="T78" fmla="*/ 293 w 395"/>
              <a:gd name="T79" fmla="*/ 48 h 245"/>
              <a:gd name="T80" fmla="*/ 298 w 395"/>
              <a:gd name="T81" fmla="*/ 46 h 245"/>
              <a:gd name="T82" fmla="*/ 308 w 395"/>
              <a:gd name="T83" fmla="*/ 48 h 245"/>
              <a:gd name="T84" fmla="*/ 323 w 395"/>
              <a:gd name="T85" fmla="*/ 51 h 245"/>
              <a:gd name="T86" fmla="*/ 330 w 395"/>
              <a:gd name="T87" fmla="*/ 55 h 245"/>
              <a:gd name="T88" fmla="*/ 341 w 395"/>
              <a:gd name="T89" fmla="*/ 63 h 245"/>
              <a:gd name="T90" fmla="*/ 347 w 395"/>
              <a:gd name="T91" fmla="*/ 66 h 245"/>
              <a:gd name="T92" fmla="*/ 351 w 395"/>
              <a:gd name="T93" fmla="*/ 65 h 245"/>
              <a:gd name="T94" fmla="*/ 354 w 395"/>
              <a:gd name="T95" fmla="*/ 60 h 245"/>
              <a:gd name="T96" fmla="*/ 357 w 395"/>
              <a:gd name="T97" fmla="*/ 44 h 245"/>
              <a:gd name="T98" fmla="*/ 357 w 395"/>
              <a:gd name="T99" fmla="*/ 38 h 245"/>
              <a:gd name="T100" fmla="*/ 361 w 395"/>
              <a:gd name="T101" fmla="*/ 35 h 245"/>
              <a:gd name="T102" fmla="*/ 372 w 395"/>
              <a:gd name="T103" fmla="*/ 31 h 245"/>
              <a:gd name="T104" fmla="*/ 379 w 395"/>
              <a:gd name="T105" fmla="*/ 27 h 245"/>
              <a:gd name="T106" fmla="*/ 381 w 395"/>
              <a:gd name="T107" fmla="*/ 22 h 245"/>
              <a:gd name="T108" fmla="*/ 380 w 395"/>
              <a:gd name="T109" fmla="*/ 19 h 245"/>
              <a:gd name="T110" fmla="*/ 378 w 395"/>
              <a:gd name="T111" fmla="*/ 14 h 245"/>
              <a:gd name="T112" fmla="*/ 380 w 395"/>
              <a:gd name="T113" fmla="*/ 6 h 245"/>
              <a:gd name="T114" fmla="*/ 384 w 395"/>
              <a:gd name="T115" fmla="*/ 3 h 245"/>
              <a:gd name="T116" fmla="*/ 387 w 395"/>
              <a:gd name="T117" fmla="*/ 2 h 245"/>
              <a:gd name="T118" fmla="*/ 393 w 395"/>
              <a:gd name="T119" fmla="*/ 1 h 245"/>
              <a:gd name="T120" fmla="*/ 395 w 395"/>
              <a:gd name="T121" fmla="*/ 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5" h="245">
                <a:moveTo>
                  <a:pt x="12" y="245"/>
                </a:moveTo>
                <a:lnTo>
                  <a:pt x="11" y="244"/>
                </a:lnTo>
                <a:lnTo>
                  <a:pt x="9" y="241"/>
                </a:lnTo>
                <a:lnTo>
                  <a:pt x="6" y="236"/>
                </a:lnTo>
                <a:lnTo>
                  <a:pt x="3" y="231"/>
                </a:lnTo>
                <a:lnTo>
                  <a:pt x="2" y="229"/>
                </a:lnTo>
                <a:lnTo>
                  <a:pt x="1" y="227"/>
                </a:lnTo>
                <a:lnTo>
                  <a:pt x="1" y="225"/>
                </a:lnTo>
                <a:lnTo>
                  <a:pt x="0" y="223"/>
                </a:lnTo>
                <a:lnTo>
                  <a:pt x="0" y="221"/>
                </a:lnTo>
                <a:lnTo>
                  <a:pt x="0" y="219"/>
                </a:lnTo>
                <a:lnTo>
                  <a:pt x="0" y="218"/>
                </a:lnTo>
                <a:lnTo>
                  <a:pt x="1" y="217"/>
                </a:lnTo>
                <a:lnTo>
                  <a:pt x="1" y="215"/>
                </a:lnTo>
                <a:lnTo>
                  <a:pt x="2" y="214"/>
                </a:lnTo>
                <a:lnTo>
                  <a:pt x="3" y="213"/>
                </a:lnTo>
                <a:lnTo>
                  <a:pt x="4" y="212"/>
                </a:lnTo>
                <a:lnTo>
                  <a:pt x="4" y="211"/>
                </a:lnTo>
                <a:lnTo>
                  <a:pt x="6" y="210"/>
                </a:lnTo>
                <a:lnTo>
                  <a:pt x="8" y="208"/>
                </a:lnTo>
                <a:lnTo>
                  <a:pt x="11" y="206"/>
                </a:lnTo>
                <a:lnTo>
                  <a:pt x="19" y="202"/>
                </a:lnTo>
                <a:lnTo>
                  <a:pt x="20" y="201"/>
                </a:lnTo>
                <a:lnTo>
                  <a:pt x="22" y="200"/>
                </a:lnTo>
                <a:lnTo>
                  <a:pt x="23" y="199"/>
                </a:lnTo>
                <a:lnTo>
                  <a:pt x="24" y="198"/>
                </a:lnTo>
                <a:lnTo>
                  <a:pt x="25" y="197"/>
                </a:lnTo>
                <a:lnTo>
                  <a:pt x="26" y="196"/>
                </a:lnTo>
                <a:lnTo>
                  <a:pt x="26" y="195"/>
                </a:lnTo>
                <a:lnTo>
                  <a:pt x="27" y="194"/>
                </a:lnTo>
                <a:lnTo>
                  <a:pt x="27" y="192"/>
                </a:lnTo>
                <a:lnTo>
                  <a:pt x="28" y="188"/>
                </a:lnTo>
                <a:lnTo>
                  <a:pt x="28" y="183"/>
                </a:lnTo>
                <a:lnTo>
                  <a:pt x="29" y="180"/>
                </a:lnTo>
                <a:lnTo>
                  <a:pt x="32" y="171"/>
                </a:lnTo>
                <a:lnTo>
                  <a:pt x="32" y="169"/>
                </a:lnTo>
                <a:lnTo>
                  <a:pt x="33" y="168"/>
                </a:lnTo>
                <a:lnTo>
                  <a:pt x="34" y="166"/>
                </a:lnTo>
                <a:lnTo>
                  <a:pt x="35" y="165"/>
                </a:lnTo>
                <a:lnTo>
                  <a:pt x="36" y="164"/>
                </a:lnTo>
                <a:lnTo>
                  <a:pt x="38" y="162"/>
                </a:lnTo>
                <a:lnTo>
                  <a:pt x="39" y="161"/>
                </a:lnTo>
                <a:lnTo>
                  <a:pt x="40" y="160"/>
                </a:lnTo>
                <a:lnTo>
                  <a:pt x="41" y="158"/>
                </a:lnTo>
                <a:lnTo>
                  <a:pt x="43" y="154"/>
                </a:lnTo>
                <a:lnTo>
                  <a:pt x="44" y="153"/>
                </a:lnTo>
                <a:lnTo>
                  <a:pt x="46" y="149"/>
                </a:lnTo>
                <a:lnTo>
                  <a:pt x="47" y="147"/>
                </a:lnTo>
                <a:lnTo>
                  <a:pt x="48" y="145"/>
                </a:lnTo>
                <a:lnTo>
                  <a:pt x="52" y="139"/>
                </a:lnTo>
                <a:lnTo>
                  <a:pt x="54" y="135"/>
                </a:lnTo>
                <a:lnTo>
                  <a:pt x="55" y="134"/>
                </a:lnTo>
                <a:lnTo>
                  <a:pt x="57" y="131"/>
                </a:lnTo>
                <a:lnTo>
                  <a:pt x="58" y="129"/>
                </a:lnTo>
                <a:lnTo>
                  <a:pt x="62" y="124"/>
                </a:lnTo>
                <a:lnTo>
                  <a:pt x="63" y="123"/>
                </a:lnTo>
                <a:lnTo>
                  <a:pt x="64" y="121"/>
                </a:lnTo>
                <a:lnTo>
                  <a:pt x="64" y="121"/>
                </a:lnTo>
                <a:lnTo>
                  <a:pt x="67" y="121"/>
                </a:lnTo>
                <a:lnTo>
                  <a:pt x="73" y="123"/>
                </a:lnTo>
                <a:lnTo>
                  <a:pt x="79" y="125"/>
                </a:lnTo>
                <a:lnTo>
                  <a:pt x="81" y="125"/>
                </a:lnTo>
                <a:lnTo>
                  <a:pt x="82" y="125"/>
                </a:lnTo>
                <a:lnTo>
                  <a:pt x="83" y="125"/>
                </a:lnTo>
                <a:lnTo>
                  <a:pt x="84" y="125"/>
                </a:lnTo>
                <a:lnTo>
                  <a:pt x="85" y="125"/>
                </a:lnTo>
                <a:lnTo>
                  <a:pt x="86" y="124"/>
                </a:lnTo>
                <a:lnTo>
                  <a:pt x="88" y="124"/>
                </a:lnTo>
                <a:lnTo>
                  <a:pt x="89" y="123"/>
                </a:lnTo>
                <a:lnTo>
                  <a:pt x="91" y="121"/>
                </a:lnTo>
                <a:lnTo>
                  <a:pt x="92" y="120"/>
                </a:lnTo>
                <a:lnTo>
                  <a:pt x="94" y="119"/>
                </a:lnTo>
                <a:lnTo>
                  <a:pt x="96" y="118"/>
                </a:lnTo>
                <a:lnTo>
                  <a:pt x="98" y="118"/>
                </a:lnTo>
                <a:lnTo>
                  <a:pt x="99" y="117"/>
                </a:lnTo>
                <a:lnTo>
                  <a:pt x="101" y="117"/>
                </a:lnTo>
                <a:lnTo>
                  <a:pt x="103" y="117"/>
                </a:lnTo>
                <a:lnTo>
                  <a:pt x="104" y="117"/>
                </a:lnTo>
                <a:lnTo>
                  <a:pt x="105" y="118"/>
                </a:lnTo>
                <a:lnTo>
                  <a:pt x="107" y="118"/>
                </a:lnTo>
                <a:lnTo>
                  <a:pt x="108" y="119"/>
                </a:lnTo>
                <a:lnTo>
                  <a:pt x="110" y="120"/>
                </a:lnTo>
                <a:lnTo>
                  <a:pt x="111" y="121"/>
                </a:lnTo>
                <a:lnTo>
                  <a:pt x="112" y="122"/>
                </a:lnTo>
                <a:lnTo>
                  <a:pt x="113" y="123"/>
                </a:lnTo>
                <a:lnTo>
                  <a:pt x="115" y="126"/>
                </a:lnTo>
                <a:lnTo>
                  <a:pt x="116" y="127"/>
                </a:lnTo>
                <a:lnTo>
                  <a:pt x="116" y="127"/>
                </a:lnTo>
                <a:lnTo>
                  <a:pt x="117" y="127"/>
                </a:lnTo>
                <a:lnTo>
                  <a:pt x="117" y="127"/>
                </a:lnTo>
                <a:lnTo>
                  <a:pt x="118" y="127"/>
                </a:lnTo>
                <a:lnTo>
                  <a:pt x="118" y="127"/>
                </a:lnTo>
                <a:lnTo>
                  <a:pt x="118" y="127"/>
                </a:lnTo>
                <a:lnTo>
                  <a:pt x="119" y="127"/>
                </a:lnTo>
                <a:lnTo>
                  <a:pt x="119" y="127"/>
                </a:lnTo>
                <a:lnTo>
                  <a:pt x="119" y="126"/>
                </a:lnTo>
                <a:lnTo>
                  <a:pt x="120" y="124"/>
                </a:lnTo>
                <a:lnTo>
                  <a:pt x="120" y="123"/>
                </a:lnTo>
                <a:lnTo>
                  <a:pt x="121" y="122"/>
                </a:lnTo>
                <a:lnTo>
                  <a:pt x="122" y="121"/>
                </a:lnTo>
                <a:lnTo>
                  <a:pt x="123" y="121"/>
                </a:lnTo>
                <a:lnTo>
                  <a:pt x="124" y="120"/>
                </a:lnTo>
                <a:lnTo>
                  <a:pt x="125" y="119"/>
                </a:lnTo>
                <a:lnTo>
                  <a:pt x="128" y="117"/>
                </a:lnTo>
                <a:lnTo>
                  <a:pt x="129" y="117"/>
                </a:lnTo>
                <a:lnTo>
                  <a:pt x="130" y="116"/>
                </a:lnTo>
                <a:lnTo>
                  <a:pt x="131" y="115"/>
                </a:lnTo>
                <a:lnTo>
                  <a:pt x="132" y="113"/>
                </a:lnTo>
                <a:lnTo>
                  <a:pt x="133" y="113"/>
                </a:lnTo>
                <a:lnTo>
                  <a:pt x="133" y="112"/>
                </a:lnTo>
                <a:lnTo>
                  <a:pt x="134" y="112"/>
                </a:lnTo>
                <a:lnTo>
                  <a:pt x="136" y="111"/>
                </a:lnTo>
                <a:lnTo>
                  <a:pt x="139" y="110"/>
                </a:lnTo>
                <a:lnTo>
                  <a:pt x="141" y="110"/>
                </a:lnTo>
                <a:lnTo>
                  <a:pt x="142" y="109"/>
                </a:lnTo>
                <a:lnTo>
                  <a:pt x="146" y="108"/>
                </a:lnTo>
                <a:lnTo>
                  <a:pt x="147" y="107"/>
                </a:lnTo>
                <a:lnTo>
                  <a:pt x="149" y="107"/>
                </a:lnTo>
                <a:lnTo>
                  <a:pt x="154" y="106"/>
                </a:lnTo>
                <a:lnTo>
                  <a:pt x="155" y="106"/>
                </a:lnTo>
                <a:lnTo>
                  <a:pt x="158" y="106"/>
                </a:lnTo>
                <a:lnTo>
                  <a:pt x="159" y="106"/>
                </a:lnTo>
                <a:lnTo>
                  <a:pt x="161" y="105"/>
                </a:lnTo>
                <a:lnTo>
                  <a:pt x="165" y="104"/>
                </a:lnTo>
                <a:lnTo>
                  <a:pt x="166" y="103"/>
                </a:lnTo>
                <a:lnTo>
                  <a:pt x="167" y="103"/>
                </a:lnTo>
                <a:lnTo>
                  <a:pt x="168" y="103"/>
                </a:lnTo>
                <a:lnTo>
                  <a:pt x="170" y="103"/>
                </a:lnTo>
                <a:lnTo>
                  <a:pt x="171" y="103"/>
                </a:lnTo>
                <a:lnTo>
                  <a:pt x="173" y="103"/>
                </a:lnTo>
                <a:lnTo>
                  <a:pt x="174" y="104"/>
                </a:lnTo>
                <a:lnTo>
                  <a:pt x="176" y="104"/>
                </a:lnTo>
                <a:lnTo>
                  <a:pt x="178" y="105"/>
                </a:lnTo>
                <a:lnTo>
                  <a:pt x="180" y="106"/>
                </a:lnTo>
                <a:lnTo>
                  <a:pt x="186" y="107"/>
                </a:lnTo>
                <a:lnTo>
                  <a:pt x="188" y="108"/>
                </a:lnTo>
                <a:lnTo>
                  <a:pt x="192" y="110"/>
                </a:lnTo>
                <a:lnTo>
                  <a:pt x="193" y="110"/>
                </a:lnTo>
                <a:lnTo>
                  <a:pt x="195" y="110"/>
                </a:lnTo>
                <a:lnTo>
                  <a:pt x="196" y="110"/>
                </a:lnTo>
                <a:lnTo>
                  <a:pt x="197" y="110"/>
                </a:lnTo>
                <a:lnTo>
                  <a:pt x="200" y="110"/>
                </a:lnTo>
                <a:lnTo>
                  <a:pt x="201" y="110"/>
                </a:lnTo>
                <a:lnTo>
                  <a:pt x="203" y="110"/>
                </a:lnTo>
                <a:lnTo>
                  <a:pt x="206" y="110"/>
                </a:lnTo>
                <a:lnTo>
                  <a:pt x="208" y="110"/>
                </a:lnTo>
                <a:lnTo>
                  <a:pt x="209" y="109"/>
                </a:lnTo>
                <a:lnTo>
                  <a:pt x="210" y="109"/>
                </a:lnTo>
                <a:lnTo>
                  <a:pt x="212" y="110"/>
                </a:lnTo>
                <a:lnTo>
                  <a:pt x="213" y="110"/>
                </a:lnTo>
                <a:lnTo>
                  <a:pt x="215" y="110"/>
                </a:lnTo>
                <a:lnTo>
                  <a:pt x="219" y="112"/>
                </a:lnTo>
                <a:lnTo>
                  <a:pt x="220" y="112"/>
                </a:lnTo>
                <a:lnTo>
                  <a:pt x="221" y="112"/>
                </a:lnTo>
                <a:lnTo>
                  <a:pt x="222" y="113"/>
                </a:lnTo>
                <a:lnTo>
                  <a:pt x="223" y="112"/>
                </a:lnTo>
                <a:lnTo>
                  <a:pt x="225" y="112"/>
                </a:lnTo>
                <a:lnTo>
                  <a:pt x="226" y="112"/>
                </a:lnTo>
                <a:lnTo>
                  <a:pt x="228" y="111"/>
                </a:lnTo>
                <a:lnTo>
                  <a:pt x="230" y="110"/>
                </a:lnTo>
                <a:lnTo>
                  <a:pt x="231" y="109"/>
                </a:lnTo>
                <a:lnTo>
                  <a:pt x="233" y="108"/>
                </a:lnTo>
                <a:lnTo>
                  <a:pt x="235" y="106"/>
                </a:lnTo>
                <a:lnTo>
                  <a:pt x="236" y="104"/>
                </a:lnTo>
                <a:lnTo>
                  <a:pt x="238" y="103"/>
                </a:lnTo>
                <a:lnTo>
                  <a:pt x="238" y="101"/>
                </a:lnTo>
                <a:lnTo>
                  <a:pt x="239" y="101"/>
                </a:lnTo>
                <a:lnTo>
                  <a:pt x="239" y="100"/>
                </a:lnTo>
                <a:lnTo>
                  <a:pt x="241" y="93"/>
                </a:lnTo>
                <a:lnTo>
                  <a:pt x="241" y="92"/>
                </a:lnTo>
                <a:lnTo>
                  <a:pt x="241" y="91"/>
                </a:lnTo>
                <a:lnTo>
                  <a:pt x="241" y="86"/>
                </a:lnTo>
                <a:lnTo>
                  <a:pt x="241" y="85"/>
                </a:lnTo>
                <a:lnTo>
                  <a:pt x="241" y="85"/>
                </a:lnTo>
                <a:lnTo>
                  <a:pt x="241" y="84"/>
                </a:lnTo>
                <a:lnTo>
                  <a:pt x="242" y="83"/>
                </a:lnTo>
                <a:lnTo>
                  <a:pt x="242" y="82"/>
                </a:lnTo>
                <a:lnTo>
                  <a:pt x="243" y="82"/>
                </a:lnTo>
                <a:lnTo>
                  <a:pt x="244" y="81"/>
                </a:lnTo>
                <a:lnTo>
                  <a:pt x="245" y="80"/>
                </a:lnTo>
                <a:lnTo>
                  <a:pt x="246" y="80"/>
                </a:lnTo>
                <a:lnTo>
                  <a:pt x="249" y="78"/>
                </a:lnTo>
                <a:lnTo>
                  <a:pt x="254" y="76"/>
                </a:lnTo>
                <a:lnTo>
                  <a:pt x="255" y="76"/>
                </a:lnTo>
                <a:lnTo>
                  <a:pt x="257" y="74"/>
                </a:lnTo>
                <a:lnTo>
                  <a:pt x="258" y="73"/>
                </a:lnTo>
                <a:lnTo>
                  <a:pt x="260" y="72"/>
                </a:lnTo>
                <a:lnTo>
                  <a:pt x="263" y="71"/>
                </a:lnTo>
                <a:lnTo>
                  <a:pt x="264" y="70"/>
                </a:lnTo>
                <a:lnTo>
                  <a:pt x="271" y="66"/>
                </a:lnTo>
                <a:lnTo>
                  <a:pt x="274" y="64"/>
                </a:lnTo>
                <a:lnTo>
                  <a:pt x="276" y="62"/>
                </a:lnTo>
                <a:lnTo>
                  <a:pt x="279" y="60"/>
                </a:lnTo>
                <a:lnTo>
                  <a:pt x="282" y="58"/>
                </a:lnTo>
                <a:lnTo>
                  <a:pt x="283" y="58"/>
                </a:lnTo>
                <a:lnTo>
                  <a:pt x="285" y="56"/>
                </a:lnTo>
                <a:lnTo>
                  <a:pt x="288" y="54"/>
                </a:lnTo>
                <a:lnTo>
                  <a:pt x="291" y="51"/>
                </a:lnTo>
                <a:lnTo>
                  <a:pt x="293" y="49"/>
                </a:lnTo>
                <a:lnTo>
                  <a:pt x="293" y="48"/>
                </a:lnTo>
                <a:lnTo>
                  <a:pt x="294" y="48"/>
                </a:lnTo>
                <a:lnTo>
                  <a:pt x="295" y="47"/>
                </a:lnTo>
                <a:lnTo>
                  <a:pt x="296" y="47"/>
                </a:lnTo>
                <a:lnTo>
                  <a:pt x="297" y="46"/>
                </a:lnTo>
                <a:lnTo>
                  <a:pt x="298" y="46"/>
                </a:lnTo>
                <a:lnTo>
                  <a:pt x="298" y="46"/>
                </a:lnTo>
                <a:lnTo>
                  <a:pt x="299" y="46"/>
                </a:lnTo>
                <a:lnTo>
                  <a:pt x="303" y="47"/>
                </a:lnTo>
                <a:lnTo>
                  <a:pt x="306" y="48"/>
                </a:lnTo>
                <a:lnTo>
                  <a:pt x="308" y="48"/>
                </a:lnTo>
                <a:lnTo>
                  <a:pt x="312" y="49"/>
                </a:lnTo>
                <a:lnTo>
                  <a:pt x="317" y="49"/>
                </a:lnTo>
                <a:lnTo>
                  <a:pt x="318" y="49"/>
                </a:lnTo>
                <a:lnTo>
                  <a:pt x="320" y="50"/>
                </a:lnTo>
                <a:lnTo>
                  <a:pt x="323" y="51"/>
                </a:lnTo>
                <a:lnTo>
                  <a:pt x="324" y="51"/>
                </a:lnTo>
                <a:lnTo>
                  <a:pt x="325" y="51"/>
                </a:lnTo>
                <a:lnTo>
                  <a:pt x="326" y="52"/>
                </a:lnTo>
                <a:lnTo>
                  <a:pt x="328" y="54"/>
                </a:lnTo>
                <a:lnTo>
                  <a:pt x="330" y="55"/>
                </a:lnTo>
                <a:lnTo>
                  <a:pt x="333" y="57"/>
                </a:lnTo>
                <a:lnTo>
                  <a:pt x="333" y="58"/>
                </a:lnTo>
                <a:lnTo>
                  <a:pt x="335" y="59"/>
                </a:lnTo>
                <a:lnTo>
                  <a:pt x="339" y="62"/>
                </a:lnTo>
                <a:lnTo>
                  <a:pt x="341" y="63"/>
                </a:lnTo>
                <a:lnTo>
                  <a:pt x="343" y="64"/>
                </a:lnTo>
                <a:lnTo>
                  <a:pt x="344" y="65"/>
                </a:lnTo>
                <a:lnTo>
                  <a:pt x="345" y="65"/>
                </a:lnTo>
                <a:lnTo>
                  <a:pt x="346" y="66"/>
                </a:lnTo>
                <a:lnTo>
                  <a:pt x="347" y="66"/>
                </a:lnTo>
                <a:lnTo>
                  <a:pt x="348" y="66"/>
                </a:lnTo>
                <a:lnTo>
                  <a:pt x="349" y="66"/>
                </a:lnTo>
                <a:lnTo>
                  <a:pt x="350" y="66"/>
                </a:lnTo>
                <a:lnTo>
                  <a:pt x="351" y="66"/>
                </a:lnTo>
                <a:lnTo>
                  <a:pt x="351" y="65"/>
                </a:lnTo>
                <a:lnTo>
                  <a:pt x="352" y="65"/>
                </a:lnTo>
                <a:lnTo>
                  <a:pt x="353" y="64"/>
                </a:lnTo>
                <a:lnTo>
                  <a:pt x="353" y="63"/>
                </a:lnTo>
                <a:lnTo>
                  <a:pt x="354" y="62"/>
                </a:lnTo>
                <a:lnTo>
                  <a:pt x="354" y="60"/>
                </a:lnTo>
                <a:lnTo>
                  <a:pt x="356" y="52"/>
                </a:lnTo>
                <a:lnTo>
                  <a:pt x="357" y="50"/>
                </a:lnTo>
                <a:lnTo>
                  <a:pt x="357" y="49"/>
                </a:lnTo>
                <a:lnTo>
                  <a:pt x="357" y="47"/>
                </a:lnTo>
                <a:lnTo>
                  <a:pt x="357" y="44"/>
                </a:lnTo>
                <a:lnTo>
                  <a:pt x="357" y="43"/>
                </a:lnTo>
                <a:lnTo>
                  <a:pt x="356" y="41"/>
                </a:lnTo>
                <a:lnTo>
                  <a:pt x="356" y="40"/>
                </a:lnTo>
                <a:lnTo>
                  <a:pt x="357" y="39"/>
                </a:lnTo>
                <a:lnTo>
                  <a:pt x="357" y="38"/>
                </a:lnTo>
                <a:lnTo>
                  <a:pt x="357" y="37"/>
                </a:lnTo>
                <a:lnTo>
                  <a:pt x="358" y="37"/>
                </a:lnTo>
                <a:lnTo>
                  <a:pt x="358" y="36"/>
                </a:lnTo>
                <a:lnTo>
                  <a:pt x="359" y="36"/>
                </a:lnTo>
                <a:lnTo>
                  <a:pt x="361" y="35"/>
                </a:lnTo>
                <a:lnTo>
                  <a:pt x="363" y="35"/>
                </a:lnTo>
                <a:lnTo>
                  <a:pt x="364" y="35"/>
                </a:lnTo>
                <a:lnTo>
                  <a:pt x="366" y="34"/>
                </a:lnTo>
                <a:lnTo>
                  <a:pt x="371" y="32"/>
                </a:lnTo>
                <a:lnTo>
                  <a:pt x="372" y="31"/>
                </a:lnTo>
                <a:lnTo>
                  <a:pt x="373" y="31"/>
                </a:lnTo>
                <a:lnTo>
                  <a:pt x="375" y="29"/>
                </a:lnTo>
                <a:lnTo>
                  <a:pt x="377" y="28"/>
                </a:lnTo>
                <a:lnTo>
                  <a:pt x="378" y="28"/>
                </a:lnTo>
                <a:lnTo>
                  <a:pt x="379" y="27"/>
                </a:lnTo>
                <a:lnTo>
                  <a:pt x="379" y="26"/>
                </a:lnTo>
                <a:lnTo>
                  <a:pt x="380" y="25"/>
                </a:lnTo>
                <a:lnTo>
                  <a:pt x="380" y="25"/>
                </a:lnTo>
                <a:lnTo>
                  <a:pt x="381" y="24"/>
                </a:lnTo>
                <a:lnTo>
                  <a:pt x="381" y="22"/>
                </a:lnTo>
                <a:lnTo>
                  <a:pt x="381" y="22"/>
                </a:lnTo>
                <a:lnTo>
                  <a:pt x="381" y="21"/>
                </a:lnTo>
                <a:lnTo>
                  <a:pt x="381" y="20"/>
                </a:lnTo>
                <a:lnTo>
                  <a:pt x="380" y="20"/>
                </a:lnTo>
                <a:lnTo>
                  <a:pt x="380" y="19"/>
                </a:lnTo>
                <a:lnTo>
                  <a:pt x="378" y="17"/>
                </a:lnTo>
                <a:lnTo>
                  <a:pt x="378" y="16"/>
                </a:lnTo>
                <a:lnTo>
                  <a:pt x="378" y="16"/>
                </a:lnTo>
                <a:lnTo>
                  <a:pt x="378" y="15"/>
                </a:lnTo>
                <a:lnTo>
                  <a:pt x="378" y="14"/>
                </a:lnTo>
                <a:lnTo>
                  <a:pt x="378" y="13"/>
                </a:lnTo>
                <a:lnTo>
                  <a:pt x="378" y="12"/>
                </a:lnTo>
                <a:lnTo>
                  <a:pt x="378" y="10"/>
                </a:lnTo>
                <a:lnTo>
                  <a:pt x="379" y="8"/>
                </a:lnTo>
                <a:lnTo>
                  <a:pt x="380" y="6"/>
                </a:lnTo>
                <a:lnTo>
                  <a:pt x="381" y="5"/>
                </a:lnTo>
                <a:lnTo>
                  <a:pt x="381" y="4"/>
                </a:lnTo>
                <a:lnTo>
                  <a:pt x="382" y="4"/>
                </a:lnTo>
                <a:lnTo>
                  <a:pt x="383" y="3"/>
                </a:lnTo>
                <a:lnTo>
                  <a:pt x="384" y="3"/>
                </a:lnTo>
                <a:lnTo>
                  <a:pt x="385" y="3"/>
                </a:lnTo>
                <a:lnTo>
                  <a:pt x="386" y="2"/>
                </a:lnTo>
                <a:lnTo>
                  <a:pt x="386" y="2"/>
                </a:lnTo>
                <a:lnTo>
                  <a:pt x="387" y="2"/>
                </a:lnTo>
                <a:lnTo>
                  <a:pt x="387" y="2"/>
                </a:lnTo>
                <a:lnTo>
                  <a:pt x="387" y="2"/>
                </a:lnTo>
                <a:lnTo>
                  <a:pt x="388" y="2"/>
                </a:lnTo>
                <a:lnTo>
                  <a:pt x="390" y="2"/>
                </a:lnTo>
                <a:lnTo>
                  <a:pt x="393" y="2"/>
                </a:lnTo>
                <a:lnTo>
                  <a:pt x="393" y="1"/>
                </a:lnTo>
                <a:lnTo>
                  <a:pt x="394" y="1"/>
                </a:lnTo>
                <a:lnTo>
                  <a:pt x="394" y="1"/>
                </a:lnTo>
                <a:lnTo>
                  <a:pt x="394" y="0"/>
                </a:lnTo>
                <a:lnTo>
                  <a:pt x="394" y="0"/>
                </a:lnTo>
                <a:lnTo>
                  <a:pt x="395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 270">
            <a:extLst>
              <a:ext uri="{FF2B5EF4-FFF2-40B4-BE49-F238E27FC236}">
                <a16:creationId xmlns:a16="http://schemas.microsoft.com/office/drawing/2014/main" id="{9E37A2F5-BFCC-451E-9C36-41F9544A97D1}"/>
              </a:ext>
            </a:extLst>
          </p:cNvPr>
          <p:cNvSpPr>
            <a:spLocks/>
          </p:cNvSpPr>
          <p:nvPr/>
        </p:nvSpPr>
        <p:spPr bwMode="auto">
          <a:xfrm>
            <a:off x="6405821" y="3774528"/>
            <a:ext cx="954162" cy="761115"/>
          </a:xfrm>
          <a:custGeom>
            <a:avLst/>
            <a:gdLst>
              <a:gd name="T0" fmla="*/ 347 w 502"/>
              <a:gd name="T1" fmla="*/ 27 h 366"/>
              <a:gd name="T2" fmla="*/ 372 w 502"/>
              <a:gd name="T3" fmla="*/ 45 h 366"/>
              <a:gd name="T4" fmla="*/ 410 w 502"/>
              <a:gd name="T5" fmla="*/ 52 h 366"/>
              <a:gd name="T6" fmla="*/ 422 w 502"/>
              <a:gd name="T7" fmla="*/ 69 h 366"/>
              <a:gd name="T8" fmla="*/ 433 w 502"/>
              <a:gd name="T9" fmla="*/ 73 h 366"/>
              <a:gd name="T10" fmla="*/ 466 w 502"/>
              <a:gd name="T11" fmla="*/ 73 h 366"/>
              <a:gd name="T12" fmla="*/ 477 w 502"/>
              <a:gd name="T13" fmla="*/ 90 h 366"/>
              <a:gd name="T14" fmla="*/ 472 w 502"/>
              <a:gd name="T15" fmla="*/ 121 h 366"/>
              <a:gd name="T16" fmla="*/ 474 w 502"/>
              <a:gd name="T17" fmla="*/ 148 h 366"/>
              <a:gd name="T18" fmla="*/ 482 w 502"/>
              <a:gd name="T19" fmla="*/ 168 h 366"/>
              <a:gd name="T20" fmla="*/ 494 w 502"/>
              <a:gd name="T21" fmla="*/ 199 h 366"/>
              <a:gd name="T22" fmla="*/ 492 w 502"/>
              <a:gd name="T23" fmla="*/ 213 h 366"/>
              <a:gd name="T24" fmla="*/ 477 w 502"/>
              <a:gd name="T25" fmla="*/ 216 h 366"/>
              <a:gd name="T26" fmla="*/ 489 w 502"/>
              <a:gd name="T27" fmla="*/ 225 h 366"/>
              <a:gd name="T28" fmla="*/ 500 w 502"/>
              <a:gd name="T29" fmla="*/ 242 h 366"/>
              <a:gd name="T30" fmla="*/ 497 w 502"/>
              <a:gd name="T31" fmla="*/ 259 h 366"/>
              <a:gd name="T32" fmla="*/ 488 w 502"/>
              <a:gd name="T33" fmla="*/ 271 h 366"/>
              <a:gd name="T34" fmla="*/ 474 w 502"/>
              <a:gd name="T35" fmla="*/ 286 h 366"/>
              <a:gd name="T36" fmla="*/ 463 w 502"/>
              <a:gd name="T37" fmla="*/ 305 h 366"/>
              <a:gd name="T38" fmla="*/ 437 w 502"/>
              <a:gd name="T39" fmla="*/ 289 h 366"/>
              <a:gd name="T40" fmla="*/ 410 w 502"/>
              <a:gd name="T41" fmla="*/ 288 h 366"/>
              <a:gd name="T42" fmla="*/ 372 w 502"/>
              <a:gd name="T43" fmla="*/ 315 h 366"/>
              <a:gd name="T44" fmla="*/ 358 w 502"/>
              <a:gd name="T45" fmla="*/ 332 h 366"/>
              <a:gd name="T46" fmla="*/ 338 w 502"/>
              <a:gd name="T47" fmla="*/ 351 h 366"/>
              <a:gd name="T48" fmla="*/ 312 w 502"/>
              <a:gd name="T49" fmla="*/ 349 h 366"/>
              <a:gd name="T50" fmla="*/ 282 w 502"/>
              <a:gd name="T51" fmla="*/ 343 h 366"/>
              <a:gd name="T52" fmla="*/ 250 w 502"/>
              <a:gd name="T53" fmla="*/ 352 h 366"/>
              <a:gd name="T54" fmla="*/ 236 w 502"/>
              <a:gd name="T55" fmla="*/ 366 h 366"/>
              <a:gd name="T56" fmla="*/ 222 w 502"/>
              <a:gd name="T57" fmla="*/ 357 h 366"/>
              <a:gd name="T58" fmla="*/ 200 w 502"/>
              <a:gd name="T59" fmla="*/ 364 h 366"/>
              <a:gd name="T60" fmla="*/ 175 w 502"/>
              <a:gd name="T61" fmla="*/ 351 h 366"/>
              <a:gd name="T62" fmla="*/ 152 w 502"/>
              <a:gd name="T63" fmla="*/ 331 h 366"/>
              <a:gd name="T64" fmla="*/ 156 w 502"/>
              <a:gd name="T65" fmla="*/ 312 h 366"/>
              <a:gd name="T66" fmla="*/ 135 w 502"/>
              <a:gd name="T67" fmla="*/ 302 h 366"/>
              <a:gd name="T68" fmla="*/ 113 w 502"/>
              <a:gd name="T69" fmla="*/ 285 h 366"/>
              <a:gd name="T70" fmla="*/ 87 w 502"/>
              <a:gd name="T71" fmla="*/ 265 h 366"/>
              <a:gd name="T72" fmla="*/ 65 w 502"/>
              <a:gd name="T73" fmla="*/ 252 h 366"/>
              <a:gd name="T74" fmla="*/ 56 w 502"/>
              <a:gd name="T75" fmla="*/ 231 h 366"/>
              <a:gd name="T76" fmla="*/ 39 w 502"/>
              <a:gd name="T77" fmla="*/ 214 h 366"/>
              <a:gd name="T78" fmla="*/ 43 w 502"/>
              <a:gd name="T79" fmla="*/ 178 h 366"/>
              <a:gd name="T80" fmla="*/ 26 w 502"/>
              <a:gd name="T81" fmla="*/ 150 h 366"/>
              <a:gd name="T82" fmla="*/ 4 w 502"/>
              <a:gd name="T83" fmla="*/ 133 h 366"/>
              <a:gd name="T84" fmla="*/ 3 w 502"/>
              <a:gd name="T85" fmla="*/ 119 h 366"/>
              <a:gd name="T86" fmla="*/ 13 w 502"/>
              <a:gd name="T87" fmla="*/ 103 h 366"/>
              <a:gd name="T88" fmla="*/ 6 w 502"/>
              <a:gd name="T89" fmla="*/ 82 h 366"/>
              <a:gd name="T90" fmla="*/ 34 w 502"/>
              <a:gd name="T91" fmla="*/ 83 h 366"/>
              <a:gd name="T92" fmla="*/ 46 w 502"/>
              <a:gd name="T93" fmla="*/ 110 h 366"/>
              <a:gd name="T94" fmla="*/ 66 w 502"/>
              <a:gd name="T95" fmla="*/ 123 h 366"/>
              <a:gd name="T96" fmla="*/ 63 w 502"/>
              <a:gd name="T97" fmla="*/ 134 h 366"/>
              <a:gd name="T98" fmla="*/ 76 w 502"/>
              <a:gd name="T99" fmla="*/ 159 h 366"/>
              <a:gd name="T100" fmla="*/ 83 w 502"/>
              <a:gd name="T101" fmla="*/ 179 h 366"/>
              <a:gd name="T102" fmla="*/ 95 w 502"/>
              <a:gd name="T103" fmla="*/ 172 h 366"/>
              <a:gd name="T104" fmla="*/ 98 w 502"/>
              <a:gd name="T105" fmla="*/ 140 h 366"/>
              <a:gd name="T106" fmla="*/ 106 w 502"/>
              <a:gd name="T107" fmla="*/ 128 h 366"/>
              <a:gd name="T108" fmla="*/ 126 w 502"/>
              <a:gd name="T109" fmla="*/ 98 h 366"/>
              <a:gd name="T110" fmla="*/ 142 w 502"/>
              <a:gd name="T111" fmla="*/ 79 h 366"/>
              <a:gd name="T112" fmla="*/ 164 w 502"/>
              <a:gd name="T113" fmla="*/ 62 h 366"/>
              <a:gd name="T114" fmla="*/ 182 w 502"/>
              <a:gd name="T115" fmla="*/ 38 h 366"/>
              <a:gd name="T116" fmla="*/ 242 w 502"/>
              <a:gd name="T117" fmla="*/ 30 h 366"/>
              <a:gd name="T118" fmla="*/ 270 w 502"/>
              <a:gd name="T119" fmla="*/ 20 h 366"/>
              <a:gd name="T120" fmla="*/ 295 w 502"/>
              <a:gd name="T121" fmla="*/ 11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02" h="366">
                <a:moveTo>
                  <a:pt x="308" y="1"/>
                </a:moveTo>
                <a:lnTo>
                  <a:pt x="310" y="2"/>
                </a:lnTo>
                <a:lnTo>
                  <a:pt x="312" y="4"/>
                </a:lnTo>
                <a:lnTo>
                  <a:pt x="314" y="5"/>
                </a:lnTo>
                <a:lnTo>
                  <a:pt x="320" y="10"/>
                </a:lnTo>
                <a:lnTo>
                  <a:pt x="327" y="14"/>
                </a:lnTo>
                <a:lnTo>
                  <a:pt x="331" y="17"/>
                </a:lnTo>
                <a:lnTo>
                  <a:pt x="333" y="18"/>
                </a:lnTo>
                <a:lnTo>
                  <a:pt x="337" y="21"/>
                </a:lnTo>
                <a:lnTo>
                  <a:pt x="339" y="23"/>
                </a:lnTo>
                <a:lnTo>
                  <a:pt x="340" y="24"/>
                </a:lnTo>
                <a:lnTo>
                  <a:pt x="341" y="25"/>
                </a:lnTo>
                <a:lnTo>
                  <a:pt x="344" y="26"/>
                </a:lnTo>
                <a:lnTo>
                  <a:pt x="345" y="26"/>
                </a:lnTo>
                <a:lnTo>
                  <a:pt x="347" y="27"/>
                </a:lnTo>
                <a:lnTo>
                  <a:pt x="349" y="29"/>
                </a:lnTo>
                <a:lnTo>
                  <a:pt x="352" y="32"/>
                </a:lnTo>
                <a:lnTo>
                  <a:pt x="354" y="33"/>
                </a:lnTo>
                <a:lnTo>
                  <a:pt x="356" y="36"/>
                </a:lnTo>
                <a:lnTo>
                  <a:pt x="357" y="37"/>
                </a:lnTo>
                <a:lnTo>
                  <a:pt x="357" y="37"/>
                </a:lnTo>
                <a:lnTo>
                  <a:pt x="358" y="38"/>
                </a:lnTo>
                <a:lnTo>
                  <a:pt x="358" y="38"/>
                </a:lnTo>
                <a:lnTo>
                  <a:pt x="359" y="38"/>
                </a:lnTo>
                <a:lnTo>
                  <a:pt x="359" y="38"/>
                </a:lnTo>
                <a:lnTo>
                  <a:pt x="364" y="41"/>
                </a:lnTo>
                <a:lnTo>
                  <a:pt x="366" y="43"/>
                </a:lnTo>
                <a:lnTo>
                  <a:pt x="368" y="43"/>
                </a:lnTo>
                <a:lnTo>
                  <a:pt x="369" y="44"/>
                </a:lnTo>
                <a:lnTo>
                  <a:pt x="372" y="45"/>
                </a:lnTo>
                <a:lnTo>
                  <a:pt x="376" y="46"/>
                </a:lnTo>
                <a:lnTo>
                  <a:pt x="379" y="46"/>
                </a:lnTo>
                <a:lnTo>
                  <a:pt x="381" y="46"/>
                </a:lnTo>
                <a:lnTo>
                  <a:pt x="386" y="47"/>
                </a:lnTo>
                <a:lnTo>
                  <a:pt x="388" y="47"/>
                </a:lnTo>
                <a:lnTo>
                  <a:pt x="389" y="47"/>
                </a:lnTo>
                <a:lnTo>
                  <a:pt x="394" y="49"/>
                </a:lnTo>
                <a:lnTo>
                  <a:pt x="397" y="49"/>
                </a:lnTo>
                <a:lnTo>
                  <a:pt x="399" y="50"/>
                </a:lnTo>
                <a:lnTo>
                  <a:pt x="402" y="50"/>
                </a:lnTo>
                <a:lnTo>
                  <a:pt x="404" y="50"/>
                </a:lnTo>
                <a:lnTo>
                  <a:pt x="406" y="51"/>
                </a:lnTo>
                <a:lnTo>
                  <a:pt x="408" y="51"/>
                </a:lnTo>
                <a:lnTo>
                  <a:pt x="409" y="51"/>
                </a:lnTo>
                <a:lnTo>
                  <a:pt x="410" y="52"/>
                </a:lnTo>
                <a:lnTo>
                  <a:pt x="412" y="53"/>
                </a:lnTo>
                <a:lnTo>
                  <a:pt x="416" y="55"/>
                </a:lnTo>
                <a:lnTo>
                  <a:pt x="418" y="56"/>
                </a:lnTo>
                <a:lnTo>
                  <a:pt x="419" y="56"/>
                </a:lnTo>
                <a:lnTo>
                  <a:pt x="419" y="57"/>
                </a:lnTo>
                <a:lnTo>
                  <a:pt x="420" y="58"/>
                </a:lnTo>
                <a:lnTo>
                  <a:pt x="420" y="58"/>
                </a:lnTo>
                <a:lnTo>
                  <a:pt x="421" y="59"/>
                </a:lnTo>
                <a:lnTo>
                  <a:pt x="421" y="60"/>
                </a:lnTo>
                <a:lnTo>
                  <a:pt x="421" y="61"/>
                </a:lnTo>
                <a:lnTo>
                  <a:pt x="422" y="62"/>
                </a:lnTo>
                <a:lnTo>
                  <a:pt x="422" y="63"/>
                </a:lnTo>
                <a:lnTo>
                  <a:pt x="422" y="66"/>
                </a:lnTo>
                <a:lnTo>
                  <a:pt x="422" y="68"/>
                </a:lnTo>
                <a:lnTo>
                  <a:pt x="422" y="69"/>
                </a:lnTo>
                <a:lnTo>
                  <a:pt x="422" y="70"/>
                </a:lnTo>
                <a:lnTo>
                  <a:pt x="422" y="70"/>
                </a:lnTo>
                <a:lnTo>
                  <a:pt x="423" y="71"/>
                </a:lnTo>
                <a:lnTo>
                  <a:pt x="423" y="71"/>
                </a:lnTo>
                <a:lnTo>
                  <a:pt x="424" y="72"/>
                </a:lnTo>
                <a:lnTo>
                  <a:pt x="424" y="72"/>
                </a:lnTo>
                <a:lnTo>
                  <a:pt x="425" y="72"/>
                </a:lnTo>
                <a:lnTo>
                  <a:pt x="426" y="73"/>
                </a:lnTo>
                <a:lnTo>
                  <a:pt x="427" y="73"/>
                </a:lnTo>
                <a:lnTo>
                  <a:pt x="427" y="73"/>
                </a:lnTo>
                <a:lnTo>
                  <a:pt x="428" y="74"/>
                </a:lnTo>
                <a:lnTo>
                  <a:pt x="429" y="74"/>
                </a:lnTo>
                <a:lnTo>
                  <a:pt x="429" y="73"/>
                </a:lnTo>
                <a:lnTo>
                  <a:pt x="430" y="73"/>
                </a:lnTo>
                <a:lnTo>
                  <a:pt x="433" y="73"/>
                </a:lnTo>
                <a:lnTo>
                  <a:pt x="435" y="72"/>
                </a:lnTo>
                <a:lnTo>
                  <a:pt x="436" y="72"/>
                </a:lnTo>
                <a:lnTo>
                  <a:pt x="437" y="72"/>
                </a:lnTo>
                <a:lnTo>
                  <a:pt x="439" y="72"/>
                </a:lnTo>
                <a:lnTo>
                  <a:pt x="441" y="72"/>
                </a:lnTo>
                <a:lnTo>
                  <a:pt x="446" y="73"/>
                </a:lnTo>
                <a:lnTo>
                  <a:pt x="449" y="73"/>
                </a:lnTo>
                <a:lnTo>
                  <a:pt x="451" y="73"/>
                </a:lnTo>
                <a:lnTo>
                  <a:pt x="456" y="73"/>
                </a:lnTo>
                <a:lnTo>
                  <a:pt x="457" y="73"/>
                </a:lnTo>
                <a:lnTo>
                  <a:pt x="458" y="73"/>
                </a:lnTo>
                <a:lnTo>
                  <a:pt x="464" y="73"/>
                </a:lnTo>
                <a:lnTo>
                  <a:pt x="465" y="72"/>
                </a:lnTo>
                <a:lnTo>
                  <a:pt x="466" y="73"/>
                </a:lnTo>
                <a:lnTo>
                  <a:pt x="466" y="73"/>
                </a:lnTo>
                <a:lnTo>
                  <a:pt x="467" y="73"/>
                </a:lnTo>
                <a:lnTo>
                  <a:pt x="468" y="73"/>
                </a:lnTo>
                <a:lnTo>
                  <a:pt x="469" y="74"/>
                </a:lnTo>
                <a:lnTo>
                  <a:pt x="470" y="75"/>
                </a:lnTo>
                <a:lnTo>
                  <a:pt x="471" y="75"/>
                </a:lnTo>
                <a:lnTo>
                  <a:pt x="472" y="76"/>
                </a:lnTo>
                <a:lnTo>
                  <a:pt x="472" y="77"/>
                </a:lnTo>
                <a:lnTo>
                  <a:pt x="473" y="79"/>
                </a:lnTo>
                <a:lnTo>
                  <a:pt x="474" y="80"/>
                </a:lnTo>
                <a:lnTo>
                  <a:pt x="475" y="82"/>
                </a:lnTo>
                <a:lnTo>
                  <a:pt x="476" y="84"/>
                </a:lnTo>
                <a:lnTo>
                  <a:pt x="476" y="85"/>
                </a:lnTo>
                <a:lnTo>
                  <a:pt x="476" y="87"/>
                </a:lnTo>
                <a:lnTo>
                  <a:pt x="476" y="88"/>
                </a:lnTo>
                <a:lnTo>
                  <a:pt x="477" y="90"/>
                </a:lnTo>
                <a:lnTo>
                  <a:pt x="477" y="91"/>
                </a:lnTo>
                <a:lnTo>
                  <a:pt x="476" y="93"/>
                </a:lnTo>
                <a:lnTo>
                  <a:pt x="476" y="95"/>
                </a:lnTo>
                <a:lnTo>
                  <a:pt x="475" y="99"/>
                </a:lnTo>
                <a:lnTo>
                  <a:pt x="475" y="100"/>
                </a:lnTo>
                <a:lnTo>
                  <a:pt x="474" y="101"/>
                </a:lnTo>
                <a:lnTo>
                  <a:pt x="474" y="102"/>
                </a:lnTo>
                <a:lnTo>
                  <a:pt x="474" y="103"/>
                </a:lnTo>
                <a:lnTo>
                  <a:pt x="474" y="108"/>
                </a:lnTo>
                <a:lnTo>
                  <a:pt x="474" y="109"/>
                </a:lnTo>
                <a:lnTo>
                  <a:pt x="474" y="110"/>
                </a:lnTo>
                <a:lnTo>
                  <a:pt x="474" y="111"/>
                </a:lnTo>
                <a:lnTo>
                  <a:pt x="473" y="114"/>
                </a:lnTo>
                <a:lnTo>
                  <a:pt x="472" y="119"/>
                </a:lnTo>
                <a:lnTo>
                  <a:pt x="472" y="121"/>
                </a:lnTo>
                <a:lnTo>
                  <a:pt x="471" y="123"/>
                </a:lnTo>
                <a:lnTo>
                  <a:pt x="471" y="124"/>
                </a:lnTo>
                <a:lnTo>
                  <a:pt x="472" y="125"/>
                </a:lnTo>
                <a:lnTo>
                  <a:pt x="472" y="126"/>
                </a:lnTo>
                <a:lnTo>
                  <a:pt x="473" y="129"/>
                </a:lnTo>
                <a:lnTo>
                  <a:pt x="474" y="131"/>
                </a:lnTo>
                <a:lnTo>
                  <a:pt x="475" y="135"/>
                </a:lnTo>
                <a:lnTo>
                  <a:pt x="475" y="137"/>
                </a:lnTo>
                <a:lnTo>
                  <a:pt x="475" y="139"/>
                </a:lnTo>
                <a:lnTo>
                  <a:pt x="475" y="141"/>
                </a:lnTo>
                <a:lnTo>
                  <a:pt x="475" y="142"/>
                </a:lnTo>
                <a:lnTo>
                  <a:pt x="474" y="145"/>
                </a:lnTo>
                <a:lnTo>
                  <a:pt x="474" y="146"/>
                </a:lnTo>
                <a:lnTo>
                  <a:pt x="474" y="147"/>
                </a:lnTo>
                <a:lnTo>
                  <a:pt x="474" y="148"/>
                </a:lnTo>
                <a:lnTo>
                  <a:pt x="474" y="149"/>
                </a:lnTo>
                <a:lnTo>
                  <a:pt x="475" y="150"/>
                </a:lnTo>
                <a:lnTo>
                  <a:pt x="475" y="151"/>
                </a:lnTo>
                <a:lnTo>
                  <a:pt x="476" y="151"/>
                </a:lnTo>
                <a:lnTo>
                  <a:pt x="477" y="152"/>
                </a:lnTo>
                <a:lnTo>
                  <a:pt x="479" y="154"/>
                </a:lnTo>
                <a:lnTo>
                  <a:pt x="480" y="155"/>
                </a:lnTo>
                <a:lnTo>
                  <a:pt x="480" y="156"/>
                </a:lnTo>
                <a:lnTo>
                  <a:pt x="481" y="157"/>
                </a:lnTo>
                <a:lnTo>
                  <a:pt x="481" y="158"/>
                </a:lnTo>
                <a:lnTo>
                  <a:pt x="481" y="161"/>
                </a:lnTo>
                <a:lnTo>
                  <a:pt x="481" y="162"/>
                </a:lnTo>
                <a:lnTo>
                  <a:pt x="481" y="166"/>
                </a:lnTo>
                <a:lnTo>
                  <a:pt x="481" y="167"/>
                </a:lnTo>
                <a:lnTo>
                  <a:pt x="482" y="168"/>
                </a:lnTo>
                <a:lnTo>
                  <a:pt x="482" y="169"/>
                </a:lnTo>
                <a:lnTo>
                  <a:pt x="483" y="169"/>
                </a:lnTo>
                <a:lnTo>
                  <a:pt x="485" y="173"/>
                </a:lnTo>
                <a:lnTo>
                  <a:pt x="486" y="175"/>
                </a:lnTo>
                <a:lnTo>
                  <a:pt x="488" y="178"/>
                </a:lnTo>
                <a:lnTo>
                  <a:pt x="489" y="180"/>
                </a:lnTo>
                <a:lnTo>
                  <a:pt x="491" y="185"/>
                </a:lnTo>
                <a:lnTo>
                  <a:pt x="492" y="188"/>
                </a:lnTo>
                <a:lnTo>
                  <a:pt x="493" y="190"/>
                </a:lnTo>
                <a:lnTo>
                  <a:pt x="494" y="194"/>
                </a:lnTo>
                <a:lnTo>
                  <a:pt x="494" y="196"/>
                </a:lnTo>
                <a:lnTo>
                  <a:pt x="494" y="197"/>
                </a:lnTo>
                <a:lnTo>
                  <a:pt x="494" y="198"/>
                </a:lnTo>
                <a:lnTo>
                  <a:pt x="494" y="199"/>
                </a:lnTo>
                <a:lnTo>
                  <a:pt x="494" y="199"/>
                </a:lnTo>
                <a:lnTo>
                  <a:pt x="494" y="200"/>
                </a:lnTo>
                <a:lnTo>
                  <a:pt x="494" y="201"/>
                </a:lnTo>
                <a:lnTo>
                  <a:pt x="493" y="202"/>
                </a:lnTo>
                <a:lnTo>
                  <a:pt x="492" y="204"/>
                </a:lnTo>
                <a:lnTo>
                  <a:pt x="492" y="204"/>
                </a:lnTo>
                <a:lnTo>
                  <a:pt x="492" y="205"/>
                </a:lnTo>
                <a:lnTo>
                  <a:pt x="492" y="206"/>
                </a:lnTo>
                <a:lnTo>
                  <a:pt x="492" y="207"/>
                </a:lnTo>
                <a:lnTo>
                  <a:pt x="493" y="209"/>
                </a:lnTo>
                <a:lnTo>
                  <a:pt x="493" y="211"/>
                </a:lnTo>
                <a:lnTo>
                  <a:pt x="493" y="212"/>
                </a:lnTo>
                <a:lnTo>
                  <a:pt x="493" y="212"/>
                </a:lnTo>
                <a:lnTo>
                  <a:pt x="493" y="213"/>
                </a:lnTo>
                <a:lnTo>
                  <a:pt x="492" y="213"/>
                </a:lnTo>
                <a:lnTo>
                  <a:pt x="492" y="213"/>
                </a:lnTo>
                <a:lnTo>
                  <a:pt x="492" y="214"/>
                </a:lnTo>
                <a:lnTo>
                  <a:pt x="491" y="214"/>
                </a:lnTo>
                <a:lnTo>
                  <a:pt x="491" y="214"/>
                </a:lnTo>
                <a:lnTo>
                  <a:pt x="490" y="214"/>
                </a:lnTo>
                <a:lnTo>
                  <a:pt x="487" y="213"/>
                </a:lnTo>
                <a:lnTo>
                  <a:pt x="484" y="213"/>
                </a:lnTo>
                <a:lnTo>
                  <a:pt x="483" y="213"/>
                </a:lnTo>
                <a:lnTo>
                  <a:pt x="482" y="213"/>
                </a:lnTo>
                <a:lnTo>
                  <a:pt x="481" y="213"/>
                </a:lnTo>
                <a:lnTo>
                  <a:pt x="480" y="214"/>
                </a:lnTo>
                <a:lnTo>
                  <a:pt x="479" y="214"/>
                </a:lnTo>
                <a:lnTo>
                  <a:pt x="478" y="214"/>
                </a:lnTo>
                <a:lnTo>
                  <a:pt x="478" y="215"/>
                </a:lnTo>
                <a:lnTo>
                  <a:pt x="477" y="215"/>
                </a:lnTo>
                <a:lnTo>
                  <a:pt x="477" y="216"/>
                </a:lnTo>
                <a:lnTo>
                  <a:pt x="476" y="217"/>
                </a:lnTo>
                <a:lnTo>
                  <a:pt x="476" y="218"/>
                </a:lnTo>
                <a:lnTo>
                  <a:pt x="476" y="219"/>
                </a:lnTo>
                <a:lnTo>
                  <a:pt x="476" y="219"/>
                </a:lnTo>
                <a:lnTo>
                  <a:pt x="476" y="219"/>
                </a:lnTo>
                <a:lnTo>
                  <a:pt x="476" y="220"/>
                </a:lnTo>
                <a:lnTo>
                  <a:pt x="477" y="220"/>
                </a:lnTo>
                <a:lnTo>
                  <a:pt x="478" y="221"/>
                </a:lnTo>
                <a:lnTo>
                  <a:pt x="479" y="222"/>
                </a:lnTo>
                <a:lnTo>
                  <a:pt x="480" y="222"/>
                </a:lnTo>
                <a:lnTo>
                  <a:pt x="481" y="223"/>
                </a:lnTo>
                <a:lnTo>
                  <a:pt x="486" y="224"/>
                </a:lnTo>
                <a:lnTo>
                  <a:pt x="487" y="224"/>
                </a:lnTo>
                <a:lnTo>
                  <a:pt x="488" y="224"/>
                </a:lnTo>
                <a:lnTo>
                  <a:pt x="489" y="225"/>
                </a:lnTo>
                <a:lnTo>
                  <a:pt x="491" y="226"/>
                </a:lnTo>
                <a:lnTo>
                  <a:pt x="492" y="226"/>
                </a:lnTo>
                <a:lnTo>
                  <a:pt x="493" y="227"/>
                </a:lnTo>
                <a:lnTo>
                  <a:pt x="494" y="228"/>
                </a:lnTo>
                <a:lnTo>
                  <a:pt x="495" y="229"/>
                </a:lnTo>
                <a:lnTo>
                  <a:pt x="498" y="233"/>
                </a:lnTo>
                <a:lnTo>
                  <a:pt x="499" y="235"/>
                </a:lnTo>
                <a:lnTo>
                  <a:pt x="500" y="236"/>
                </a:lnTo>
                <a:lnTo>
                  <a:pt x="500" y="237"/>
                </a:lnTo>
                <a:lnTo>
                  <a:pt x="501" y="239"/>
                </a:lnTo>
                <a:lnTo>
                  <a:pt x="502" y="241"/>
                </a:lnTo>
                <a:lnTo>
                  <a:pt x="502" y="241"/>
                </a:lnTo>
                <a:lnTo>
                  <a:pt x="502" y="242"/>
                </a:lnTo>
                <a:lnTo>
                  <a:pt x="501" y="242"/>
                </a:lnTo>
                <a:lnTo>
                  <a:pt x="500" y="242"/>
                </a:lnTo>
                <a:lnTo>
                  <a:pt x="499" y="243"/>
                </a:lnTo>
                <a:lnTo>
                  <a:pt x="498" y="243"/>
                </a:lnTo>
                <a:lnTo>
                  <a:pt x="498" y="244"/>
                </a:lnTo>
                <a:lnTo>
                  <a:pt x="497" y="245"/>
                </a:lnTo>
                <a:lnTo>
                  <a:pt x="496" y="247"/>
                </a:lnTo>
                <a:lnTo>
                  <a:pt x="495" y="249"/>
                </a:lnTo>
                <a:lnTo>
                  <a:pt x="495" y="251"/>
                </a:lnTo>
                <a:lnTo>
                  <a:pt x="495" y="252"/>
                </a:lnTo>
                <a:lnTo>
                  <a:pt x="495" y="253"/>
                </a:lnTo>
                <a:lnTo>
                  <a:pt x="495" y="254"/>
                </a:lnTo>
                <a:lnTo>
                  <a:pt x="495" y="255"/>
                </a:lnTo>
                <a:lnTo>
                  <a:pt x="495" y="255"/>
                </a:lnTo>
                <a:lnTo>
                  <a:pt x="495" y="256"/>
                </a:lnTo>
                <a:lnTo>
                  <a:pt x="497" y="258"/>
                </a:lnTo>
                <a:lnTo>
                  <a:pt x="497" y="259"/>
                </a:lnTo>
                <a:lnTo>
                  <a:pt x="498" y="259"/>
                </a:lnTo>
                <a:lnTo>
                  <a:pt x="498" y="260"/>
                </a:lnTo>
                <a:lnTo>
                  <a:pt x="498" y="261"/>
                </a:lnTo>
                <a:lnTo>
                  <a:pt x="498" y="261"/>
                </a:lnTo>
                <a:lnTo>
                  <a:pt x="498" y="263"/>
                </a:lnTo>
                <a:lnTo>
                  <a:pt x="497" y="264"/>
                </a:lnTo>
                <a:lnTo>
                  <a:pt x="497" y="264"/>
                </a:lnTo>
                <a:lnTo>
                  <a:pt x="496" y="265"/>
                </a:lnTo>
                <a:lnTo>
                  <a:pt x="496" y="266"/>
                </a:lnTo>
                <a:lnTo>
                  <a:pt x="495" y="267"/>
                </a:lnTo>
                <a:lnTo>
                  <a:pt x="494" y="267"/>
                </a:lnTo>
                <a:lnTo>
                  <a:pt x="492" y="268"/>
                </a:lnTo>
                <a:lnTo>
                  <a:pt x="490" y="270"/>
                </a:lnTo>
                <a:lnTo>
                  <a:pt x="489" y="270"/>
                </a:lnTo>
                <a:lnTo>
                  <a:pt x="488" y="271"/>
                </a:lnTo>
                <a:lnTo>
                  <a:pt x="483" y="273"/>
                </a:lnTo>
                <a:lnTo>
                  <a:pt x="481" y="274"/>
                </a:lnTo>
                <a:lnTo>
                  <a:pt x="480" y="274"/>
                </a:lnTo>
                <a:lnTo>
                  <a:pt x="478" y="274"/>
                </a:lnTo>
                <a:lnTo>
                  <a:pt x="476" y="275"/>
                </a:lnTo>
                <a:lnTo>
                  <a:pt x="475" y="275"/>
                </a:lnTo>
                <a:lnTo>
                  <a:pt x="475" y="276"/>
                </a:lnTo>
                <a:lnTo>
                  <a:pt x="474" y="276"/>
                </a:lnTo>
                <a:lnTo>
                  <a:pt x="474" y="277"/>
                </a:lnTo>
                <a:lnTo>
                  <a:pt x="474" y="278"/>
                </a:lnTo>
                <a:lnTo>
                  <a:pt x="473" y="279"/>
                </a:lnTo>
                <a:lnTo>
                  <a:pt x="473" y="280"/>
                </a:lnTo>
                <a:lnTo>
                  <a:pt x="474" y="282"/>
                </a:lnTo>
                <a:lnTo>
                  <a:pt x="474" y="283"/>
                </a:lnTo>
                <a:lnTo>
                  <a:pt x="474" y="286"/>
                </a:lnTo>
                <a:lnTo>
                  <a:pt x="474" y="288"/>
                </a:lnTo>
                <a:lnTo>
                  <a:pt x="474" y="289"/>
                </a:lnTo>
                <a:lnTo>
                  <a:pt x="473" y="291"/>
                </a:lnTo>
                <a:lnTo>
                  <a:pt x="471" y="299"/>
                </a:lnTo>
                <a:lnTo>
                  <a:pt x="471" y="301"/>
                </a:lnTo>
                <a:lnTo>
                  <a:pt x="470" y="302"/>
                </a:lnTo>
                <a:lnTo>
                  <a:pt x="470" y="303"/>
                </a:lnTo>
                <a:lnTo>
                  <a:pt x="469" y="304"/>
                </a:lnTo>
                <a:lnTo>
                  <a:pt x="468" y="304"/>
                </a:lnTo>
                <a:lnTo>
                  <a:pt x="468" y="305"/>
                </a:lnTo>
                <a:lnTo>
                  <a:pt x="467" y="305"/>
                </a:lnTo>
                <a:lnTo>
                  <a:pt x="466" y="305"/>
                </a:lnTo>
                <a:lnTo>
                  <a:pt x="465" y="305"/>
                </a:lnTo>
                <a:lnTo>
                  <a:pt x="464" y="305"/>
                </a:lnTo>
                <a:lnTo>
                  <a:pt x="463" y="305"/>
                </a:lnTo>
                <a:lnTo>
                  <a:pt x="462" y="304"/>
                </a:lnTo>
                <a:lnTo>
                  <a:pt x="461" y="304"/>
                </a:lnTo>
                <a:lnTo>
                  <a:pt x="460" y="303"/>
                </a:lnTo>
                <a:lnTo>
                  <a:pt x="458" y="302"/>
                </a:lnTo>
                <a:lnTo>
                  <a:pt x="456" y="301"/>
                </a:lnTo>
                <a:lnTo>
                  <a:pt x="452" y="298"/>
                </a:lnTo>
                <a:lnTo>
                  <a:pt x="450" y="297"/>
                </a:lnTo>
                <a:lnTo>
                  <a:pt x="450" y="296"/>
                </a:lnTo>
                <a:lnTo>
                  <a:pt x="447" y="294"/>
                </a:lnTo>
                <a:lnTo>
                  <a:pt x="445" y="293"/>
                </a:lnTo>
                <a:lnTo>
                  <a:pt x="443" y="291"/>
                </a:lnTo>
                <a:lnTo>
                  <a:pt x="442" y="290"/>
                </a:lnTo>
                <a:lnTo>
                  <a:pt x="441" y="290"/>
                </a:lnTo>
                <a:lnTo>
                  <a:pt x="440" y="290"/>
                </a:lnTo>
                <a:lnTo>
                  <a:pt x="437" y="289"/>
                </a:lnTo>
                <a:lnTo>
                  <a:pt x="435" y="288"/>
                </a:lnTo>
                <a:lnTo>
                  <a:pt x="434" y="288"/>
                </a:lnTo>
                <a:lnTo>
                  <a:pt x="429" y="288"/>
                </a:lnTo>
                <a:lnTo>
                  <a:pt x="425" y="287"/>
                </a:lnTo>
                <a:lnTo>
                  <a:pt x="423" y="287"/>
                </a:lnTo>
                <a:lnTo>
                  <a:pt x="420" y="286"/>
                </a:lnTo>
                <a:lnTo>
                  <a:pt x="416" y="285"/>
                </a:lnTo>
                <a:lnTo>
                  <a:pt x="415" y="285"/>
                </a:lnTo>
                <a:lnTo>
                  <a:pt x="415" y="285"/>
                </a:lnTo>
                <a:lnTo>
                  <a:pt x="414" y="285"/>
                </a:lnTo>
                <a:lnTo>
                  <a:pt x="413" y="286"/>
                </a:lnTo>
                <a:lnTo>
                  <a:pt x="412" y="286"/>
                </a:lnTo>
                <a:lnTo>
                  <a:pt x="411" y="287"/>
                </a:lnTo>
                <a:lnTo>
                  <a:pt x="410" y="287"/>
                </a:lnTo>
                <a:lnTo>
                  <a:pt x="410" y="288"/>
                </a:lnTo>
                <a:lnTo>
                  <a:pt x="408" y="290"/>
                </a:lnTo>
                <a:lnTo>
                  <a:pt x="405" y="293"/>
                </a:lnTo>
                <a:lnTo>
                  <a:pt x="402" y="295"/>
                </a:lnTo>
                <a:lnTo>
                  <a:pt x="400" y="297"/>
                </a:lnTo>
                <a:lnTo>
                  <a:pt x="399" y="297"/>
                </a:lnTo>
                <a:lnTo>
                  <a:pt x="396" y="299"/>
                </a:lnTo>
                <a:lnTo>
                  <a:pt x="393" y="301"/>
                </a:lnTo>
                <a:lnTo>
                  <a:pt x="391" y="303"/>
                </a:lnTo>
                <a:lnTo>
                  <a:pt x="388" y="305"/>
                </a:lnTo>
                <a:lnTo>
                  <a:pt x="381" y="309"/>
                </a:lnTo>
                <a:lnTo>
                  <a:pt x="380" y="310"/>
                </a:lnTo>
                <a:lnTo>
                  <a:pt x="377" y="311"/>
                </a:lnTo>
                <a:lnTo>
                  <a:pt x="375" y="312"/>
                </a:lnTo>
                <a:lnTo>
                  <a:pt x="374" y="313"/>
                </a:lnTo>
                <a:lnTo>
                  <a:pt x="372" y="315"/>
                </a:lnTo>
                <a:lnTo>
                  <a:pt x="371" y="315"/>
                </a:lnTo>
                <a:lnTo>
                  <a:pt x="366" y="317"/>
                </a:lnTo>
                <a:lnTo>
                  <a:pt x="363" y="319"/>
                </a:lnTo>
                <a:lnTo>
                  <a:pt x="362" y="319"/>
                </a:lnTo>
                <a:lnTo>
                  <a:pt x="361" y="320"/>
                </a:lnTo>
                <a:lnTo>
                  <a:pt x="360" y="321"/>
                </a:lnTo>
                <a:lnTo>
                  <a:pt x="359" y="321"/>
                </a:lnTo>
                <a:lnTo>
                  <a:pt x="359" y="322"/>
                </a:lnTo>
                <a:lnTo>
                  <a:pt x="358" y="323"/>
                </a:lnTo>
                <a:lnTo>
                  <a:pt x="358" y="324"/>
                </a:lnTo>
                <a:lnTo>
                  <a:pt x="358" y="324"/>
                </a:lnTo>
                <a:lnTo>
                  <a:pt x="358" y="325"/>
                </a:lnTo>
                <a:lnTo>
                  <a:pt x="358" y="330"/>
                </a:lnTo>
                <a:lnTo>
                  <a:pt x="358" y="331"/>
                </a:lnTo>
                <a:lnTo>
                  <a:pt x="358" y="332"/>
                </a:lnTo>
                <a:lnTo>
                  <a:pt x="356" y="339"/>
                </a:lnTo>
                <a:lnTo>
                  <a:pt x="356" y="340"/>
                </a:lnTo>
                <a:lnTo>
                  <a:pt x="355" y="340"/>
                </a:lnTo>
                <a:lnTo>
                  <a:pt x="355" y="342"/>
                </a:lnTo>
                <a:lnTo>
                  <a:pt x="353" y="343"/>
                </a:lnTo>
                <a:lnTo>
                  <a:pt x="352" y="345"/>
                </a:lnTo>
                <a:lnTo>
                  <a:pt x="350" y="347"/>
                </a:lnTo>
                <a:lnTo>
                  <a:pt x="348" y="348"/>
                </a:lnTo>
                <a:lnTo>
                  <a:pt x="347" y="349"/>
                </a:lnTo>
                <a:lnTo>
                  <a:pt x="345" y="350"/>
                </a:lnTo>
                <a:lnTo>
                  <a:pt x="343" y="351"/>
                </a:lnTo>
                <a:lnTo>
                  <a:pt x="342" y="351"/>
                </a:lnTo>
                <a:lnTo>
                  <a:pt x="340" y="351"/>
                </a:lnTo>
                <a:lnTo>
                  <a:pt x="339" y="352"/>
                </a:lnTo>
                <a:lnTo>
                  <a:pt x="338" y="351"/>
                </a:lnTo>
                <a:lnTo>
                  <a:pt x="337" y="351"/>
                </a:lnTo>
                <a:lnTo>
                  <a:pt x="336" y="351"/>
                </a:lnTo>
                <a:lnTo>
                  <a:pt x="332" y="349"/>
                </a:lnTo>
                <a:lnTo>
                  <a:pt x="330" y="349"/>
                </a:lnTo>
                <a:lnTo>
                  <a:pt x="329" y="349"/>
                </a:lnTo>
                <a:lnTo>
                  <a:pt x="327" y="348"/>
                </a:lnTo>
                <a:lnTo>
                  <a:pt x="326" y="348"/>
                </a:lnTo>
                <a:lnTo>
                  <a:pt x="325" y="349"/>
                </a:lnTo>
                <a:lnTo>
                  <a:pt x="323" y="349"/>
                </a:lnTo>
                <a:lnTo>
                  <a:pt x="320" y="349"/>
                </a:lnTo>
                <a:lnTo>
                  <a:pt x="318" y="349"/>
                </a:lnTo>
                <a:lnTo>
                  <a:pt x="317" y="349"/>
                </a:lnTo>
                <a:lnTo>
                  <a:pt x="314" y="349"/>
                </a:lnTo>
                <a:lnTo>
                  <a:pt x="313" y="349"/>
                </a:lnTo>
                <a:lnTo>
                  <a:pt x="312" y="349"/>
                </a:lnTo>
                <a:lnTo>
                  <a:pt x="310" y="349"/>
                </a:lnTo>
                <a:lnTo>
                  <a:pt x="309" y="349"/>
                </a:lnTo>
                <a:lnTo>
                  <a:pt x="305" y="347"/>
                </a:lnTo>
                <a:lnTo>
                  <a:pt x="303" y="346"/>
                </a:lnTo>
                <a:lnTo>
                  <a:pt x="297" y="345"/>
                </a:lnTo>
                <a:lnTo>
                  <a:pt x="295" y="344"/>
                </a:lnTo>
                <a:lnTo>
                  <a:pt x="293" y="343"/>
                </a:lnTo>
                <a:lnTo>
                  <a:pt x="291" y="343"/>
                </a:lnTo>
                <a:lnTo>
                  <a:pt x="290" y="342"/>
                </a:lnTo>
                <a:lnTo>
                  <a:pt x="288" y="342"/>
                </a:lnTo>
                <a:lnTo>
                  <a:pt x="287" y="342"/>
                </a:lnTo>
                <a:lnTo>
                  <a:pt x="285" y="342"/>
                </a:lnTo>
                <a:lnTo>
                  <a:pt x="284" y="342"/>
                </a:lnTo>
                <a:lnTo>
                  <a:pt x="283" y="342"/>
                </a:lnTo>
                <a:lnTo>
                  <a:pt x="282" y="343"/>
                </a:lnTo>
                <a:lnTo>
                  <a:pt x="278" y="344"/>
                </a:lnTo>
                <a:lnTo>
                  <a:pt x="276" y="345"/>
                </a:lnTo>
                <a:lnTo>
                  <a:pt x="275" y="345"/>
                </a:lnTo>
                <a:lnTo>
                  <a:pt x="272" y="345"/>
                </a:lnTo>
                <a:lnTo>
                  <a:pt x="271" y="345"/>
                </a:lnTo>
                <a:lnTo>
                  <a:pt x="266" y="346"/>
                </a:lnTo>
                <a:lnTo>
                  <a:pt x="264" y="346"/>
                </a:lnTo>
                <a:lnTo>
                  <a:pt x="263" y="347"/>
                </a:lnTo>
                <a:lnTo>
                  <a:pt x="259" y="348"/>
                </a:lnTo>
                <a:lnTo>
                  <a:pt x="258" y="349"/>
                </a:lnTo>
                <a:lnTo>
                  <a:pt x="256" y="349"/>
                </a:lnTo>
                <a:lnTo>
                  <a:pt x="253" y="350"/>
                </a:lnTo>
                <a:lnTo>
                  <a:pt x="251" y="351"/>
                </a:lnTo>
                <a:lnTo>
                  <a:pt x="250" y="351"/>
                </a:lnTo>
                <a:lnTo>
                  <a:pt x="250" y="352"/>
                </a:lnTo>
                <a:lnTo>
                  <a:pt x="249" y="352"/>
                </a:lnTo>
                <a:lnTo>
                  <a:pt x="248" y="354"/>
                </a:lnTo>
                <a:lnTo>
                  <a:pt x="247" y="355"/>
                </a:lnTo>
                <a:lnTo>
                  <a:pt x="246" y="356"/>
                </a:lnTo>
                <a:lnTo>
                  <a:pt x="245" y="356"/>
                </a:lnTo>
                <a:lnTo>
                  <a:pt x="242" y="358"/>
                </a:lnTo>
                <a:lnTo>
                  <a:pt x="241" y="359"/>
                </a:lnTo>
                <a:lnTo>
                  <a:pt x="240" y="360"/>
                </a:lnTo>
                <a:lnTo>
                  <a:pt x="239" y="360"/>
                </a:lnTo>
                <a:lnTo>
                  <a:pt x="238" y="361"/>
                </a:lnTo>
                <a:lnTo>
                  <a:pt x="237" y="362"/>
                </a:lnTo>
                <a:lnTo>
                  <a:pt x="237" y="363"/>
                </a:lnTo>
                <a:lnTo>
                  <a:pt x="236" y="365"/>
                </a:lnTo>
                <a:lnTo>
                  <a:pt x="236" y="366"/>
                </a:lnTo>
                <a:lnTo>
                  <a:pt x="236" y="366"/>
                </a:lnTo>
                <a:lnTo>
                  <a:pt x="235" y="366"/>
                </a:lnTo>
                <a:lnTo>
                  <a:pt x="235" y="366"/>
                </a:lnTo>
                <a:lnTo>
                  <a:pt x="235" y="366"/>
                </a:lnTo>
                <a:lnTo>
                  <a:pt x="234" y="366"/>
                </a:lnTo>
                <a:lnTo>
                  <a:pt x="234" y="366"/>
                </a:lnTo>
                <a:lnTo>
                  <a:pt x="233" y="366"/>
                </a:lnTo>
                <a:lnTo>
                  <a:pt x="233" y="366"/>
                </a:lnTo>
                <a:lnTo>
                  <a:pt x="232" y="365"/>
                </a:lnTo>
                <a:lnTo>
                  <a:pt x="230" y="362"/>
                </a:lnTo>
                <a:lnTo>
                  <a:pt x="229" y="361"/>
                </a:lnTo>
                <a:lnTo>
                  <a:pt x="228" y="360"/>
                </a:lnTo>
                <a:lnTo>
                  <a:pt x="227" y="359"/>
                </a:lnTo>
                <a:lnTo>
                  <a:pt x="225" y="358"/>
                </a:lnTo>
                <a:lnTo>
                  <a:pt x="224" y="357"/>
                </a:lnTo>
                <a:lnTo>
                  <a:pt x="222" y="357"/>
                </a:lnTo>
                <a:lnTo>
                  <a:pt x="221" y="356"/>
                </a:lnTo>
                <a:lnTo>
                  <a:pt x="220" y="356"/>
                </a:lnTo>
                <a:lnTo>
                  <a:pt x="218" y="356"/>
                </a:lnTo>
                <a:lnTo>
                  <a:pt x="216" y="356"/>
                </a:lnTo>
                <a:lnTo>
                  <a:pt x="215" y="357"/>
                </a:lnTo>
                <a:lnTo>
                  <a:pt x="213" y="357"/>
                </a:lnTo>
                <a:lnTo>
                  <a:pt x="211" y="358"/>
                </a:lnTo>
                <a:lnTo>
                  <a:pt x="209" y="359"/>
                </a:lnTo>
                <a:lnTo>
                  <a:pt x="208" y="360"/>
                </a:lnTo>
                <a:lnTo>
                  <a:pt x="206" y="362"/>
                </a:lnTo>
                <a:lnTo>
                  <a:pt x="205" y="363"/>
                </a:lnTo>
                <a:lnTo>
                  <a:pt x="203" y="363"/>
                </a:lnTo>
                <a:lnTo>
                  <a:pt x="202" y="364"/>
                </a:lnTo>
                <a:lnTo>
                  <a:pt x="201" y="364"/>
                </a:lnTo>
                <a:lnTo>
                  <a:pt x="200" y="364"/>
                </a:lnTo>
                <a:lnTo>
                  <a:pt x="199" y="364"/>
                </a:lnTo>
                <a:lnTo>
                  <a:pt x="198" y="364"/>
                </a:lnTo>
                <a:lnTo>
                  <a:pt x="196" y="364"/>
                </a:lnTo>
                <a:lnTo>
                  <a:pt x="190" y="362"/>
                </a:lnTo>
                <a:lnTo>
                  <a:pt x="184" y="360"/>
                </a:lnTo>
                <a:lnTo>
                  <a:pt x="181" y="360"/>
                </a:lnTo>
                <a:lnTo>
                  <a:pt x="182" y="359"/>
                </a:lnTo>
                <a:lnTo>
                  <a:pt x="182" y="358"/>
                </a:lnTo>
                <a:lnTo>
                  <a:pt x="181" y="357"/>
                </a:lnTo>
                <a:lnTo>
                  <a:pt x="180" y="356"/>
                </a:lnTo>
                <a:lnTo>
                  <a:pt x="180" y="355"/>
                </a:lnTo>
                <a:lnTo>
                  <a:pt x="179" y="354"/>
                </a:lnTo>
                <a:lnTo>
                  <a:pt x="178" y="352"/>
                </a:lnTo>
                <a:lnTo>
                  <a:pt x="176" y="351"/>
                </a:lnTo>
                <a:lnTo>
                  <a:pt x="175" y="351"/>
                </a:lnTo>
                <a:lnTo>
                  <a:pt x="174" y="349"/>
                </a:lnTo>
                <a:lnTo>
                  <a:pt x="171" y="348"/>
                </a:lnTo>
                <a:lnTo>
                  <a:pt x="169" y="346"/>
                </a:lnTo>
                <a:lnTo>
                  <a:pt x="161" y="342"/>
                </a:lnTo>
                <a:lnTo>
                  <a:pt x="159" y="341"/>
                </a:lnTo>
                <a:lnTo>
                  <a:pt x="156" y="339"/>
                </a:lnTo>
                <a:lnTo>
                  <a:pt x="155" y="338"/>
                </a:lnTo>
                <a:lnTo>
                  <a:pt x="154" y="337"/>
                </a:lnTo>
                <a:lnTo>
                  <a:pt x="154" y="336"/>
                </a:lnTo>
                <a:lnTo>
                  <a:pt x="153" y="336"/>
                </a:lnTo>
                <a:lnTo>
                  <a:pt x="153" y="334"/>
                </a:lnTo>
                <a:lnTo>
                  <a:pt x="152" y="333"/>
                </a:lnTo>
                <a:lnTo>
                  <a:pt x="152" y="333"/>
                </a:lnTo>
                <a:lnTo>
                  <a:pt x="152" y="331"/>
                </a:lnTo>
                <a:lnTo>
                  <a:pt x="152" y="331"/>
                </a:lnTo>
                <a:lnTo>
                  <a:pt x="152" y="330"/>
                </a:lnTo>
                <a:lnTo>
                  <a:pt x="153" y="328"/>
                </a:lnTo>
                <a:lnTo>
                  <a:pt x="153" y="327"/>
                </a:lnTo>
                <a:lnTo>
                  <a:pt x="154" y="326"/>
                </a:lnTo>
                <a:lnTo>
                  <a:pt x="156" y="323"/>
                </a:lnTo>
                <a:lnTo>
                  <a:pt x="156" y="321"/>
                </a:lnTo>
                <a:lnTo>
                  <a:pt x="157" y="320"/>
                </a:lnTo>
                <a:lnTo>
                  <a:pt x="157" y="319"/>
                </a:lnTo>
                <a:lnTo>
                  <a:pt x="157" y="317"/>
                </a:lnTo>
                <a:lnTo>
                  <a:pt x="157" y="316"/>
                </a:lnTo>
                <a:lnTo>
                  <a:pt x="157" y="315"/>
                </a:lnTo>
                <a:lnTo>
                  <a:pt x="157" y="314"/>
                </a:lnTo>
                <a:lnTo>
                  <a:pt x="157" y="314"/>
                </a:lnTo>
                <a:lnTo>
                  <a:pt x="157" y="313"/>
                </a:lnTo>
                <a:lnTo>
                  <a:pt x="156" y="312"/>
                </a:lnTo>
                <a:lnTo>
                  <a:pt x="156" y="311"/>
                </a:lnTo>
                <a:lnTo>
                  <a:pt x="155" y="310"/>
                </a:lnTo>
                <a:lnTo>
                  <a:pt x="154" y="309"/>
                </a:lnTo>
                <a:lnTo>
                  <a:pt x="152" y="307"/>
                </a:lnTo>
                <a:lnTo>
                  <a:pt x="150" y="305"/>
                </a:lnTo>
                <a:lnTo>
                  <a:pt x="148" y="304"/>
                </a:lnTo>
                <a:lnTo>
                  <a:pt x="147" y="304"/>
                </a:lnTo>
                <a:lnTo>
                  <a:pt x="147" y="304"/>
                </a:lnTo>
                <a:lnTo>
                  <a:pt x="145" y="303"/>
                </a:lnTo>
                <a:lnTo>
                  <a:pt x="144" y="303"/>
                </a:lnTo>
                <a:lnTo>
                  <a:pt x="142" y="303"/>
                </a:lnTo>
                <a:lnTo>
                  <a:pt x="139" y="303"/>
                </a:lnTo>
                <a:lnTo>
                  <a:pt x="137" y="303"/>
                </a:lnTo>
                <a:lnTo>
                  <a:pt x="136" y="302"/>
                </a:lnTo>
                <a:lnTo>
                  <a:pt x="135" y="302"/>
                </a:lnTo>
                <a:lnTo>
                  <a:pt x="135" y="301"/>
                </a:lnTo>
                <a:lnTo>
                  <a:pt x="134" y="301"/>
                </a:lnTo>
                <a:lnTo>
                  <a:pt x="134" y="300"/>
                </a:lnTo>
                <a:lnTo>
                  <a:pt x="132" y="298"/>
                </a:lnTo>
                <a:lnTo>
                  <a:pt x="132" y="297"/>
                </a:lnTo>
                <a:lnTo>
                  <a:pt x="131" y="297"/>
                </a:lnTo>
                <a:lnTo>
                  <a:pt x="130" y="296"/>
                </a:lnTo>
                <a:lnTo>
                  <a:pt x="127" y="294"/>
                </a:lnTo>
                <a:lnTo>
                  <a:pt x="123" y="291"/>
                </a:lnTo>
                <a:lnTo>
                  <a:pt x="121" y="290"/>
                </a:lnTo>
                <a:lnTo>
                  <a:pt x="119" y="288"/>
                </a:lnTo>
                <a:lnTo>
                  <a:pt x="118" y="288"/>
                </a:lnTo>
                <a:lnTo>
                  <a:pt x="117" y="287"/>
                </a:lnTo>
                <a:lnTo>
                  <a:pt x="115" y="286"/>
                </a:lnTo>
                <a:lnTo>
                  <a:pt x="113" y="285"/>
                </a:lnTo>
                <a:lnTo>
                  <a:pt x="112" y="284"/>
                </a:lnTo>
                <a:lnTo>
                  <a:pt x="108" y="282"/>
                </a:lnTo>
                <a:lnTo>
                  <a:pt x="107" y="281"/>
                </a:lnTo>
                <a:lnTo>
                  <a:pt x="104" y="279"/>
                </a:lnTo>
                <a:lnTo>
                  <a:pt x="99" y="274"/>
                </a:lnTo>
                <a:lnTo>
                  <a:pt x="98" y="273"/>
                </a:lnTo>
                <a:lnTo>
                  <a:pt x="97" y="272"/>
                </a:lnTo>
                <a:lnTo>
                  <a:pt x="96" y="272"/>
                </a:lnTo>
                <a:lnTo>
                  <a:pt x="95" y="271"/>
                </a:lnTo>
                <a:lnTo>
                  <a:pt x="92" y="270"/>
                </a:lnTo>
                <a:lnTo>
                  <a:pt x="91" y="270"/>
                </a:lnTo>
                <a:lnTo>
                  <a:pt x="91" y="269"/>
                </a:lnTo>
                <a:lnTo>
                  <a:pt x="90" y="268"/>
                </a:lnTo>
                <a:lnTo>
                  <a:pt x="88" y="267"/>
                </a:lnTo>
                <a:lnTo>
                  <a:pt x="87" y="265"/>
                </a:lnTo>
                <a:lnTo>
                  <a:pt x="85" y="263"/>
                </a:lnTo>
                <a:lnTo>
                  <a:pt x="84" y="262"/>
                </a:lnTo>
                <a:lnTo>
                  <a:pt x="83" y="261"/>
                </a:lnTo>
                <a:lnTo>
                  <a:pt x="82" y="260"/>
                </a:lnTo>
                <a:lnTo>
                  <a:pt x="80" y="259"/>
                </a:lnTo>
                <a:lnTo>
                  <a:pt x="78" y="258"/>
                </a:lnTo>
                <a:lnTo>
                  <a:pt x="76" y="257"/>
                </a:lnTo>
                <a:lnTo>
                  <a:pt x="72" y="256"/>
                </a:lnTo>
                <a:lnTo>
                  <a:pt x="71" y="256"/>
                </a:lnTo>
                <a:lnTo>
                  <a:pt x="68" y="254"/>
                </a:lnTo>
                <a:lnTo>
                  <a:pt x="67" y="254"/>
                </a:lnTo>
                <a:lnTo>
                  <a:pt x="67" y="253"/>
                </a:lnTo>
                <a:lnTo>
                  <a:pt x="66" y="253"/>
                </a:lnTo>
                <a:lnTo>
                  <a:pt x="66" y="252"/>
                </a:lnTo>
                <a:lnTo>
                  <a:pt x="65" y="252"/>
                </a:lnTo>
                <a:lnTo>
                  <a:pt x="65" y="251"/>
                </a:lnTo>
                <a:lnTo>
                  <a:pt x="65" y="250"/>
                </a:lnTo>
                <a:lnTo>
                  <a:pt x="65" y="249"/>
                </a:lnTo>
                <a:lnTo>
                  <a:pt x="65" y="247"/>
                </a:lnTo>
                <a:lnTo>
                  <a:pt x="65" y="245"/>
                </a:lnTo>
                <a:lnTo>
                  <a:pt x="65" y="244"/>
                </a:lnTo>
                <a:lnTo>
                  <a:pt x="65" y="243"/>
                </a:lnTo>
                <a:lnTo>
                  <a:pt x="64" y="242"/>
                </a:lnTo>
                <a:lnTo>
                  <a:pt x="63" y="240"/>
                </a:lnTo>
                <a:lnTo>
                  <a:pt x="62" y="238"/>
                </a:lnTo>
                <a:lnTo>
                  <a:pt x="60" y="235"/>
                </a:lnTo>
                <a:lnTo>
                  <a:pt x="59" y="234"/>
                </a:lnTo>
                <a:lnTo>
                  <a:pt x="58" y="233"/>
                </a:lnTo>
                <a:lnTo>
                  <a:pt x="57" y="232"/>
                </a:lnTo>
                <a:lnTo>
                  <a:pt x="56" y="231"/>
                </a:lnTo>
                <a:lnTo>
                  <a:pt x="55" y="231"/>
                </a:lnTo>
                <a:lnTo>
                  <a:pt x="52" y="230"/>
                </a:lnTo>
                <a:lnTo>
                  <a:pt x="51" y="229"/>
                </a:lnTo>
                <a:lnTo>
                  <a:pt x="50" y="228"/>
                </a:lnTo>
                <a:lnTo>
                  <a:pt x="48" y="227"/>
                </a:lnTo>
                <a:lnTo>
                  <a:pt x="45" y="225"/>
                </a:lnTo>
                <a:lnTo>
                  <a:pt x="44" y="224"/>
                </a:lnTo>
                <a:lnTo>
                  <a:pt x="43" y="223"/>
                </a:lnTo>
                <a:lnTo>
                  <a:pt x="43" y="223"/>
                </a:lnTo>
                <a:lnTo>
                  <a:pt x="42" y="222"/>
                </a:lnTo>
                <a:lnTo>
                  <a:pt x="41" y="221"/>
                </a:lnTo>
                <a:lnTo>
                  <a:pt x="40" y="219"/>
                </a:lnTo>
                <a:lnTo>
                  <a:pt x="40" y="218"/>
                </a:lnTo>
                <a:lnTo>
                  <a:pt x="39" y="216"/>
                </a:lnTo>
                <a:lnTo>
                  <a:pt x="39" y="214"/>
                </a:lnTo>
                <a:lnTo>
                  <a:pt x="38" y="212"/>
                </a:lnTo>
                <a:lnTo>
                  <a:pt x="38" y="210"/>
                </a:lnTo>
                <a:lnTo>
                  <a:pt x="38" y="207"/>
                </a:lnTo>
                <a:lnTo>
                  <a:pt x="38" y="205"/>
                </a:lnTo>
                <a:lnTo>
                  <a:pt x="38" y="202"/>
                </a:lnTo>
                <a:lnTo>
                  <a:pt x="39" y="201"/>
                </a:lnTo>
                <a:lnTo>
                  <a:pt x="39" y="200"/>
                </a:lnTo>
                <a:lnTo>
                  <a:pt x="41" y="193"/>
                </a:lnTo>
                <a:lnTo>
                  <a:pt x="42" y="188"/>
                </a:lnTo>
                <a:lnTo>
                  <a:pt x="43" y="187"/>
                </a:lnTo>
                <a:lnTo>
                  <a:pt x="43" y="185"/>
                </a:lnTo>
                <a:lnTo>
                  <a:pt x="43" y="184"/>
                </a:lnTo>
                <a:lnTo>
                  <a:pt x="43" y="182"/>
                </a:lnTo>
                <a:lnTo>
                  <a:pt x="43" y="180"/>
                </a:lnTo>
                <a:lnTo>
                  <a:pt x="43" y="178"/>
                </a:lnTo>
                <a:lnTo>
                  <a:pt x="42" y="176"/>
                </a:lnTo>
                <a:lnTo>
                  <a:pt x="41" y="173"/>
                </a:lnTo>
                <a:lnTo>
                  <a:pt x="41" y="171"/>
                </a:lnTo>
                <a:lnTo>
                  <a:pt x="40" y="170"/>
                </a:lnTo>
                <a:lnTo>
                  <a:pt x="38" y="166"/>
                </a:lnTo>
                <a:lnTo>
                  <a:pt x="37" y="164"/>
                </a:lnTo>
                <a:lnTo>
                  <a:pt x="37" y="163"/>
                </a:lnTo>
                <a:lnTo>
                  <a:pt x="36" y="162"/>
                </a:lnTo>
                <a:lnTo>
                  <a:pt x="35" y="160"/>
                </a:lnTo>
                <a:lnTo>
                  <a:pt x="33" y="158"/>
                </a:lnTo>
                <a:lnTo>
                  <a:pt x="31" y="156"/>
                </a:lnTo>
                <a:lnTo>
                  <a:pt x="30" y="154"/>
                </a:lnTo>
                <a:lnTo>
                  <a:pt x="27" y="152"/>
                </a:lnTo>
                <a:lnTo>
                  <a:pt x="26" y="151"/>
                </a:lnTo>
                <a:lnTo>
                  <a:pt x="26" y="150"/>
                </a:lnTo>
                <a:lnTo>
                  <a:pt x="24" y="146"/>
                </a:lnTo>
                <a:lnTo>
                  <a:pt x="23" y="145"/>
                </a:lnTo>
                <a:lnTo>
                  <a:pt x="21" y="143"/>
                </a:lnTo>
                <a:lnTo>
                  <a:pt x="19" y="141"/>
                </a:lnTo>
                <a:lnTo>
                  <a:pt x="19" y="140"/>
                </a:lnTo>
                <a:lnTo>
                  <a:pt x="18" y="140"/>
                </a:lnTo>
                <a:lnTo>
                  <a:pt x="16" y="139"/>
                </a:lnTo>
                <a:lnTo>
                  <a:pt x="13" y="138"/>
                </a:lnTo>
                <a:lnTo>
                  <a:pt x="11" y="138"/>
                </a:lnTo>
                <a:lnTo>
                  <a:pt x="10" y="137"/>
                </a:lnTo>
                <a:lnTo>
                  <a:pt x="9" y="136"/>
                </a:lnTo>
                <a:lnTo>
                  <a:pt x="7" y="136"/>
                </a:lnTo>
                <a:lnTo>
                  <a:pt x="6" y="135"/>
                </a:lnTo>
                <a:lnTo>
                  <a:pt x="5" y="134"/>
                </a:lnTo>
                <a:lnTo>
                  <a:pt x="4" y="133"/>
                </a:lnTo>
                <a:lnTo>
                  <a:pt x="3" y="132"/>
                </a:lnTo>
                <a:lnTo>
                  <a:pt x="2" y="131"/>
                </a:lnTo>
                <a:lnTo>
                  <a:pt x="1" y="130"/>
                </a:lnTo>
                <a:lnTo>
                  <a:pt x="1" y="129"/>
                </a:lnTo>
                <a:lnTo>
                  <a:pt x="0" y="128"/>
                </a:lnTo>
                <a:lnTo>
                  <a:pt x="0" y="127"/>
                </a:lnTo>
                <a:lnTo>
                  <a:pt x="0" y="127"/>
                </a:lnTo>
                <a:lnTo>
                  <a:pt x="0" y="126"/>
                </a:lnTo>
                <a:lnTo>
                  <a:pt x="0" y="125"/>
                </a:lnTo>
                <a:lnTo>
                  <a:pt x="0" y="124"/>
                </a:lnTo>
                <a:lnTo>
                  <a:pt x="0" y="123"/>
                </a:lnTo>
                <a:lnTo>
                  <a:pt x="1" y="122"/>
                </a:lnTo>
                <a:lnTo>
                  <a:pt x="1" y="121"/>
                </a:lnTo>
                <a:lnTo>
                  <a:pt x="2" y="121"/>
                </a:lnTo>
                <a:lnTo>
                  <a:pt x="3" y="119"/>
                </a:lnTo>
                <a:lnTo>
                  <a:pt x="4" y="118"/>
                </a:lnTo>
                <a:lnTo>
                  <a:pt x="6" y="117"/>
                </a:lnTo>
                <a:lnTo>
                  <a:pt x="8" y="115"/>
                </a:lnTo>
                <a:lnTo>
                  <a:pt x="9" y="114"/>
                </a:lnTo>
                <a:lnTo>
                  <a:pt x="10" y="113"/>
                </a:lnTo>
                <a:lnTo>
                  <a:pt x="11" y="112"/>
                </a:lnTo>
                <a:lnTo>
                  <a:pt x="12" y="111"/>
                </a:lnTo>
                <a:lnTo>
                  <a:pt x="13" y="110"/>
                </a:lnTo>
                <a:lnTo>
                  <a:pt x="13" y="109"/>
                </a:lnTo>
                <a:lnTo>
                  <a:pt x="13" y="108"/>
                </a:lnTo>
                <a:lnTo>
                  <a:pt x="13" y="107"/>
                </a:lnTo>
                <a:lnTo>
                  <a:pt x="13" y="106"/>
                </a:lnTo>
                <a:lnTo>
                  <a:pt x="13" y="106"/>
                </a:lnTo>
                <a:lnTo>
                  <a:pt x="13" y="105"/>
                </a:lnTo>
                <a:lnTo>
                  <a:pt x="13" y="103"/>
                </a:lnTo>
                <a:lnTo>
                  <a:pt x="12" y="100"/>
                </a:lnTo>
                <a:lnTo>
                  <a:pt x="11" y="98"/>
                </a:lnTo>
                <a:lnTo>
                  <a:pt x="11" y="96"/>
                </a:lnTo>
                <a:lnTo>
                  <a:pt x="10" y="92"/>
                </a:lnTo>
                <a:lnTo>
                  <a:pt x="10" y="91"/>
                </a:lnTo>
                <a:lnTo>
                  <a:pt x="9" y="89"/>
                </a:lnTo>
                <a:lnTo>
                  <a:pt x="8" y="88"/>
                </a:lnTo>
                <a:lnTo>
                  <a:pt x="8" y="87"/>
                </a:lnTo>
                <a:lnTo>
                  <a:pt x="6" y="85"/>
                </a:lnTo>
                <a:lnTo>
                  <a:pt x="6" y="84"/>
                </a:lnTo>
                <a:lnTo>
                  <a:pt x="5" y="84"/>
                </a:lnTo>
                <a:lnTo>
                  <a:pt x="5" y="83"/>
                </a:lnTo>
                <a:lnTo>
                  <a:pt x="5" y="83"/>
                </a:lnTo>
                <a:lnTo>
                  <a:pt x="6" y="83"/>
                </a:lnTo>
                <a:lnTo>
                  <a:pt x="6" y="82"/>
                </a:lnTo>
                <a:lnTo>
                  <a:pt x="6" y="82"/>
                </a:lnTo>
                <a:lnTo>
                  <a:pt x="7" y="82"/>
                </a:lnTo>
                <a:lnTo>
                  <a:pt x="7" y="82"/>
                </a:lnTo>
                <a:lnTo>
                  <a:pt x="9" y="82"/>
                </a:lnTo>
                <a:lnTo>
                  <a:pt x="11" y="82"/>
                </a:lnTo>
                <a:lnTo>
                  <a:pt x="12" y="82"/>
                </a:lnTo>
                <a:lnTo>
                  <a:pt x="17" y="81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1"/>
                </a:lnTo>
                <a:lnTo>
                  <a:pt x="30" y="82"/>
                </a:lnTo>
                <a:lnTo>
                  <a:pt x="31" y="82"/>
                </a:lnTo>
                <a:lnTo>
                  <a:pt x="33" y="83"/>
                </a:lnTo>
                <a:lnTo>
                  <a:pt x="34" y="83"/>
                </a:lnTo>
                <a:lnTo>
                  <a:pt x="35" y="84"/>
                </a:lnTo>
                <a:lnTo>
                  <a:pt x="36" y="85"/>
                </a:lnTo>
                <a:lnTo>
                  <a:pt x="37" y="86"/>
                </a:lnTo>
                <a:lnTo>
                  <a:pt x="38" y="87"/>
                </a:lnTo>
                <a:lnTo>
                  <a:pt x="39" y="89"/>
                </a:lnTo>
                <a:lnTo>
                  <a:pt x="40" y="91"/>
                </a:lnTo>
                <a:lnTo>
                  <a:pt x="41" y="92"/>
                </a:lnTo>
                <a:lnTo>
                  <a:pt x="41" y="93"/>
                </a:lnTo>
                <a:lnTo>
                  <a:pt x="42" y="94"/>
                </a:lnTo>
                <a:lnTo>
                  <a:pt x="42" y="99"/>
                </a:lnTo>
                <a:lnTo>
                  <a:pt x="43" y="101"/>
                </a:lnTo>
                <a:lnTo>
                  <a:pt x="44" y="106"/>
                </a:lnTo>
                <a:lnTo>
                  <a:pt x="45" y="107"/>
                </a:lnTo>
                <a:lnTo>
                  <a:pt x="45" y="109"/>
                </a:lnTo>
                <a:lnTo>
                  <a:pt x="46" y="110"/>
                </a:lnTo>
                <a:lnTo>
                  <a:pt x="46" y="111"/>
                </a:lnTo>
                <a:lnTo>
                  <a:pt x="47" y="112"/>
                </a:lnTo>
                <a:lnTo>
                  <a:pt x="48" y="113"/>
                </a:lnTo>
                <a:lnTo>
                  <a:pt x="49" y="113"/>
                </a:lnTo>
                <a:lnTo>
                  <a:pt x="51" y="114"/>
                </a:lnTo>
                <a:lnTo>
                  <a:pt x="52" y="115"/>
                </a:lnTo>
                <a:lnTo>
                  <a:pt x="53" y="115"/>
                </a:lnTo>
                <a:lnTo>
                  <a:pt x="60" y="118"/>
                </a:lnTo>
                <a:lnTo>
                  <a:pt x="61" y="118"/>
                </a:lnTo>
                <a:lnTo>
                  <a:pt x="62" y="119"/>
                </a:lnTo>
                <a:lnTo>
                  <a:pt x="64" y="119"/>
                </a:lnTo>
                <a:lnTo>
                  <a:pt x="64" y="120"/>
                </a:lnTo>
                <a:lnTo>
                  <a:pt x="65" y="121"/>
                </a:lnTo>
                <a:lnTo>
                  <a:pt x="66" y="122"/>
                </a:lnTo>
                <a:lnTo>
                  <a:pt x="66" y="123"/>
                </a:lnTo>
                <a:lnTo>
                  <a:pt x="66" y="124"/>
                </a:lnTo>
                <a:lnTo>
                  <a:pt x="66" y="125"/>
                </a:lnTo>
                <a:lnTo>
                  <a:pt x="66" y="126"/>
                </a:lnTo>
                <a:lnTo>
                  <a:pt x="66" y="126"/>
                </a:lnTo>
                <a:lnTo>
                  <a:pt x="66" y="127"/>
                </a:lnTo>
                <a:lnTo>
                  <a:pt x="65" y="127"/>
                </a:lnTo>
                <a:lnTo>
                  <a:pt x="64" y="128"/>
                </a:lnTo>
                <a:lnTo>
                  <a:pt x="63" y="128"/>
                </a:lnTo>
                <a:lnTo>
                  <a:pt x="63" y="129"/>
                </a:lnTo>
                <a:lnTo>
                  <a:pt x="63" y="130"/>
                </a:lnTo>
                <a:lnTo>
                  <a:pt x="62" y="130"/>
                </a:lnTo>
                <a:lnTo>
                  <a:pt x="62" y="131"/>
                </a:lnTo>
                <a:lnTo>
                  <a:pt x="62" y="132"/>
                </a:lnTo>
                <a:lnTo>
                  <a:pt x="63" y="133"/>
                </a:lnTo>
                <a:lnTo>
                  <a:pt x="63" y="134"/>
                </a:lnTo>
                <a:lnTo>
                  <a:pt x="64" y="136"/>
                </a:lnTo>
                <a:lnTo>
                  <a:pt x="65" y="137"/>
                </a:lnTo>
                <a:lnTo>
                  <a:pt x="67" y="138"/>
                </a:lnTo>
                <a:lnTo>
                  <a:pt x="68" y="140"/>
                </a:lnTo>
                <a:lnTo>
                  <a:pt x="72" y="143"/>
                </a:lnTo>
                <a:lnTo>
                  <a:pt x="73" y="144"/>
                </a:lnTo>
                <a:lnTo>
                  <a:pt x="74" y="145"/>
                </a:lnTo>
                <a:lnTo>
                  <a:pt x="75" y="146"/>
                </a:lnTo>
                <a:lnTo>
                  <a:pt x="76" y="149"/>
                </a:lnTo>
                <a:lnTo>
                  <a:pt x="77" y="150"/>
                </a:lnTo>
                <a:lnTo>
                  <a:pt x="77" y="150"/>
                </a:lnTo>
                <a:lnTo>
                  <a:pt x="77" y="151"/>
                </a:lnTo>
                <a:lnTo>
                  <a:pt x="77" y="152"/>
                </a:lnTo>
                <a:lnTo>
                  <a:pt x="76" y="155"/>
                </a:lnTo>
                <a:lnTo>
                  <a:pt x="76" y="159"/>
                </a:lnTo>
                <a:lnTo>
                  <a:pt x="76" y="161"/>
                </a:lnTo>
                <a:lnTo>
                  <a:pt x="75" y="164"/>
                </a:lnTo>
                <a:lnTo>
                  <a:pt x="75" y="165"/>
                </a:lnTo>
                <a:lnTo>
                  <a:pt x="75" y="166"/>
                </a:lnTo>
                <a:lnTo>
                  <a:pt x="75" y="167"/>
                </a:lnTo>
                <a:lnTo>
                  <a:pt x="75" y="167"/>
                </a:lnTo>
                <a:lnTo>
                  <a:pt x="76" y="169"/>
                </a:lnTo>
                <a:lnTo>
                  <a:pt x="76" y="171"/>
                </a:lnTo>
                <a:lnTo>
                  <a:pt x="77" y="173"/>
                </a:lnTo>
                <a:lnTo>
                  <a:pt x="79" y="175"/>
                </a:lnTo>
                <a:lnTo>
                  <a:pt x="80" y="177"/>
                </a:lnTo>
                <a:lnTo>
                  <a:pt x="81" y="177"/>
                </a:lnTo>
                <a:lnTo>
                  <a:pt x="81" y="178"/>
                </a:lnTo>
                <a:lnTo>
                  <a:pt x="82" y="178"/>
                </a:lnTo>
                <a:lnTo>
                  <a:pt x="83" y="179"/>
                </a:lnTo>
                <a:lnTo>
                  <a:pt x="84" y="179"/>
                </a:lnTo>
                <a:lnTo>
                  <a:pt x="85" y="180"/>
                </a:lnTo>
                <a:lnTo>
                  <a:pt x="87" y="180"/>
                </a:lnTo>
                <a:lnTo>
                  <a:pt x="88" y="181"/>
                </a:lnTo>
                <a:lnTo>
                  <a:pt x="89" y="181"/>
                </a:lnTo>
                <a:lnTo>
                  <a:pt x="90" y="181"/>
                </a:lnTo>
                <a:lnTo>
                  <a:pt x="91" y="181"/>
                </a:lnTo>
                <a:lnTo>
                  <a:pt x="92" y="181"/>
                </a:lnTo>
                <a:lnTo>
                  <a:pt x="93" y="180"/>
                </a:lnTo>
                <a:lnTo>
                  <a:pt x="93" y="180"/>
                </a:lnTo>
                <a:lnTo>
                  <a:pt x="94" y="180"/>
                </a:lnTo>
                <a:lnTo>
                  <a:pt x="94" y="179"/>
                </a:lnTo>
                <a:lnTo>
                  <a:pt x="94" y="178"/>
                </a:lnTo>
                <a:lnTo>
                  <a:pt x="95" y="175"/>
                </a:lnTo>
                <a:lnTo>
                  <a:pt x="95" y="172"/>
                </a:lnTo>
                <a:lnTo>
                  <a:pt x="96" y="170"/>
                </a:lnTo>
                <a:lnTo>
                  <a:pt x="96" y="169"/>
                </a:lnTo>
                <a:lnTo>
                  <a:pt x="96" y="167"/>
                </a:lnTo>
                <a:lnTo>
                  <a:pt x="95" y="165"/>
                </a:lnTo>
                <a:lnTo>
                  <a:pt x="95" y="162"/>
                </a:lnTo>
                <a:lnTo>
                  <a:pt x="95" y="161"/>
                </a:lnTo>
                <a:lnTo>
                  <a:pt x="95" y="159"/>
                </a:lnTo>
                <a:lnTo>
                  <a:pt x="95" y="157"/>
                </a:lnTo>
                <a:lnTo>
                  <a:pt x="95" y="154"/>
                </a:lnTo>
                <a:lnTo>
                  <a:pt x="96" y="150"/>
                </a:lnTo>
                <a:lnTo>
                  <a:pt x="96" y="146"/>
                </a:lnTo>
                <a:lnTo>
                  <a:pt x="97" y="144"/>
                </a:lnTo>
                <a:lnTo>
                  <a:pt x="97" y="142"/>
                </a:lnTo>
                <a:lnTo>
                  <a:pt x="97" y="141"/>
                </a:lnTo>
                <a:lnTo>
                  <a:pt x="98" y="140"/>
                </a:lnTo>
                <a:lnTo>
                  <a:pt x="98" y="140"/>
                </a:lnTo>
                <a:lnTo>
                  <a:pt x="99" y="139"/>
                </a:lnTo>
                <a:lnTo>
                  <a:pt x="99" y="139"/>
                </a:lnTo>
                <a:lnTo>
                  <a:pt x="100" y="138"/>
                </a:lnTo>
                <a:lnTo>
                  <a:pt x="102" y="138"/>
                </a:lnTo>
                <a:lnTo>
                  <a:pt x="103" y="137"/>
                </a:lnTo>
                <a:lnTo>
                  <a:pt x="104" y="137"/>
                </a:lnTo>
                <a:lnTo>
                  <a:pt x="104" y="137"/>
                </a:lnTo>
                <a:lnTo>
                  <a:pt x="105" y="136"/>
                </a:lnTo>
                <a:lnTo>
                  <a:pt x="105" y="135"/>
                </a:lnTo>
                <a:lnTo>
                  <a:pt x="105" y="134"/>
                </a:lnTo>
                <a:lnTo>
                  <a:pt x="106" y="133"/>
                </a:lnTo>
                <a:lnTo>
                  <a:pt x="106" y="132"/>
                </a:lnTo>
                <a:lnTo>
                  <a:pt x="106" y="129"/>
                </a:lnTo>
                <a:lnTo>
                  <a:pt x="106" y="128"/>
                </a:lnTo>
                <a:lnTo>
                  <a:pt x="107" y="126"/>
                </a:lnTo>
                <a:lnTo>
                  <a:pt x="107" y="124"/>
                </a:lnTo>
                <a:lnTo>
                  <a:pt x="108" y="122"/>
                </a:lnTo>
                <a:lnTo>
                  <a:pt x="109" y="120"/>
                </a:lnTo>
                <a:lnTo>
                  <a:pt x="110" y="117"/>
                </a:lnTo>
                <a:lnTo>
                  <a:pt x="111" y="115"/>
                </a:lnTo>
                <a:lnTo>
                  <a:pt x="112" y="114"/>
                </a:lnTo>
                <a:lnTo>
                  <a:pt x="113" y="113"/>
                </a:lnTo>
                <a:lnTo>
                  <a:pt x="115" y="110"/>
                </a:lnTo>
                <a:lnTo>
                  <a:pt x="117" y="108"/>
                </a:lnTo>
                <a:lnTo>
                  <a:pt x="121" y="104"/>
                </a:lnTo>
                <a:lnTo>
                  <a:pt x="123" y="103"/>
                </a:lnTo>
                <a:lnTo>
                  <a:pt x="124" y="102"/>
                </a:lnTo>
                <a:lnTo>
                  <a:pt x="125" y="100"/>
                </a:lnTo>
                <a:lnTo>
                  <a:pt x="126" y="98"/>
                </a:lnTo>
                <a:lnTo>
                  <a:pt x="126" y="96"/>
                </a:lnTo>
                <a:lnTo>
                  <a:pt x="128" y="92"/>
                </a:lnTo>
                <a:lnTo>
                  <a:pt x="129" y="90"/>
                </a:lnTo>
                <a:lnTo>
                  <a:pt x="129" y="89"/>
                </a:lnTo>
                <a:lnTo>
                  <a:pt x="130" y="88"/>
                </a:lnTo>
                <a:lnTo>
                  <a:pt x="130" y="87"/>
                </a:lnTo>
                <a:lnTo>
                  <a:pt x="131" y="86"/>
                </a:lnTo>
                <a:lnTo>
                  <a:pt x="132" y="86"/>
                </a:lnTo>
                <a:lnTo>
                  <a:pt x="133" y="85"/>
                </a:lnTo>
                <a:lnTo>
                  <a:pt x="134" y="84"/>
                </a:lnTo>
                <a:lnTo>
                  <a:pt x="138" y="82"/>
                </a:lnTo>
                <a:lnTo>
                  <a:pt x="139" y="81"/>
                </a:lnTo>
                <a:lnTo>
                  <a:pt x="140" y="81"/>
                </a:lnTo>
                <a:lnTo>
                  <a:pt x="141" y="80"/>
                </a:lnTo>
                <a:lnTo>
                  <a:pt x="142" y="79"/>
                </a:lnTo>
                <a:lnTo>
                  <a:pt x="145" y="75"/>
                </a:lnTo>
                <a:lnTo>
                  <a:pt x="147" y="74"/>
                </a:lnTo>
                <a:lnTo>
                  <a:pt x="149" y="72"/>
                </a:lnTo>
                <a:lnTo>
                  <a:pt x="151" y="71"/>
                </a:lnTo>
                <a:lnTo>
                  <a:pt x="153" y="69"/>
                </a:lnTo>
                <a:lnTo>
                  <a:pt x="155" y="68"/>
                </a:lnTo>
                <a:lnTo>
                  <a:pt x="157" y="67"/>
                </a:lnTo>
                <a:lnTo>
                  <a:pt x="160" y="67"/>
                </a:lnTo>
                <a:lnTo>
                  <a:pt x="161" y="66"/>
                </a:lnTo>
                <a:lnTo>
                  <a:pt x="162" y="66"/>
                </a:lnTo>
                <a:lnTo>
                  <a:pt x="162" y="65"/>
                </a:lnTo>
                <a:lnTo>
                  <a:pt x="163" y="64"/>
                </a:lnTo>
                <a:lnTo>
                  <a:pt x="163" y="64"/>
                </a:lnTo>
                <a:lnTo>
                  <a:pt x="164" y="63"/>
                </a:lnTo>
                <a:lnTo>
                  <a:pt x="164" y="62"/>
                </a:lnTo>
                <a:lnTo>
                  <a:pt x="165" y="60"/>
                </a:lnTo>
                <a:lnTo>
                  <a:pt x="166" y="56"/>
                </a:lnTo>
                <a:lnTo>
                  <a:pt x="167" y="54"/>
                </a:lnTo>
                <a:lnTo>
                  <a:pt x="167" y="53"/>
                </a:lnTo>
                <a:lnTo>
                  <a:pt x="168" y="50"/>
                </a:lnTo>
                <a:lnTo>
                  <a:pt x="170" y="48"/>
                </a:lnTo>
                <a:lnTo>
                  <a:pt x="172" y="45"/>
                </a:lnTo>
                <a:lnTo>
                  <a:pt x="173" y="44"/>
                </a:lnTo>
                <a:lnTo>
                  <a:pt x="174" y="43"/>
                </a:lnTo>
                <a:lnTo>
                  <a:pt x="175" y="42"/>
                </a:lnTo>
                <a:lnTo>
                  <a:pt x="176" y="41"/>
                </a:lnTo>
                <a:lnTo>
                  <a:pt x="178" y="40"/>
                </a:lnTo>
                <a:lnTo>
                  <a:pt x="178" y="39"/>
                </a:lnTo>
                <a:lnTo>
                  <a:pt x="179" y="39"/>
                </a:lnTo>
                <a:lnTo>
                  <a:pt x="182" y="38"/>
                </a:lnTo>
                <a:lnTo>
                  <a:pt x="185" y="37"/>
                </a:lnTo>
                <a:lnTo>
                  <a:pt x="189" y="36"/>
                </a:lnTo>
                <a:lnTo>
                  <a:pt x="195" y="35"/>
                </a:lnTo>
                <a:lnTo>
                  <a:pt x="198" y="34"/>
                </a:lnTo>
                <a:lnTo>
                  <a:pt x="205" y="32"/>
                </a:lnTo>
                <a:lnTo>
                  <a:pt x="213" y="31"/>
                </a:lnTo>
                <a:lnTo>
                  <a:pt x="218" y="29"/>
                </a:lnTo>
                <a:lnTo>
                  <a:pt x="220" y="29"/>
                </a:lnTo>
                <a:lnTo>
                  <a:pt x="221" y="29"/>
                </a:lnTo>
                <a:lnTo>
                  <a:pt x="223" y="28"/>
                </a:lnTo>
                <a:lnTo>
                  <a:pt x="225" y="28"/>
                </a:lnTo>
                <a:lnTo>
                  <a:pt x="228" y="28"/>
                </a:lnTo>
                <a:lnTo>
                  <a:pt x="233" y="29"/>
                </a:lnTo>
                <a:lnTo>
                  <a:pt x="240" y="29"/>
                </a:lnTo>
                <a:lnTo>
                  <a:pt x="242" y="30"/>
                </a:lnTo>
                <a:lnTo>
                  <a:pt x="244" y="30"/>
                </a:lnTo>
                <a:lnTo>
                  <a:pt x="245" y="31"/>
                </a:lnTo>
                <a:lnTo>
                  <a:pt x="247" y="31"/>
                </a:lnTo>
                <a:lnTo>
                  <a:pt x="251" y="33"/>
                </a:lnTo>
                <a:lnTo>
                  <a:pt x="253" y="34"/>
                </a:lnTo>
                <a:lnTo>
                  <a:pt x="254" y="34"/>
                </a:lnTo>
                <a:lnTo>
                  <a:pt x="255" y="35"/>
                </a:lnTo>
                <a:lnTo>
                  <a:pt x="255" y="35"/>
                </a:lnTo>
                <a:lnTo>
                  <a:pt x="256" y="34"/>
                </a:lnTo>
                <a:lnTo>
                  <a:pt x="257" y="34"/>
                </a:lnTo>
                <a:lnTo>
                  <a:pt x="258" y="34"/>
                </a:lnTo>
                <a:lnTo>
                  <a:pt x="258" y="33"/>
                </a:lnTo>
                <a:lnTo>
                  <a:pt x="259" y="33"/>
                </a:lnTo>
                <a:lnTo>
                  <a:pt x="269" y="21"/>
                </a:lnTo>
                <a:lnTo>
                  <a:pt x="270" y="20"/>
                </a:lnTo>
                <a:lnTo>
                  <a:pt x="272" y="19"/>
                </a:lnTo>
                <a:lnTo>
                  <a:pt x="273" y="18"/>
                </a:lnTo>
                <a:lnTo>
                  <a:pt x="274" y="17"/>
                </a:lnTo>
                <a:lnTo>
                  <a:pt x="277" y="15"/>
                </a:lnTo>
                <a:lnTo>
                  <a:pt x="279" y="14"/>
                </a:lnTo>
                <a:lnTo>
                  <a:pt x="282" y="13"/>
                </a:lnTo>
                <a:lnTo>
                  <a:pt x="285" y="12"/>
                </a:lnTo>
                <a:lnTo>
                  <a:pt x="288" y="11"/>
                </a:lnTo>
                <a:lnTo>
                  <a:pt x="289" y="10"/>
                </a:lnTo>
                <a:lnTo>
                  <a:pt x="291" y="10"/>
                </a:lnTo>
                <a:lnTo>
                  <a:pt x="292" y="10"/>
                </a:lnTo>
                <a:lnTo>
                  <a:pt x="293" y="10"/>
                </a:lnTo>
                <a:lnTo>
                  <a:pt x="294" y="10"/>
                </a:lnTo>
                <a:lnTo>
                  <a:pt x="294" y="10"/>
                </a:lnTo>
                <a:lnTo>
                  <a:pt x="295" y="11"/>
                </a:lnTo>
                <a:lnTo>
                  <a:pt x="298" y="12"/>
                </a:lnTo>
                <a:lnTo>
                  <a:pt x="299" y="12"/>
                </a:lnTo>
                <a:lnTo>
                  <a:pt x="300" y="12"/>
                </a:lnTo>
                <a:lnTo>
                  <a:pt x="300" y="12"/>
                </a:lnTo>
                <a:lnTo>
                  <a:pt x="301" y="12"/>
                </a:lnTo>
                <a:lnTo>
                  <a:pt x="301" y="12"/>
                </a:lnTo>
                <a:lnTo>
                  <a:pt x="301" y="12"/>
                </a:lnTo>
                <a:lnTo>
                  <a:pt x="302" y="11"/>
                </a:lnTo>
                <a:lnTo>
                  <a:pt x="302" y="10"/>
                </a:lnTo>
                <a:lnTo>
                  <a:pt x="303" y="10"/>
                </a:lnTo>
                <a:lnTo>
                  <a:pt x="305" y="4"/>
                </a:lnTo>
                <a:lnTo>
                  <a:pt x="307" y="1"/>
                </a:lnTo>
                <a:lnTo>
                  <a:pt x="307" y="0"/>
                </a:lnTo>
                <a:lnTo>
                  <a:pt x="308" y="1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 271">
            <a:extLst>
              <a:ext uri="{FF2B5EF4-FFF2-40B4-BE49-F238E27FC236}">
                <a16:creationId xmlns:a16="http://schemas.microsoft.com/office/drawing/2014/main" id="{74AF8986-15FE-4DEA-AD57-6011920532E4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16 w 715"/>
              <a:gd name="T1" fmla="*/ 21 h 633"/>
              <a:gd name="T2" fmla="*/ 651 w 715"/>
              <a:gd name="T3" fmla="*/ 12 h 633"/>
              <a:gd name="T4" fmla="*/ 670 w 715"/>
              <a:gd name="T5" fmla="*/ 31 h 633"/>
              <a:gd name="T6" fmla="*/ 689 w 715"/>
              <a:gd name="T7" fmla="*/ 67 h 633"/>
              <a:gd name="T8" fmla="*/ 693 w 715"/>
              <a:gd name="T9" fmla="*/ 90 h 633"/>
              <a:gd name="T10" fmla="*/ 706 w 715"/>
              <a:gd name="T11" fmla="*/ 120 h 633"/>
              <a:gd name="T12" fmla="*/ 680 w 715"/>
              <a:gd name="T13" fmla="*/ 154 h 633"/>
              <a:gd name="T14" fmla="*/ 650 w 715"/>
              <a:gd name="T15" fmla="*/ 162 h 633"/>
              <a:gd name="T16" fmla="*/ 632 w 715"/>
              <a:gd name="T17" fmla="*/ 180 h 633"/>
              <a:gd name="T18" fmla="*/ 618 w 715"/>
              <a:gd name="T19" fmla="*/ 210 h 633"/>
              <a:gd name="T20" fmla="*/ 591 w 715"/>
              <a:gd name="T21" fmla="*/ 249 h 633"/>
              <a:gd name="T22" fmla="*/ 603 w 715"/>
              <a:gd name="T23" fmla="*/ 296 h 633"/>
              <a:gd name="T24" fmla="*/ 638 w 715"/>
              <a:gd name="T25" fmla="*/ 350 h 633"/>
              <a:gd name="T26" fmla="*/ 637 w 715"/>
              <a:gd name="T27" fmla="*/ 367 h 633"/>
              <a:gd name="T28" fmla="*/ 631 w 715"/>
              <a:gd name="T29" fmla="*/ 397 h 633"/>
              <a:gd name="T30" fmla="*/ 601 w 715"/>
              <a:gd name="T31" fmla="*/ 410 h 633"/>
              <a:gd name="T32" fmla="*/ 598 w 715"/>
              <a:gd name="T33" fmla="*/ 437 h 633"/>
              <a:gd name="T34" fmla="*/ 578 w 715"/>
              <a:gd name="T35" fmla="*/ 459 h 633"/>
              <a:gd name="T36" fmla="*/ 526 w 715"/>
              <a:gd name="T37" fmla="*/ 469 h 633"/>
              <a:gd name="T38" fmla="*/ 457 w 715"/>
              <a:gd name="T39" fmla="*/ 465 h 633"/>
              <a:gd name="T40" fmla="*/ 435 w 715"/>
              <a:gd name="T41" fmla="*/ 486 h 633"/>
              <a:gd name="T42" fmla="*/ 415 w 715"/>
              <a:gd name="T43" fmla="*/ 503 h 633"/>
              <a:gd name="T44" fmla="*/ 379 w 715"/>
              <a:gd name="T45" fmla="*/ 527 h 633"/>
              <a:gd name="T46" fmla="*/ 353 w 715"/>
              <a:gd name="T47" fmla="*/ 524 h 633"/>
              <a:gd name="T48" fmla="*/ 310 w 715"/>
              <a:gd name="T49" fmla="*/ 541 h 633"/>
              <a:gd name="T50" fmla="*/ 276 w 715"/>
              <a:gd name="T51" fmla="*/ 557 h 633"/>
              <a:gd name="T52" fmla="*/ 233 w 715"/>
              <a:gd name="T53" fmla="*/ 574 h 633"/>
              <a:gd name="T54" fmla="*/ 220 w 715"/>
              <a:gd name="T55" fmla="*/ 602 h 633"/>
              <a:gd name="T56" fmla="*/ 195 w 715"/>
              <a:gd name="T57" fmla="*/ 619 h 633"/>
              <a:gd name="T58" fmla="*/ 174 w 715"/>
              <a:gd name="T59" fmla="*/ 632 h 633"/>
              <a:gd name="T60" fmla="*/ 155 w 715"/>
              <a:gd name="T61" fmla="*/ 624 h 633"/>
              <a:gd name="T62" fmla="*/ 144 w 715"/>
              <a:gd name="T63" fmla="*/ 619 h 633"/>
              <a:gd name="T64" fmla="*/ 118 w 715"/>
              <a:gd name="T65" fmla="*/ 597 h 633"/>
              <a:gd name="T66" fmla="*/ 135 w 715"/>
              <a:gd name="T67" fmla="*/ 590 h 633"/>
              <a:gd name="T68" fmla="*/ 127 w 715"/>
              <a:gd name="T69" fmla="*/ 551 h 633"/>
              <a:gd name="T70" fmla="*/ 117 w 715"/>
              <a:gd name="T71" fmla="*/ 519 h 633"/>
              <a:gd name="T72" fmla="*/ 118 w 715"/>
              <a:gd name="T73" fmla="*/ 471 h 633"/>
              <a:gd name="T74" fmla="*/ 98 w 715"/>
              <a:gd name="T75" fmla="*/ 451 h 633"/>
              <a:gd name="T76" fmla="*/ 64 w 715"/>
              <a:gd name="T77" fmla="*/ 448 h 633"/>
              <a:gd name="T78" fmla="*/ 39 w 715"/>
              <a:gd name="T79" fmla="*/ 427 h 633"/>
              <a:gd name="T80" fmla="*/ 9 w 715"/>
              <a:gd name="T81" fmla="*/ 409 h 633"/>
              <a:gd name="T82" fmla="*/ 37 w 715"/>
              <a:gd name="T83" fmla="*/ 354 h 633"/>
              <a:gd name="T84" fmla="*/ 77 w 715"/>
              <a:gd name="T85" fmla="*/ 348 h 633"/>
              <a:gd name="T86" fmla="*/ 111 w 715"/>
              <a:gd name="T87" fmla="*/ 341 h 633"/>
              <a:gd name="T88" fmla="*/ 133 w 715"/>
              <a:gd name="T89" fmla="*/ 297 h 633"/>
              <a:gd name="T90" fmla="*/ 158 w 715"/>
              <a:gd name="T91" fmla="*/ 301 h 633"/>
              <a:gd name="T92" fmla="*/ 184 w 715"/>
              <a:gd name="T93" fmla="*/ 264 h 633"/>
              <a:gd name="T94" fmla="*/ 212 w 715"/>
              <a:gd name="T95" fmla="*/ 287 h 633"/>
              <a:gd name="T96" fmla="*/ 244 w 715"/>
              <a:gd name="T97" fmla="*/ 260 h 633"/>
              <a:gd name="T98" fmla="*/ 252 w 715"/>
              <a:gd name="T99" fmla="*/ 225 h 633"/>
              <a:gd name="T100" fmla="*/ 295 w 715"/>
              <a:gd name="T101" fmla="*/ 212 h 633"/>
              <a:gd name="T102" fmla="*/ 328 w 715"/>
              <a:gd name="T103" fmla="*/ 212 h 633"/>
              <a:gd name="T104" fmla="*/ 383 w 715"/>
              <a:gd name="T105" fmla="*/ 211 h 633"/>
              <a:gd name="T106" fmla="*/ 401 w 715"/>
              <a:gd name="T107" fmla="*/ 180 h 633"/>
              <a:gd name="T108" fmla="*/ 435 w 715"/>
              <a:gd name="T109" fmla="*/ 158 h 633"/>
              <a:gd name="T110" fmla="*/ 485 w 715"/>
              <a:gd name="T111" fmla="*/ 150 h 633"/>
              <a:gd name="T112" fmla="*/ 549 w 715"/>
              <a:gd name="T113" fmla="*/ 110 h 633"/>
              <a:gd name="T114" fmla="*/ 599 w 715"/>
              <a:gd name="T115" fmla="*/ 103 h 633"/>
              <a:gd name="T116" fmla="*/ 606 w 715"/>
              <a:gd name="T117" fmla="*/ 78 h 633"/>
              <a:gd name="T118" fmla="*/ 577 w 715"/>
              <a:gd name="T119" fmla="*/ 56 h 633"/>
              <a:gd name="T120" fmla="*/ 557 w 715"/>
              <a:gd name="T121" fmla="*/ 43 h 633"/>
              <a:gd name="T122" fmla="*/ 566 w 715"/>
              <a:gd name="T123" fmla="*/ 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  <a:lnTo>
                  <a:pt x="124" y="305"/>
                </a:lnTo>
                <a:lnTo>
                  <a:pt x="125" y="304"/>
                </a:lnTo>
                <a:lnTo>
                  <a:pt x="125" y="303"/>
                </a:lnTo>
                <a:lnTo>
                  <a:pt x="126" y="302"/>
                </a:lnTo>
                <a:lnTo>
                  <a:pt x="127" y="301"/>
                </a:lnTo>
                <a:lnTo>
                  <a:pt x="128" y="300"/>
                </a:lnTo>
                <a:lnTo>
                  <a:pt x="129" y="299"/>
                </a:lnTo>
                <a:lnTo>
                  <a:pt x="130" y="299"/>
                </a:lnTo>
                <a:lnTo>
                  <a:pt x="131" y="298"/>
                </a:lnTo>
                <a:lnTo>
                  <a:pt x="132" y="298"/>
                </a:lnTo>
                <a:lnTo>
                  <a:pt x="133" y="297"/>
                </a:lnTo>
                <a:lnTo>
                  <a:pt x="134" y="297"/>
                </a:lnTo>
                <a:lnTo>
                  <a:pt x="135" y="297"/>
                </a:lnTo>
                <a:lnTo>
                  <a:pt x="136" y="297"/>
                </a:lnTo>
                <a:lnTo>
                  <a:pt x="137" y="298"/>
                </a:lnTo>
                <a:lnTo>
                  <a:pt x="139" y="298"/>
                </a:lnTo>
                <a:lnTo>
                  <a:pt x="140" y="299"/>
                </a:lnTo>
                <a:lnTo>
                  <a:pt x="141" y="299"/>
                </a:lnTo>
                <a:lnTo>
                  <a:pt x="142" y="300"/>
                </a:lnTo>
                <a:lnTo>
                  <a:pt x="145" y="302"/>
                </a:lnTo>
                <a:lnTo>
                  <a:pt x="146" y="303"/>
                </a:lnTo>
                <a:lnTo>
                  <a:pt x="148" y="303"/>
                </a:lnTo>
                <a:lnTo>
                  <a:pt x="149" y="304"/>
                </a:lnTo>
                <a:lnTo>
                  <a:pt x="150" y="304"/>
                </a:lnTo>
                <a:lnTo>
                  <a:pt x="151" y="304"/>
                </a:lnTo>
                <a:lnTo>
                  <a:pt x="152" y="304"/>
                </a:lnTo>
                <a:lnTo>
                  <a:pt x="153" y="304"/>
                </a:lnTo>
                <a:lnTo>
                  <a:pt x="154" y="303"/>
                </a:lnTo>
                <a:lnTo>
                  <a:pt x="155" y="303"/>
                </a:lnTo>
                <a:lnTo>
                  <a:pt x="156" y="303"/>
                </a:lnTo>
                <a:lnTo>
                  <a:pt x="156" y="302"/>
                </a:lnTo>
                <a:lnTo>
                  <a:pt x="157" y="302"/>
                </a:lnTo>
                <a:lnTo>
                  <a:pt x="158" y="301"/>
                </a:lnTo>
                <a:lnTo>
                  <a:pt x="158" y="301"/>
                </a:lnTo>
                <a:lnTo>
                  <a:pt x="159" y="300"/>
                </a:lnTo>
                <a:lnTo>
                  <a:pt x="159" y="298"/>
                </a:lnTo>
                <a:lnTo>
                  <a:pt x="161" y="294"/>
                </a:lnTo>
                <a:lnTo>
                  <a:pt x="162" y="292"/>
                </a:lnTo>
                <a:lnTo>
                  <a:pt x="163" y="290"/>
                </a:lnTo>
                <a:lnTo>
                  <a:pt x="163" y="289"/>
                </a:lnTo>
                <a:lnTo>
                  <a:pt x="164" y="289"/>
                </a:lnTo>
                <a:lnTo>
                  <a:pt x="165" y="287"/>
                </a:lnTo>
                <a:lnTo>
                  <a:pt x="168" y="285"/>
                </a:lnTo>
                <a:lnTo>
                  <a:pt x="170" y="284"/>
                </a:lnTo>
                <a:lnTo>
                  <a:pt x="173" y="281"/>
                </a:lnTo>
                <a:lnTo>
                  <a:pt x="176" y="279"/>
                </a:lnTo>
                <a:lnTo>
                  <a:pt x="177" y="278"/>
                </a:lnTo>
                <a:lnTo>
                  <a:pt x="178" y="278"/>
                </a:lnTo>
                <a:lnTo>
                  <a:pt x="178" y="277"/>
                </a:lnTo>
                <a:lnTo>
                  <a:pt x="179" y="276"/>
                </a:lnTo>
                <a:lnTo>
                  <a:pt x="180" y="274"/>
                </a:lnTo>
                <a:lnTo>
                  <a:pt x="181" y="272"/>
                </a:lnTo>
                <a:lnTo>
                  <a:pt x="182" y="270"/>
                </a:lnTo>
                <a:lnTo>
                  <a:pt x="183" y="266"/>
                </a:lnTo>
                <a:lnTo>
                  <a:pt x="183" y="265"/>
                </a:lnTo>
                <a:lnTo>
                  <a:pt x="184" y="264"/>
                </a:lnTo>
                <a:lnTo>
                  <a:pt x="184" y="264"/>
                </a:lnTo>
                <a:lnTo>
                  <a:pt x="184" y="263"/>
                </a:lnTo>
                <a:lnTo>
                  <a:pt x="184" y="263"/>
                </a:lnTo>
                <a:lnTo>
                  <a:pt x="185" y="263"/>
                </a:lnTo>
                <a:lnTo>
                  <a:pt x="186" y="263"/>
                </a:lnTo>
                <a:lnTo>
                  <a:pt x="186" y="263"/>
                </a:lnTo>
                <a:lnTo>
                  <a:pt x="187" y="263"/>
                </a:lnTo>
                <a:lnTo>
                  <a:pt x="188" y="264"/>
                </a:lnTo>
                <a:lnTo>
                  <a:pt x="189" y="264"/>
                </a:lnTo>
                <a:lnTo>
                  <a:pt x="189" y="265"/>
                </a:lnTo>
                <a:lnTo>
                  <a:pt x="190" y="265"/>
                </a:lnTo>
                <a:lnTo>
                  <a:pt x="192" y="267"/>
                </a:lnTo>
                <a:lnTo>
                  <a:pt x="194" y="269"/>
                </a:lnTo>
                <a:lnTo>
                  <a:pt x="195" y="271"/>
                </a:lnTo>
                <a:lnTo>
                  <a:pt x="198" y="276"/>
                </a:lnTo>
                <a:lnTo>
                  <a:pt x="199" y="278"/>
                </a:lnTo>
                <a:lnTo>
                  <a:pt x="200" y="279"/>
                </a:lnTo>
                <a:lnTo>
                  <a:pt x="201" y="281"/>
                </a:lnTo>
                <a:lnTo>
                  <a:pt x="203" y="282"/>
                </a:lnTo>
                <a:lnTo>
                  <a:pt x="205" y="283"/>
                </a:lnTo>
                <a:lnTo>
                  <a:pt x="207" y="285"/>
                </a:lnTo>
                <a:lnTo>
                  <a:pt x="208" y="285"/>
                </a:lnTo>
                <a:lnTo>
                  <a:pt x="209" y="286"/>
                </a:lnTo>
                <a:lnTo>
                  <a:pt x="212" y="287"/>
                </a:lnTo>
                <a:lnTo>
                  <a:pt x="214" y="288"/>
                </a:lnTo>
                <a:lnTo>
                  <a:pt x="215" y="288"/>
                </a:lnTo>
                <a:lnTo>
                  <a:pt x="216" y="288"/>
                </a:lnTo>
                <a:lnTo>
                  <a:pt x="217" y="288"/>
                </a:lnTo>
                <a:lnTo>
                  <a:pt x="218" y="288"/>
                </a:lnTo>
                <a:lnTo>
                  <a:pt x="219" y="288"/>
                </a:lnTo>
                <a:lnTo>
                  <a:pt x="219" y="288"/>
                </a:lnTo>
                <a:lnTo>
                  <a:pt x="220" y="287"/>
                </a:lnTo>
                <a:lnTo>
                  <a:pt x="221" y="287"/>
                </a:lnTo>
                <a:lnTo>
                  <a:pt x="222" y="286"/>
                </a:lnTo>
                <a:lnTo>
                  <a:pt x="223" y="286"/>
                </a:lnTo>
                <a:lnTo>
                  <a:pt x="225" y="285"/>
                </a:lnTo>
                <a:lnTo>
                  <a:pt x="227" y="283"/>
                </a:lnTo>
                <a:lnTo>
                  <a:pt x="231" y="278"/>
                </a:lnTo>
                <a:lnTo>
                  <a:pt x="235" y="274"/>
                </a:lnTo>
                <a:lnTo>
                  <a:pt x="240" y="269"/>
                </a:lnTo>
                <a:lnTo>
                  <a:pt x="241" y="268"/>
                </a:lnTo>
                <a:lnTo>
                  <a:pt x="242" y="267"/>
                </a:lnTo>
                <a:lnTo>
                  <a:pt x="242" y="266"/>
                </a:lnTo>
                <a:lnTo>
                  <a:pt x="243" y="265"/>
                </a:lnTo>
                <a:lnTo>
                  <a:pt x="243" y="263"/>
                </a:lnTo>
                <a:lnTo>
                  <a:pt x="244" y="262"/>
                </a:lnTo>
                <a:lnTo>
                  <a:pt x="244" y="260"/>
                </a:lnTo>
                <a:lnTo>
                  <a:pt x="244" y="259"/>
                </a:lnTo>
                <a:lnTo>
                  <a:pt x="244" y="258"/>
                </a:lnTo>
                <a:lnTo>
                  <a:pt x="244" y="257"/>
                </a:lnTo>
                <a:lnTo>
                  <a:pt x="245" y="255"/>
                </a:lnTo>
                <a:lnTo>
                  <a:pt x="246" y="253"/>
                </a:lnTo>
                <a:lnTo>
                  <a:pt x="247" y="251"/>
                </a:lnTo>
                <a:lnTo>
                  <a:pt x="249" y="248"/>
                </a:lnTo>
                <a:lnTo>
                  <a:pt x="250" y="247"/>
                </a:lnTo>
                <a:lnTo>
                  <a:pt x="250" y="246"/>
                </a:lnTo>
                <a:lnTo>
                  <a:pt x="250" y="245"/>
                </a:lnTo>
                <a:lnTo>
                  <a:pt x="251" y="244"/>
                </a:lnTo>
                <a:lnTo>
                  <a:pt x="251" y="243"/>
                </a:lnTo>
                <a:lnTo>
                  <a:pt x="251" y="242"/>
                </a:lnTo>
                <a:lnTo>
                  <a:pt x="251" y="241"/>
                </a:lnTo>
                <a:lnTo>
                  <a:pt x="251" y="238"/>
                </a:lnTo>
                <a:lnTo>
                  <a:pt x="251" y="236"/>
                </a:lnTo>
                <a:lnTo>
                  <a:pt x="250" y="232"/>
                </a:lnTo>
                <a:lnTo>
                  <a:pt x="250" y="230"/>
                </a:lnTo>
                <a:lnTo>
                  <a:pt x="250" y="229"/>
                </a:lnTo>
                <a:lnTo>
                  <a:pt x="250" y="227"/>
                </a:lnTo>
                <a:lnTo>
                  <a:pt x="251" y="227"/>
                </a:lnTo>
                <a:lnTo>
                  <a:pt x="251" y="226"/>
                </a:lnTo>
                <a:lnTo>
                  <a:pt x="252" y="225"/>
                </a:lnTo>
                <a:lnTo>
                  <a:pt x="252" y="224"/>
                </a:lnTo>
                <a:lnTo>
                  <a:pt x="253" y="224"/>
                </a:lnTo>
                <a:lnTo>
                  <a:pt x="254" y="223"/>
                </a:lnTo>
                <a:lnTo>
                  <a:pt x="255" y="222"/>
                </a:lnTo>
                <a:lnTo>
                  <a:pt x="256" y="222"/>
                </a:lnTo>
                <a:lnTo>
                  <a:pt x="257" y="221"/>
                </a:lnTo>
                <a:lnTo>
                  <a:pt x="259" y="221"/>
                </a:lnTo>
                <a:lnTo>
                  <a:pt x="260" y="220"/>
                </a:lnTo>
                <a:lnTo>
                  <a:pt x="262" y="220"/>
                </a:lnTo>
                <a:lnTo>
                  <a:pt x="263" y="220"/>
                </a:lnTo>
                <a:lnTo>
                  <a:pt x="266" y="220"/>
                </a:lnTo>
                <a:lnTo>
                  <a:pt x="273" y="220"/>
                </a:lnTo>
                <a:lnTo>
                  <a:pt x="276" y="220"/>
                </a:lnTo>
                <a:lnTo>
                  <a:pt x="278" y="219"/>
                </a:lnTo>
                <a:lnTo>
                  <a:pt x="281" y="219"/>
                </a:lnTo>
                <a:lnTo>
                  <a:pt x="283" y="218"/>
                </a:lnTo>
                <a:lnTo>
                  <a:pt x="284" y="218"/>
                </a:lnTo>
                <a:lnTo>
                  <a:pt x="285" y="217"/>
                </a:lnTo>
                <a:lnTo>
                  <a:pt x="287" y="216"/>
                </a:lnTo>
                <a:lnTo>
                  <a:pt x="289" y="215"/>
                </a:lnTo>
                <a:lnTo>
                  <a:pt x="291" y="214"/>
                </a:lnTo>
                <a:lnTo>
                  <a:pt x="293" y="212"/>
                </a:lnTo>
                <a:lnTo>
                  <a:pt x="295" y="212"/>
                </a:lnTo>
                <a:lnTo>
                  <a:pt x="296" y="211"/>
                </a:lnTo>
                <a:lnTo>
                  <a:pt x="298" y="211"/>
                </a:lnTo>
                <a:lnTo>
                  <a:pt x="299" y="210"/>
                </a:lnTo>
                <a:lnTo>
                  <a:pt x="301" y="210"/>
                </a:lnTo>
                <a:lnTo>
                  <a:pt x="302" y="210"/>
                </a:lnTo>
                <a:lnTo>
                  <a:pt x="303" y="210"/>
                </a:lnTo>
                <a:lnTo>
                  <a:pt x="305" y="210"/>
                </a:lnTo>
                <a:lnTo>
                  <a:pt x="306" y="211"/>
                </a:lnTo>
                <a:lnTo>
                  <a:pt x="307" y="211"/>
                </a:lnTo>
                <a:lnTo>
                  <a:pt x="308" y="211"/>
                </a:lnTo>
                <a:lnTo>
                  <a:pt x="313" y="214"/>
                </a:lnTo>
                <a:lnTo>
                  <a:pt x="315" y="214"/>
                </a:lnTo>
                <a:lnTo>
                  <a:pt x="316" y="215"/>
                </a:lnTo>
                <a:lnTo>
                  <a:pt x="317" y="215"/>
                </a:lnTo>
                <a:lnTo>
                  <a:pt x="318" y="215"/>
                </a:lnTo>
                <a:lnTo>
                  <a:pt x="319" y="215"/>
                </a:lnTo>
                <a:lnTo>
                  <a:pt x="320" y="215"/>
                </a:lnTo>
                <a:lnTo>
                  <a:pt x="321" y="215"/>
                </a:lnTo>
                <a:lnTo>
                  <a:pt x="321" y="215"/>
                </a:lnTo>
                <a:lnTo>
                  <a:pt x="322" y="215"/>
                </a:lnTo>
                <a:lnTo>
                  <a:pt x="323" y="214"/>
                </a:lnTo>
                <a:lnTo>
                  <a:pt x="325" y="213"/>
                </a:lnTo>
                <a:lnTo>
                  <a:pt x="328" y="212"/>
                </a:lnTo>
                <a:lnTo>
                  <a:pt x="330" y="211"/>
                </a:lnTo>
                <a:lnTo>
                  <a:pt x="331" y="210"/>
                </a:lnTo>
                <a:lnTo>
                  <a:pt x="333" y="210"/>
                </a:lnTo>
                <a:lnTo>
                  <a:pt x="338" y="210"/>
                </a:lnTo>
                <a:lnTo>
                  <a:pt x="344" y="208"/>
                </a:lnTo>
                <a:lnTo>
                  <a:pt x="345" y="208"/>
                </a:lnTo>
                <a:lnTo>
                  <a:pt x="347" y="208"/>
                </a:lnTo>
                <a:lnTo>
                  <a:pt x="350" y="208"/>
                </a:lnTo>
                <a:lnTo>
                  <a:pt x="352" y="208"/>
                </a:lnTo>
                <a:lnTo>
                  <a:pt x="355" y="208"/>
                </a:lnTo>
                <a:lnTo>
                  <a:pt x="357" y="208"/>
                </a:lnTo>
                <a:lnTo>
                  <a:pt x="360" y="209"/>
                </a:lnTo>
                <a:lnTo>
                  <a:pt x="362" y="209"/>
                </a:lnTo>
                <a:lnTo>
                  <a:pt x="364" y="210"/>
                </a:lnTo>
                <a:lnTo>
                  <a:pt x="368" y="211"/>
                </a:lnTo>
                <a:lnTo>
                  <a:pt x="369" y="212"/>
                </a:lnTo>
                <a:lnTo>
                  <a:pt x="371" y="212"/>
                </a:lnTo>
                <a:lnTo>
                  <a:pt x="373" y="212"/>
                </a:lnTo>
                <a:lnTo>
                  <a:pt x="375" y="212"/>
                </a:lnTo>
                <a:lnTo>
                  <a:pt x="377" y="212"/>
                </a:lnTo>
                <a:lnTo>
                  <a:pt x="379" y="212"/>
                </a:lnTo>
                <a:lnTo>
                  <a:pt x="381" y="212"/>
                </a:lnTo>
                <a:lnTo>
                  <a:pt x="383" y="211"/>
                </a:lnTo>
                <a:lnTo>
                  <a:pt x="384" y="210"/>
                </a:lnTo>
                <a:lnTo>
                  <a:pt x="385" y="209"/>
                </a:lnTo>
                <a:lnTo>
                  <a:pt x="388" y="207"/>
                </a:lnTo>
                <a:lnTo>
                  <a:pt x="389" y="206"/>
                </a:lnTo>
                <a:lnTo>
                  <a:pt x="391" y="205"/>
                </a:lnTo>
                <a:lnTo>
                  <a:pt x="394" y="204"/>
                </a:lnTo>
                <a:lnTo>
                  <a:pt x="395" y="204"/>
                </a:lnTo>
                <a:lnTo>
                  <a:pt x="396" y="203"/>
                </a:lnTo>
                <a:lnTo>
                  <a:pt x="397" y="202"/>
                </a:lnTo>
                <a:lnTo>
                  <a:pt x="398" y="202"/>
                </a:lnTo>
                <a:lnTo>
                  <a:pt x="399" y="201"/>
                </a:lnTo>
                <a:lnTo>
                  <a:pt x="399" y="200"/>
                </a:lnTo>
                <a:lnTo>
                  <a:pt x="400" y="199"/>
                </a:lnTo>
                <a:lnTo>
                  <a:pt x="400" y="198"/>
                </a:lnTo>
                <a:lnTo>
                  <a:pt x="400" y="197"/>
                </a:lnTo>
                <a:lnTo>
                  <a:pt x="401" y="195"/>
                </a:lnTo>
                <a:lnTo>
                  <a:pt x="401" y="193"/>
                </a:lnTo>
                <a:lnTo>
                  <a:pt x="400" y="189"/>
                </a:lnTo>
                <a:lnTo>
                  <a:pt x="400" y="187"/>
                </a:lnTo>
                <a:lnTo>
                  <a:pt x="400" y="185"/>
                </a:lnTo>
                <a:lnTo>
                  <a:pt x="401" y="183"/>
                </a:lnTo>
                <a:lnTo>
                  <a:pt x="401" y="182"/>
                </a:lnTo>
                <a:lnTo>
                  <a:pt x="401" y="180"/>
                </a:lnTo>
                <a:lnTo>
                  <a:pt x="402" y="179"/>
                </a:lnTo>
                <a:lnTo>
                  <a:pt x="402" y="178"/>
                </a:lnTo>
                <a:lnTo>
                  <a:pt x="403" y="176"/>
                </a:lnTo>
                <a:lnTo>
                  <a:pt x="403" y="175"/>
                </a:lnTo>
                <a:lnTo>
                  <a:pt x="404" y="175"/>
                </a:lnTo>
                <a:lnTo>
                  <a:pt x="405" y="174"/>
                </a:lnTo>
                <a:lnTo>
                  <a:pt x="405" y="173"/>
                </a:lnTo>
                <a:lnTo>
                  <a:pt x="406" y="173"/>
                </a:lnTo>
                <a:lnTo>
                  <a:pt x="407" y="173"/>
                </a:lnTo>
                <a:lnTo>
                  <a:pt x="407" y="172"/>
                </a:lnTo>
                <a:lnTo>
                  <a:pt x="409" y="172"/>
                </a:lnTo>
                <a:lnTo>
                  <a:pt x="413" y="171"/>
                </a:lnTo>
                <a:lnTo>
                  <a:pt x="415" y="171"/>
                </a:lnTo>
                <a:lnTo>
                  <a:pt x="417" y="170"/>
                </a:lnTo>
                <a:lnTo>
                  <a:pt x="419" y="169"/>
                </a:lnTo>
                <a:lnTo>
                  <a:pt x="421" y="168"/>
                </a:lnTo>
                <a:lnTo>
                  <a:pt x="423" y="166"/>
                </a:lnTo>
                <a:lnTo>
                  <a:pt x="425" y="165"/>
                </a:lnTo>
                <a:lnTo>
                  <a:pt x="427" y="162"/>
                </a:lnTo>
                <a:lnTo>
                  <a:pt x="429" y="161"/>
                </a:lnTo>
                <a:lnTo>
                  <a:pt x="430" y="160"/>
                </a:lnTo>
                <a:lnTo>
                  <a:pt x="432" y="159"/>
                </a:lnTo>
                <a:lnTo>
                  <a:pt x="435" y="158"/>
                </a:lnTo>
                <a:lnTo>
                  <a:pt x="437" y="157"/>
                </a:lnTo>
                <a:lnTo>
                  <a:pt x="439" y="156"/>
                </a:lnTo>
                <a:lnTo>
                  <a:pt x="440" y="156"/>
                </a:lnTo>
                <a:lnTo>
                  <a:pt x="441" y="156"/>
                </a:lnTo>
                <a:lnTo>
                  <a:pt x="442" y="156"/>
                </a:lnTo>
                <a:lnTo>
                  <a:pt x="444" y="157"/>
                </a:lnTo>
                <a:lnTo>
                  <a:pt x="445" y="157"/>
                </a:lnTo>
                <a:lnTo>
                  <a:pt x="449" y="158"/>
                </a:lnTo>
                <a:lnTo>
                  <a:pt x="453" y="159"/>
                </a:lnTo>
                <a:lnTo>
                  <a:pt x="456" y="160"/>
                </a:lnTo>
                <a:lnTo>
                  <a:pt x="458" y="160"/>
                </a:lnTo>
                <a:lnTo>
                  <a:pt x="459" y="160"/>
                </a:lnTo>
                <a:lnTo>
                  <a:pt x="460" y="160"/>
                </a:lnTo>
                <a:lnTo>
                  <a:pt x="465" y="159"/>
                </a:lnTo>
                <a:lnTo>
                  <a:pt x="469" y="159"/>
                </a:lnTo>
                <a:lnTo>
                  <a:pt x="470" y="158"/>
                </a:lnTo>
                <a:lnTo>
                  <a:pt x="472" y="158"/>
                </a:lnTo>
                <a:lnTo>
                  <a:pt x="474" y="157"/>
                </a:lnTo>
                <a:lnTo>
                  <a:pt x="475" y="156"/>
                </a:lnTo>
                <a:lnTo>
                  <a:pt x="477" y="155"/>
                </a:lnTo>
                <a:lnTo>
                  <a:pt x="481" y="152"/>
                </a:lnTo>
                <a:lnTo>
                  <a:pt x="483" y="151"/>
                </a:lnTo>
                <a:lnTo>
                  <a:pt x="485" y="150"/>
                </a:lnTo>
                <a:lnTo>
                  <a:pt x="489" y="148"/>
                </a:lnTo>
                <a:lnTo>
                  <a:pt x="500" y="143"/>
                </a:lnTo>
                <a:lnTo>
                  <a:pt x="507" y="140"/>
                </a:lnTo>
                <a:lnTo>
                  <a:pt x="511" y="138"/>
                </a:lnTo>
                <a:lnTo>
                  <a:pt x="514" y="137"/>
                </a:lnTo>
                <a:lnTo>
                  <a:pt x="521" y="134"/>
                </a:lnTo>
                <a:lnTo>
                  <a:pt x="524" y="133"/>
                </a:lnTo>
                <a:lnTo>
                  <a:pt x="528" y="132"/>
                </a:lnTo>
                <a:lnTo>
                  <a:pt x="529" y="131"/>
                </a:lnTo>
                <a:lnTo>
                  <a:pt x="530" y="130"/>
                </a:lnTo>
                <a:lnTo>
                  <a:pt x="533" y="129"/>
                </a:lnTo>
                <a:lnTo>
                  <a:pt x="535" y="127"/>
                </a:lnTo>
                <a:lnTo>
                  <a:pt x="537" y="126"/>
                </a:lnTo>
                <a:lnTo>
                  <a:pt x="538" y="124"/>
                </a:lnTo>
                <a:lnTo>
                  <a:pt x="539" y="123"/>
                </a:lnTo>
                <a:lnTo>
                  <a:pt x="540" y="121"/>
                </a:lnTo>
                <a:lnTo>
                  <a:pt x="541" y="119"/>
                </a:lnTo>
                <a:lnTo>
                  <a:pt x="544" y="115"/>
                </a:lnTo>
                <a:lnTo>
                  <a:pt x="545" y="114"/>
                </a:lnTo>
                <a:lnTo>
                  <a:pt x="546" y="112"/>
                </a:lnTo>
                <a:lnTo>
                  <a:pt x="546" y="112"/>
                </a:lnTo>
                <a:lnTo>
                  <a:pt x="548" y="111"/>
                </a:lnTo>
                <a:lnTo>
                  <a:pt x="549" y="110"/>
                </a:lnTo>
                <a:lnTo>
                  <a:pt x="550" y="109"/>
                </a:lnTo>
                <a:lnTo>
                  <a:pt x="553" y="109"/>
                </a:lnTo>
                <a:lnTo>
                  <a:pt x="555" y="108"/>
                </a:lnTo>
                <a:lnTo>
                  <a:pt x="556" y="108"/>
                </a:lnTo>
                <a:lnTo>
                  <a:pt x="558" y="108"/>
                </a:lnTo>
                <a:lnTo>
                  <a:pt x="559" y="108"/>
                </a:lnTo>
                <a:lnTo>
                  <a:pt x="561" y="108"/>
                </a:lnTo>
                <a:lnTo>
                  <a:pt x="563" y="108"/>
                </a:lnTo>
                <a:lnTo>
                  <a:pt x="567" y="109"/>
                </a:lnTo>
                <a:lnTo>
                  <a:pt x="568" y="109"/>
                </a:lnTo>
                <a:lnTo>
                  <a:pt x="570" y="109"/>
                </a:lnTo>
                <a:lnTo>
                  <a:pt x="572" y="109"/>
                </a:lnTo>
                <a:lnTo>
                  <a:pt x="573" y="109"/>
                </a:lnTo>
                <a:lnTo>
                  <a:pt x="575" y="109"/>
                </a:lnTo>
                <a:lnTo>
                  <a:pt x="577" y="109"/>
                </a:lnTo>
                <a:lnTo>
                  <a:pt x="581" y="108"/>
                </a:lnTo>
                <a:lnTo>
                  <a:pt x="583" y="108"/>
                </a:lnTo>
                <a:lnTo>
                  <a:pt x="585" y="107"/>
                </a:lnTo>
                <a:lnTo>
                  <a:pt x="588" y="106"/>
                </a:lnTo>
                <a:lnTo>
                  <a:pt x="591" y="105"/>
                </a:lnTo>
                <a:lnTo>
                  <a:pt x="592" y="104"/>
                </a:lnTo>
                <a:lnTo>
                  <a:pt x="594" y="104"/>
                </a:lnTo>
                <a:lnTo>
                  <a:pt x="599" y="103"/>
                </a:lnTo>
                <a:lnTo>
                  <a:pt x="600" y="102"/>
                </a:lnTo>
                <a:lnTo>
                  <a:pt x="602" y="102"/>
                </a:lnTo>
                <a:lnTo>
                  <a:pt x="603" y="101"/>
                </a:lnTo>
                <a:lnTo>
                  <a:pt x="603" y="101"/>
                </a:lnTo>
                <a:lnTo>
                  <a:pt x="604" y="100"/>
                </a:lnTo>
                <a:lnTo>
                  <a:pt x="605" y="100"/>
                </a:lnTo>
                <a:lnTo>
                  <a:pt x="606" y="98"/>
                </a:lnTo>
                <a:lnTo>
                  <a:pt x="606" y="97"/>
                </a:lnTo>
                <a:lnTo>
                  <a:pt x="607" y="96"/>
                </a:lnTo>
                <a:lnTo>
                  <a:pt x="608" y="93"/>
                </a:lnTo>
                <a:lnTo>
                  <a:pt x="609" y="89"/>
                </a:lnTo>
                <a:lnTo>
                  <a:pt x="610" y="87"/>
                </a:lnTo>
                <a:lnTo>
                  <a:pt x="610" y="86"/>
                </a:lnTo>
                <a:lnTo>
                  <a:pt x="610" y="85"/>
                </a:lnTo>
                <a:lnTo>
                  <a:pt x="610" y="84"/>
                </a:lnTo>
                <a:lnTo>
                  <a:pt x="610" y="83"/>
                </a:lnTo>
                <a:lnTo>
                  <a:pt x="610" y="82"/>
                </a:lnTo>
                <a:lnTo>
                  <a:pt x="610" y="81"/>
                </a:lnTo>
                <a:lnTo>
                  <a:pt x="609" y="81"/>
                </a:lnTo>
                <a:lnTo>
                  <a:pt x="609" y="80"/>
                </a:lnTo>
                <a:lnTo>
                  <a:pt x="608" y="79"/>
                </a:lnTo>
                <a:lnTo>
                  <a:pt x="607" y="78"/>
                </a:lnTo>
                <a:lnTo>
                  <a:pt x="606" y="78"/>
                </a:lnTo>
                <a:lnTo>
                  <a:pt x="605" y="77"/>
                </a:lnTo>
                <a:lnTo>
                  <a:pt x="604" y="77"/>
                </a:lnTo>
                <a:lnTo>
                  <a:pt x="601" y="75"/>
                </a:lnTo>
                <a:lnTo>
                  <a:pt x="595" y="73"/>
                </a:lnTo>
                <a:lnTo>
                  <a:pt x="591" y="72"/>
                </a:lnTo>
                <a:lnTo>
                  <a:pt x="585" y="69"/>
                </a:lnTo>
                <a:lnTo>
                  <a:pt x="583" y="69"/>
                </a:lnTo>
                <a:lnTo>
                  <a:pt x="582" y="68"/>
                </a:lnTo>
                <a:lnTo>
                  <a:pt x="581" y="67"/>
                </a:lnTo>
                <a:lnTo>
                  <a:pt x="580" y="67"/>
                </a:lnTo>
                <a:lnTo>
                  <a:pt x="579" y="66"/>
                </a:lnTo>
                <a:lnTo>
                  <a:pt x="579" y="65"/>
                </a:lnTo>
                <a:lnTo>
                  <a:pt x="578" y="65"/>
                </a:lnTo>
                <a:lnTo>
                  <a:pt x="578" y="64"/>
                </a:lnTo>
                <a:lnTo>
                  <a:pt x="577" y="63"/>
                </a:lnTo>
                <a:lnTo>
                  <a:pt x="577" y="61"/>
                </a:lnTo>
                <a:lnTo>
                  <a:pt x="576" y="60"/>
                </a:lnTo>
                <a:lnTo>
                  <a:pt x="576" y="60"/>
                </a:lnTo>
                <a:lnTo>
                  <a:pt x="576" y="59"/>
                </a:lnTo>
                <a:lnTo>
                  <a:pt x="576" y="58"/>
                </a:lnTo>
                <a:lnTo>
                  <a:pt x="576" y="58"/>
                </a:lnTo>
                <a:lnTo>
                  <a:pt x="576" y="57"/>
                </a:lnTo>
                <a:lnTo>
                  <a:pt x="577" y="56"/>
                </a:lnTo>
                <a:lnTo>
                  <a:pt x="578" y="54"/>
                </a:lnTo>
                <a:lnTo>
                  <a:pt x="578" y="53"/>
                </a:lnTo>
                <a:lnTo>
                  <a:pt x="579" y="52"/>
                </a:lnTo>
                <a:lnTo>
                  <a:pt x="579" y="52"/>
                </a:lnTo>
                <a:lnTo>
                  <a:pt x="579" y="51"/>
                </a:lnTo>
                <a:lnTo>
                  <a:pt x="578" y="50"/>
                </a:lnTo>
                <a:lnTo>
                  <a:pt x="578" y="50"/>
                </a:lnTo>
                <a:lnTo>
                  <a:pt x="577" y="49"/>
                </a:lnTo>
                <a:lnTo>
                  <a:pt x="577" y="49"/>
                </a:lnTo>
                <a:lnTo>
                  <a:pt x="576" y="49"/>
                </a:lnTo>
                <a:lnTo>
                  <a:pt x="575" y="49"/>
                </a:lnTo>
                <a:lnTo>
                  <a:pt x="574" y="48"/>
                </a:lnTo>
                <a:lnTo>
                  <a:pt x="570" y="49"/>
                </a:lnTo>
                <a:lnTo>
                  <a:pt x="568" y="48"/>
                </a:lnTo>
                <a:lnTo>
                  <a:pt x="565" y="48"/>
                </a:lnTo>
                <a:lnTo>
                  <a:pt x="564" y="48"/>
                </a:lnTo>
                <a:lnTo>
                  <a:pt x="564" y="48"/>
                </a:lnTo>
                <a:lnTo>
                  <a:pt x="562" y="47"/>
                </a:lnTo>
                <a:lnTo>
                  <a:pt x="561" y="46"/>
                </a:lnTo>
                <a:lnTo>
                  <a:pt x="560" y="46"/>
                </a:lnTo>
                <a:lnTo>
                  <a:pt x="559" y="45"/>
                </a:lnTo>
                <a:lnTo>
                  <a:pt x="558" y="44"/>
                </a:lnTo>
                <a:lnTo>
                  <a:pt x="557" y="43"/>
                </a:lnTo>
                <a:lnTo>
                  <a:pt x="557" y="42"/>
                </a:lnTo>
                <a:lnTo>
                  <a:pt x="556" y="41"/>
                </a:lnTo>
                <a:lnTo>
                  <a:pt x="556" y="41"/>
                </a:lnTo>
                <a:lnTo>
                  <a:pt x="556" y="40"/>
                </a:lnTo>
                <a:lnTo>
                  <a:pt x="556" y="38"/>
                </a:lnTo>
                <a:lnTo>
                  <a:pt x="556" y="35"/>
                </a:lnTo>
                <a:lnTo>
                  <a:pt x="556" y="34"/>
                </a:lnTo>
                <a:lnTo>
                  <a:pt x="557" y="33"/>
                </a:lnTo>
                <a:lnTo>
                  <a:pt x="557" y="32"/>
                </a:lnTo>
                <a:lnTo>
                  <a:pt x="557" y="31"/>
                </a:lnTo>
                <a:lnTo>
                  <a:pt x="559" y="27"/>
                </a:lnTo>
                <a:lnTo>
                  <a:pt x="560" y="26"/>
                </a:lnTo>
                <a:lnTo>
                  <a:pt x="561" y="24"/>
                </a:lnTo>
                <a:lnTo>
                  <a:pt x="561" y="22"/>
                </a:lnTo>
                <a:lnTo>
                  <a:pt x="562" y="21"/>
                </a:lnTo>
                <a:lnTo>
                  <a:pt x="562" y="19"/>
                </a:lnTo>
                <a:lnTo>
                  <a:pt x="563" y="18"/>
                </a:lnTo>
                <a:lnTo>
                  <a:pt x="564" y="13"/>
                </a:lnTo>
                <a:lnTo>
                  <a:pt x="564" y="12"/>
                </a:lnTo>
                <a:lnTo>
                  <a:pt x="564" y="11"/>
                </a:lnTo>
                <a:lnTo>
                  <a:pt x="565" y="10"/>
                </a:lnTo>
                <a:lnTo>
                  <a:pt x="565" y="10"/>
                </a:lnTo>
                <a:lnTo>
                  <a:pt x="566" y="8"/>
                </a:lnTo>
                <a:lnTo>
                  <a:pt x="571" y="2"/>
                </a:lnTo>
                <a:lnTo>
                  <a:pt x="572" y="1"/>
                </a:lnTo>
                <a:lnTo>
                  <a:pt x="573" y="0"/>
                </a:lnTo>
                <a:lnTo>
                  <a:pt x="573" y="0"/>
                </a:lnTo>
                <a:lnTo>
                  <a:pt x="573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 272">
            <a:extLst>
              <a:ext uri="{FF2B5EF4-FFF2-40B4-BE49-F238E27FC236}">
                <a16:creationId xmlns:a16="http://schemas.microsoft.com/office/drawing/2014/main" id="{082990D4-F3F4-4E1F-A3DD-DF4D8F30C26D}"/>
              </a:ext>
            </a:extLst>
          </p:cNvPr>
          <p:cNvSpPr>
            <a:spLocks/>
          </p:cNvSpPr>
          <p:nvPr/>
        </p:nvSpPr>
        <p:spPr bwMode="auto">
          <a:xfrm>
            <a:off x="7086281" y="2988457"/>
            <a:ext cx="1359017" cy="1316354"/>
          </a:xfrm>
          <a:custGeom>
            <a:avLst/>
            <a:gdLst>
              <a:gd name="T0" fmla="*/ 607 w 715"/>
              <a:gd name="T1" fmla="*/ 17 h 633"/>
              <a:gd name="T2" fmla="*/ 637 w 715"/>
              <a:gd name="T3" fmla="*/ 16 h 633"/>
              <a:gd name="T4" fmla="*/ 653 w 715"/>
              <a:gd name="T5" fmla="*/ 11 h 633"/>
              <a:gd name="T6" fmla="*/ 669 w 715"/>
              <a:gd name="T7" fmla="*/ 30 h 633"/>
              <a:gd name="T8" fmla="*/ 692 w 715"/>
              <a:gd name="T9" fmla="*/ 50 h 633"/>
              <a:gd name="T10" fmla="*/ 682 w 715"/>
              <a:gd name="T11" fmla="*/ 86 h 633"/>
              <a:gd name="T12" fmla="*/ 707 w 715"/>
              <a:gd name="T13" fmla="*/ 86 h 633"/>
              <a:gd name="T14" fmla="*/ 712 w 715"/>
              <a:gd name="T15" fmla="*/ 104 h 633"/>
              <a:gd name="T16" fmla="*/ 686 w 715"/>
              <a:gd name="T17" fmla="*/ 144 h 633"/>
              <a:gd name="T18" fmla="*/ 673 w 715"/>
              <a:gd name="T19" fmla="*/ 168 h 633"/>
              <a:gd name="T20" fmla="*/ 643 w 715"/>
              <a:gd name="T21" fmla="*/ 160 h 633"/>
              <a:gd name="T22" fmla="*/ 633 w 715"/>
              <a:gd name="T23" fmla="*/ 174 h 633"/>
              <a:gd name="T24" fmla="*/ 620 w 715"/>
              <a:gd name="T25" fmla="*/ 200 h 633"/>
              <a:gd name="T26" fmla="*/ 604 w 715"/>
              <a:gd name="T27" fmla="*/ 221 h 633"/>
              <a:gd name="T28" fmla="*/ 590 w 715"/>
              <a:gd name="T29" fmla="*/ 251 h 633"/>
              <a:gd name="T30" fmla="*/ 596 w 715"/>
              <a:gd name="T31" fmla="*/ 280 h 633"/>
              <a:gd name="T32" fmla="*/ 619 w 715"/>
              <a:gd name="T33" fmla="*/ 328 h 633"/>
              <a:gd name="T34" fmla="*/ 645 w 715"/>
              <a:gd name="T35" fmla="*/ 360 h 633"/>
              <a:gd name="T36" fmla="*/ 637 w 715"/>
              <a:gd name="T37" fmla="*/ 368 h 633"/>
              <a:gd name="T38" fmla="*/ 637 w 715"/>
              <a:gd name="T39" fmla="*/ 394 h 633"/>
              <a:gd name="T40" fmla="*/ 616 w 715"/>
              <a:gd name="T41" fmla="*/ 412 h 633"/>
              <a:gd name="T42" fmla="*/ 597 w 715"/>
              <a:gd name="T43" fmla="*/ 411 h 633"/>
              <a:gd name="T44" fmla="*/ 598 w 715"/>
              <a:gd name="T45" fmla="*/ 437 h 633"/>
              <a:gd name="T46" fmla="*/ 589 w 715"/>
              <a:gd name="T47" fmla="*/ 461 h 633"/>
              <a:gd name="T48" fmla="*/ 549 w 715"/>
              <a:gd name="T49" fmla="*/ 469 h 633"/>
              <a:gd name="T50" fmla="*/ 518 w 715"/>
              <a:gd name="T51" fmla="*/ 468 h 633"/>
              <a:gd name="T52" fmla="*/ 459 w 715"/>
              <a:gd name="T53" fmla="*/ 465 h 633"/>
              <a:gd name="T54" fmla="*/ 435 w 715"/>
              <a:gd name="T55" fmla="*/ 474 h 633"/>
              <a:gd name="T56" fmla="*/ 427 w 715"/>
              <a:gd name="T57" fmla="*/ 491 h 633"/>
              <a:gd name="T58" fmla="*/ 409 w 715"/>
              <a:gd name="T59" fmla="*/ 508 h 633"/>
              <a:gd name="T60" fmla="*/ 380 w 715"/>
              <a:gd name="T61" fmla="*/ 526 h 633"/>
              <a:gd name="T62" fmla="*/ 363 w 715"/>
              <a:gd name="T63" fmla="*/ 519 h 633"/>
              <a:gd name="T64" fmla="*/ 339 w 715"/>
              <a:gd name="T65" fmla="*/ 535 h 633"/>
              <a:gd name="T66" fmla="*/ 305 w 715"/>
              <a:gd name="T67" fmla="*/ 539 h 633"/>
              <a:gd name="T68" fmla="*/ 280 w 715"/>
              <a:gd name="T69" fmla="*/ 552 h 633"/>
              <a:gd name="T70" fmla="*/ 249 w 715"/>
              <a:gd name="T71" fmla="*/ 563 h 633"/>
              <a:gd name="T72" fmla="*/ 225 w 715"/>
              <a:gd name="T73" fmla="*/ 584 h 633"/>
              <a:gd name="T74" fmla="*/ 217 w 715"/>
              <a:gd name="T75" fmla="*/ 603 h 633"/>
              <a:gd name="T76" fmla="*/ 200 w 715"/>
              <a:gd name="T77" fmla="*/ 617 h 633"/>
              <a:gd name="T78" fmla="*/ 183 w 715"/>
              <a:gd name="T79" fmla="*/ 632 h 633"/>
              <a:gd name="T80" fmla="*/ 167 w 715"/>
              <a:gd name="T81" fmla="*/ 619 h 633"/>
              <a:gd name="T82" fmla="*/ 155 w 715"/>
              <a:gd name="T83" fmla="*/ 624 h 633"/>
              <a:gd name="T84" fmla="*/ 146 w 715"/>
              <a:gd name="T85" fmla="*/ 619 h 633"/>
              <a:gd name="T86" fmla="*/ 131 w 715"/>
              <a:gd name="T87" fmla="*/ 603 h 633"/>
              <a:gd name="T88" fmla="*/ 120 w 715"/>
              <a:gd name="T89" fmla="*/ 593 h 633"/>
              <a:gd name="T90" fmla="*/ 135 w 715"/>
              <a:gd name="T91" fmla="*/ 590 h 633"/>
              <a:gd name="T92" fmla="*/ 135 w 715"/>
              <a:gd name="T93" fmla="*/ 568 h 633"/>
              <a:gd name="T94" fmla="*/ 122 w 715"/>
              <a:gd name="T95" fmla="*/ 533 h 633"/>
              <a:gd name="T96" fmla="*/ 115 w 715"/>
              <a:gd name="T97" fmla="*/ 507 h 633"/>
              <a:gd name="T98" fmla="*/ 118 w 715"/>
              <a:gd name="T99" fmla="*/ 473 h 633"/>
              <a:gd name="T100" fmla="*/ 109 w 715"/>
              <a:gd name="T101" fmla="*/ 451 h 633"/>
              <a:gd name="T102" fmla="*/ 72 w 715"/>
              <a:gd name="T103" fmla="*/ 451 h 633"/>
              <a:gd name="T104" fmla="*/ 64 w 715"/>
              <a:gd name="T105" fmla="*/ 441 h 633"/>
              <a:gd name="T106" fmla="*/ 44 w 715"/>
              <a:gd name="T107" fmla="*/ 428 h 633"/>
              <a:gd name="T108" fmla="*/ 0 w 715"/>
              <a:gd name="T109" fmla="*/ 415 h 633"/>
              <a:gd name="T110" fmla="*/ 30 w 715"/>
              <a:gd name="T111" fmla="*/ 388 h 633"/>
              <a:gd name="T112" fmla="*/ 39 w 715"/>
              <a:gd name="T113" fmla="*/ 352 h 633"/>
              <a:gd name="T114" fmla="*/ 73 w 715"/>
              <a:gd name="T115" fmla="*/ 349 h 633"/>
              <a:gd name="T116" fmla="*/ 101 w 715"/>
              <a:gd name="T117" fmla="*/ 352 h 633"/>
              <a:gd name="T118" fmla="*/ 120 w 715"/>
              <a:gd name="T119" fmla="*/ 318 h 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15" h="633">
                <a:moveTo>
                  <a:pt x="573" y="0"/>
                </a:moveTo>
                <a:lnTo>
                  <a:pt x="574" y="0"/>
                </a:lnTo>
                <a:lnTo>
                  <a:pt x="575" y="1"/>
                </a:lnTo>
                <a:lnTo>
                  <a:pt x="577" y="2"/>
                </a:lnTo>
                <a:lnTo>
                  <a:pt x="582" y="5"/>
                </a:lnTo>
                <a:lnTo>
                  <a:pt x="584" y="6"/>
                </a:lnTo>
                <a:lnTo>
                  <a:pt x="586" y="7"/>
                </a:lnTo>
                <a:lnTo>
                  <a:pt x="587" y="7"/>
                </a:lnTo>
                <a:lnTo>
                  <a:pt x="589" y="8"/>
                </a:lnTo>
                <a:lnTo>
                  <a:pt x="594" y="9"/>
                </a:lnTo>
                <a:lnTo>
                  <a:pt x="596" y="10"/>
                </a:lnTo>
                <a:lnTo>
                  <a:pt x="597" y="10"/>
                </a:lnTo>
                <a:lnTo>
                  <a:pt x="599" y="11"/>
                </a:lnTo>
                <a:lnTo>
                  <a:pt x="601" y="12"/>
                </a:lnTo>
                <a:lnTo>
                  <a:pt x="603" y="13"/>
                </a:lnTo>
                <a:lnTo>
                  <a:pt x="604" y="14"/>
                </a:lnTo>
                <a:lnTo>
                  <a:pt x="607" y="17"/>
                </a:lnTo>
                <a:lnTo>
                  <a:pt x="608" y="18"/>
                </a:lnTo>
                <a:lnTo>
                  <a:pt x="610" y="19"/>
                </a:lnTo>
                <a:lnTo>
                  <a:pt x="611" y="20"/>
                </a:lnTo>
                <a:lnTo>
                  <a:pt x="613" y="20"/>
                </a:lnTo>
                <a:lnTo>
                  <a:pt x="615" y="21"/>
                </a:lnTo>
                <a:lnTo>
                  <a:pt x="616" y="21"/>
                </a:lnTo>
                <a:lnTo>
                  <a:pt x="618" y="21"/>
                </a:lnTo>
                <a:lnTo>
                  <a:pt x="619" y="21"/>
                </a:lnTo>
                <a:lnTo>
                  <a:pt x="620" y="21"/>
                </a:lnTo>
                <a:lnTo>
                  <a:pt x="622" y="21"/>
                </a:lnTo>
                <a:lnTo>
                  <a:pt x="623" y="20"/>
                </a:lnTo>
                <a:lnTo>
                  <a:pt x="625" y="20"/>
                </a:lnTo>
                <a:lnTo>
                  <a:pt x="630" y="18"/>
                </a:lnTo>
                <a:lnTo>
                  <a:pt x="631" y="17"/>
                </a:lnTo>
                <a:lnTo>
                  <a:pt x="633" y="17"/>
                </a:lnTo>
                <a:lnTo>
                  <a:pt x="635" y="16"/>
                </a:lnTo>
                <a:lnTo>
                  <a:pt x="637" y="16"/>
                </a:lnTo>
                <a:lnTo>
                  <a:pt x="639" y="16"/>
                </a:lnTo>
                <a:lnTo>
                  <a:pt x="640" y="17"/>
                </a:lnTo>
                <a:lnTo>
                  <a:pt x="643" y="17"/>
                </a:lnTo>
                <a:lnTo>
                  <a:pt x="644" y="17"/>
                </a:lnTo>
                <a:lnTo>
                  <a:pt x="646" y="17"/>
                </a:lnTo>
                <a:lnTo>
                  <a:pt x="647" y="17"/>
                </a:lnTo>
                <a:lnTo>
                  <a:pt x="647" y="17"/>
                </a:lnTo>
                <a:lnTo>
                  <a:pt x="648" y="17"/>
                </a:lnTo>
                <a:lnTo>
                  <a:pt x="649" y="16"/>
                </a:lnTo>
                <a:lnTo>
                  <a:pt x="649" y="16"/>
                </a:lnTo>
                <a:lnTo>
                  <a:pt x="650" y="15"/>
                </a:lnTo>
                <a:lnTo>
                  <a:pt x="651" y="12"/>
                </a:lnTo>
                <a:lnTo>
                  <a:pt x="652" y="12"/>
                </a:lnTo>
                <a:lnTo>
                  <a:pt x="652" y="11"/>
                </a:lnTo>
                <a:lnTo>
                  <a:pt x="653" y="11"/>
                </a:lnTo>
                <a:lnTo>
                  <a:pt x="653" y="11"/>
                </a:lnTo>
                <a:lnTo>
                  <a:pt x="653" y="11"/>
                </a:lnTo>
                <a:lnTo>
                  <a:pt x="654" y="11"/>
                </a:lnTo>
                <a:lnTo>
                  <a:pt x="654" y="12"/>
                </a:lnTo>
                <a:lnTo>
                  <a:pt x="654" y="12"/>
                </a:lnTo>
                <a:lnTo>
                  <a:pt x="655" y="12"/>
                </a:lnTo>
                <a:lnTo>
                  <a:pt x="655" y="13"/>
                </a:lnTo>
                <a:lnTo>
                  <a:pt x="655" y="16"/>
                </a:lnTo>
                <a:lnTo>
                  <a:pt x="656" y="17"/>
                </a:lnTo>
                <a:lnTo>
                  <a:pt x="656" y="18"/>
                </a:lnTo>
                <a:lnTo>
                  <a:pt x="656" y="19"/>
                </a:lnTo>
                <a:lnTo>
                  <a:pt x="657" y="20"/>
                </a:lnTo>
                <a:lnTo>
                  <a:pt x="658" y="21"/>
                </a:lnTo>
                <a:lnTo>
                  <a:pt x="658" y="21"/>
                </a:lnTo>
                <a:lnTo>
                  <a:pt x="659" y="22"/>
                </a:lnTo>
                <a:lnTo>
                  <a:pt x="661" y="23"/>
                </a:lnTo>
                <a:lnTo>
                  <a:pt x="665" y="26"/>
                </a:lnTo>
                <a:lnTo>
                  <a:pt x="666" y="28"/>
                </a:lnTo>
                <a:lnTo>
                  <a:pt x="669" y="30"/>
                </a:lnTo>
                <a:lnTo>
                  <a:pt x="670" y="31"/>
                </a:lnTo>
                <a:lnTo>
                  <a:pt x="671" y="31"/>
                </a:lnTo>
                <a:lnTo>
                  <a:pt x="672" y="32"/>
                </a:lnTo>
                <a:lnTo>
                  <a:pt x="674" y="32"/>
                </a:lnTo>
                <a:lnTo>
                  <a:pt x="678" y="33"/>
                </a:lnTo>
                <a:lnTo>
                  <a:pt x="679" y="33"/>
                </a:lnTo>
                <a:lnTo>
                  <a:pt x="680" y="34"/>
                </a:lnTo>
                <a:lnTo>
                  <a:pt x="681" y="34"/>
                </a:lnTo>
                <a:lnTo>
                  <a:pt x="682" y="35"/>
                </a:lnTo>
                <a:lnTo>
                  <a:pt x="684" y="36"/>
                </a:lnTo>
                <a:lnTo>
                  <a:pt x="685" y="38"/>
                </a:lnTo>
                <a:lnTo>
                  <a:pt x="687" y="40"/>
                </a:lnTo>
                <a:lnTo>
                  <a:pt x="689" y="42"/>
                </a:lnTo>
                <a:lnTo>
                  <a:pt x="690" y="45"/>
                </a:lnTo>
                <a:lnTo>
                  <a:pt x="691" y="46"/>
                </a:lnTo>
                <a:lnTo>
                  <a:pt x="692" y="48"/>
                </a:lnTo>
                <a:lnTo>
                  <a:pt x="692" y="50"/>
                </a:lnTo>
                <a:lnTo>
                  <a:pt x="693" y="52"/>
                </a:lnTo>
                <a:lnTo>
                  <a:pt x="693" y="54"/>
                </a:lnTo>
                <a:lnTo>
                  <a:pt x="692" y="56"/>
                </a:lnTo>
                <a:lnTo>
                  <a:pt x="692" y="58"/>
                </a:lnTo>
                <a:lnTo>
                  <a:pt x="691" y="61"/>
                </a:lnTo>
                <a:lnTo>
                  <a:pt x="691" y="64"/>
                </a:lnTo>
                <a:lnTo>
                  <a:pt x="689" y="67"/>
                </a:lnTo>
                <a:lnTo>
                  <a:pt x="688" y="71"/>
                </a:lnTo>
                <a:lnTo>
                  <a:pt x="686" y="74"/>
                </a:lnTo>
                <a:lnTo>
                  <a:pt x="684" y="78"/>
                </a:lnTo>
                <a:lnTo>
                  <a:pt x="684" y="79"/>
                </a:lnTo>
                <a:lnTo>
                  <a:pt x="683" y="81"/>
                </a:lnTo>
                <a:lnTo>
                  <a:pt x="683" y="82"/>
                </a:lnTo>
                <a:lnTo>
                  <a:pt x="682" y="83"/>
                </a:lnTo>
                <a:lnTo>
                  <a:pt x="682" y="84"/>
                </a:lnTo>
                <a:lnTo>
                  <a:pt x="682" y="85"/>
                </a:lnTo>
                <a:lnTo>
                  <a:pt x="682" y="86"/>
                </a:lnTo>
                <a:lnTo>
                  <a:pt x="682" y="86"/>
                </a:lnTo>
                <a:lnTo>
                  <a:pt x="683" y="87"/>
                </a:lnTo>
                <a:lnTo>
                  <a:pt x="683" y="87"/>
                </a:lnTo>
                <a:lnTo>
                  <a:pt x="683" y="88"/>
                </a:lnTo>
                <a:lnTo>
                  <a:pt x="684" y="89"/>
                </a:lnTo>
                <a:lnTo>
                  <a:pt x="685" y="89"/>
                </a:lnTo>
                <a:lnTo>
                  <a:pt x="686" y="90"/>
                </a:lnTo>
                <a:lnTo>
                  <a:pt x="686" y="90"/>
                </a:lnTo>
                <a:lnTo>
                  <a:pt x="687" y="90"/>
                </a:lnTo>
                <a:lnTo>
                  <a:pt x="688" y="90"/>
                </a:lnTo>
                <a:lnTo>
                  <a:pt x="689" y="90"/>
                </a:lnTo>
                <a:lnTo>
                  <a:pt x="691" y="90"/>
                </a:lnTo>
                <a:lnTo>
                  <a:pt x="693" y="90"/>
                </a:lnTo>
                <a:lnTo>
                  <a:pt x="696" y="89"/>
                </a:lnTo>
                <a:lnTo>
                  <a:pt x="702" y="87"/>
                </a:lnTo>
                <a:lnTo>
                  <a:pt x="705" y="86"/>
                </a:lnTo>
                <a:lnTo>
                  <a:pt x="707" y="86"/>
                </a:lnTo>
                <a:lnTo>
                  <a:pt x="708" y="86"/>
                </a:lnTo>
                <a:lnTo>
                  <a:pt x="709" y="86"/>
                </a:lnTo>
                <a:lnTo>
                  <a:pt x="710" y="86"/>
                </a:lnTo>
                <a:lnTo>
                  <a:pt x="711" y="86"/>
                </a:lnTo>
                <a:lnTo>
                  <a:pt x="712" y="86"/>
                </a:lnTo>
                <a:lnTo>
                  <a:pt x="713" y="86"/>
                </a:lnTo>
                <a:lnTo>
                  <a:pt x="713" y="87"/>
                </a:lnTo>
                <a:lnTo>
                  <a:pt x="714" y="88"/>
                </a:lnTo>
                <a:lnTo>
                  <a:pt x="714" y="88"/>
                </a:lnTo>
                <a:lnTo>
                  <a:pt x="715" y="89"/>
                </a:lnTo>
                <a:lnTo>
                  <a:pt x="715" y="90"/>
                </a:lnTo>
                <a:lnTo>
                  <a:pt x="715" y="92"/>
                </a:lnTo>
                <a:lnTo>
                  <a:pt x="715" y="94"/>
                </a:lnTo>
                <a:lnTo>
                  <a:pt x="715" y="96"/>
                </a:lnTo>
                <a:lnTo>
                  <a:pt x="714" y="98"/>
                </a:lnTo>
                <a:lnTo>
                  <a:pt x="714" y="100"/>
                </a:lnTo>
                <a:lnTo>
                  <a:pt x="712" y="104"/>
                </a:lnTo>
                <a:lnTo>
                  <a:pt x="711" y="107"/>
                </a:lnTo>
                <a:lnTo>
                  <a:pt x="706" y="120"/>
                </a:lnTo>
                <a:lnTo>
                  <a:pt x="703" y="128"/>
                </a:lnTo>
                <a:lnTo>
                  <a:pt x="702" y="130"/>
                </a:lnTo>
                <a:lnTo>
                  <a:pt x="702" y="130"/>
                </a:lnTo>
                <a:lnTo>
                  <a:pt x="702" y="130"/>
                </a:lnTo>
                <a:lnTo>
                  <a:pt x="702" y="131"/>
                </a:lnTo>
                <a:lnTo>
                  <a:pt x="702" y="131"/>
                </a:lnTo>
                <a:lnTo>
                  <a:pt x="701" y="132"/>
                </a:lnTo>
                <a:lnTo>
                  <a:pt x="701" y="133"/>
                </a:lnTo>
                <a:lnTo>
                  <a:pt x="699" y="134"/>
                </a:lnTo>
                <a:lnTo>
                  <a:pt x="697" y="136"/>
                </a:lnTo>
                <a:lnTo>
                  <a:pt x="696" y="137"/>
                </a:lnTo>
                <a:lnTo>
                  <a:pt x="693" y="139"/>
                </a:lnTo>
                <a:lnTo>
                  <a:pt x="692" y="140"/>
                </a:lnTo>
                <a:lnTo>
                  <a:pt x="688" y="143"/>
                </a:lnTo>
                <a:lnTo>
                  <a:pt x="686" y="144"/>
                </a:lnTo>
                <a:lnTo>
                  <a:pt x="685" y="145"/>
                </a:lnTo>
                <a:lnTo>
                  <a:pt x="684" y="145"/>
                </a:lnTo>
                <a:lnTo>
                  <a:pt x="683" y="146"/>
                </a:lnTo>
                <a:lnTo>
                  <a:pt x="683" y="147"/>
                </a:lnTo>
                <a:lnTo>
                  <a:pt x="682" y="148"/>
                </a:lnTo>
                <a:lnTo>
                  <a:pt x="682" y="149"/>
                </a:lnTo>
                <a:lnTo>
                  <a:pt x="681" y="152"/>
                </a:lnTo>
                <a:lnTo>
                  <a:pt x="680" y="154"/>
                </a:lnTo>
                <a:lnTo>
                  <a:pt x="678" y="161"/>
                </a:lnTo>
                <a:lnTo>
                  <a:pt x="677" y="163"/>
                </a:lnTo>
                <a:lnTo>
                  <a:pt x="677" y="164"/>
                </a:lnTo>
                <a:lnTo>
                  <a:pt x="676" y="165"/>
                </a:lnTo>
                <a:lnTo>
                  <a:pt x="676" y="166"/>
                </a:lnTo>
                <a:lnTo>
                  <a:pt x="675" y="167"/>
                </a:lnTo>
                <a:lnTo>
                  <a:pt x="674" y="167"/>
                </a:lnTo>
                <a:lnTo>
                  <a:pt x="673" y="168"/>
                </a:lnTo>
                <a:lnTo>
                  <a:pt x="673" y="168"/>
                </a:lnTo>
                <a:lnTo>
                  <a:pt x="672" y="169"/>
                </a:lnTo>
                <a:lnTo>
                  <a:pt x="671" y="169"/>
                </a:lnTo>
                <a:lnTo>
                  <a:pt x="670" y="169"/>
                </a:lnTo>
                <a:lnTo>
                  <a:pt x="669" y="169"/>
                </a:lnTo>
                <a:lnTo>
                  <a:pt x="668" y="170"/>
                </a:lnTo>
                <a:lnTo>
                  <a:pt x="667" y="169"/>
                </a:lnTo>
                <a:lnTo>
                  <a:pt x="665" y="169"/>
                </a:lnTo>
                <a:lnTo>
                  <a:pt x="664" y="169"/>
                </a:lnTo>
                <a:lnTo>
                  <a:pt x="662" y="169"/>
                </a:lnTo>
                <a:lnTo>
                  <a:pt x="660" y="168"/>
                </a:lnTo>
                <a:lnTo>
                  <a:pt x="658" y="167"/>
                </a:lnTo>
                <a:lnTo>
                  <a:pt x="657" y="166"/>
                </a:lnTo>
                <a:lnTo>
                  <a:pt x="653" y="164"/>
                </a:lnTo>
                <a:lnTo>
                  <a:pt x="650" y="162"/>
                </a:lnTo>
                <a:lnTo>
                  <a:pt x="649" y="162"/>
                </a:lnTo>
                <a:lnTo>
                  <a:pt x="646" y="161"/>
                </a:lnTo>
                <a:lnTo>
                  <a:pt x="643" y="160"/>
                </a:lnTo>
                <a:lnTo>
                  <a:pt x="642" y="159"/>
                </a:lnTo>
                <a:lnTo>
                  <a:pt x="641" y="159"/>
                </a:lnTo>
                <a:lnTo>
                  <a:pt x="640" y="159"/>
                </a:lnTo>
                <a:lnTo>
                  <a:pt x="639" y="159"/>
                </a:lnTo>
                <a:lnTo>
                  <a:pt x="638" y="159"/>
                </a:lnTo>
                <a:lnTo>
                  <a:pt x="635" y="160"/>
                </a:lnTo>
                <a:lnTo>
                  <a:pt x="634" y="160"/>
                </a:lnTo>
                <a:lnTo>
                  <a:pt x="633" y="161"/>
                </a:lnTo>
                <a:lnTo>
                  <a:pt x="633" y="161"/>
                </a:lnTo>
                <a:lnTo>
                  <a:pt x="632" y="161"/>
                </a:lnTo>
                <a:lnTo>
                  <a:pt x="632" y="162"/>
                </a:lnTo>
                <a:lnTo>
                  <a:pt x="632" y="163"/>
                </a:lnTo>
                <a:lnTo>
                  <a:pt x="632" y="163"/>
                </a:lnTo>
                <a:lnTo>
                  <a:pt x="632" y="165"/>
                </a:lnTo>
                <a:lnTo>
                  <a:pt x="632" y="170"/>
                </a:lnTo>
                <a:lnTo>
                  <a:pt x="633" y="172"/>
                </a:lnTo>
                <a:lnTo>
                  <a:pt x="633" y="174"/>
                </a:lnTo>
                <a:lnTo>
                  <a:pt x="633" y="175"/>
                </a:lnTo>
                <a:lnTo>
                  <a:pt x="632" y="179"/>
                </a:lnTo>
                <a:lnTo>
                  <a:pt x="632" y="180"/>
                </a:lnTo>
                <a:lnTo>
                  <a:pt x="631" y="181"/>
                </a:lnTo>
                <a:lnTo>
                  <a:pt x="631" y="182"/>
                </a:lnTo>
                <a:lnTo>
                  <a:pt x="630" y="183"/>
                </a:lnTo>
                <a:lnTo>
                  <a:pt x="629" y="184"/>
                </a:lnTo>
                <a:lnTo>
                  <a:pt x="627" y="187"/>
                </a:lnTo>
                <a:lnTo>
                  <a:pt x="626" y="188"/>
                </a:lnTo>
                <a:lnTo>
                  <a:pt x="625" y="189"/>
                </a:lnTo>
                <a:lnTo>
                  <a:pt x="624" y="190"/>
                </a:lnTo>
                <a:lnTo>
                  <a:pt x="624" y="191"/>
                </a:lnTo>
                <a:lnTo>
                  <a:pt x="623" y="193"/>
                </a:lnTo>
                <a:lnTo>
                  <a:pt x="622" y="194"/>
                </a:lnTo>
                <a:lnTo>
                  <a:pt x="622" y="196"/>
                </a:lnTo>
                <a:lnTo>
                  <a:pt x="621" y="198"/>
                </a:lnTo>
                <a:lnTo>
                  <a:pt x="620" y="200"/>
                </a:lnTo>
                <a:lnTo>
                  <a:pt x="620" y="202"/>
                </a:lnTo>
                <a:lnTo>
                  <a:pt x="620" y="203"/>
                </a:lnTo>
                <a:lnTo>
                  <a:pt x="620" y="204"/>
                </a:lnTo>
                <a:lnTo>
                  <a:pt x="620" y="207"/>
                </a:lnTo>
                <a:lnTo>
                  <a:pt x="620" y="208"/>
                </a:lnTo>
                <a:lnTo>
                  <a:pt x="619" y="208"/>
                </a:lnTo>
                <a:lnTo>
                  <a:pt x="619" y="209"/>
                </a:lnTo>
                <a:lnTo>
                  <a:pt x="618" y="209"/>
                </a:lnTo>
                <a:lnTo>
                  <a:pt x="618" y="210"/>
                </a:lnTo>
                <a:lnTo>
                  <a:pt x="618" y="210"/>
                </a:lnTo>
                <a:lnTo>
                  <a:pt x="616" y="211"/>
                </a:lnTo>
                <a:lnTo>
                  <a:pt x="615" y="211"/>
                </a:lnTo>
                <a:lnTo>
                  <a:pt x="614" y="212"/>
                </a:lnTo>
                <a:lnTo>
                  <a:pt x="611" y="215"/>
                </a:lnTo>
                <a:lnTo>
                  <a:pt x="606" y="219"/>
                </a:lnTo>
                <a:lnTo>
                  <a:pt x="605" y="220"/>
                </a:lnTo>
                <a:lnTo>
                  <a:pt x="604" y="221"/>
                </a:lnTo>
                <a:lnTo>
                  <a:pt x="603" y="222"/>
                </a:lnTo>
                <a:lnTo>
                  <a:pt x="602" y="223"/>
                </a:lnTo>
                <a:lnTo>
                  <a:pt x="601" y="224"/>
                </a:lnTo>
                <a:lnTo>
                  <a:pt x="601" y="225"/>
                </a:lnTo>
                <a:lnTo>
                  <a:pt x="600" y="227"/>
                </a:lnTo>
                <a:lnTo>
                  <a:pt x="599" y="229"/>
                </a:lnTo>
                <a:lnTo>
                  <a:pt x="599" y="231"/>
                </a:lnTo>
                <a:lnTo>
                  <a:pt x="598" y="232"/>
                </a:lnTo>
                <a:lnTo>
                  <a:pt x="598" y="237"/>
                </a:lnTo>
                <a:lnTo>
                  <a:pt x="597" y="238"/>
                </a:lnTo>
                <a:lnTo>
                  <a:pt x="597" y="239"/>
                </a:lnTo>
                <a:lnTo>
                  <a:pt x="597" y="241"/>
                </a:lnTo>
                <a:lnTo>
                  <a:pt x="596" y="242"/>
                </a:lnTo>
                <a:lnTo>
                  <a:pt x="592" y="247"/>
                </a:lnTo>
                <a:lnTo>
                  <a:pt x="591" y="249"/>
                </a:lnTo>
                <a:lnTo>
                  <a:pt x="591" y="250"/>
                </a:lnTo>
                <a:lnTo>
                  <a:pt x="590" y="251"/>
                </a:lnTo>
                <a:lnTo>
                  <a:pt x="590" y="252"/>
                </a:lnTo>
                <a:lnTo>
                  <a:pt x="590" y="253"/>
                </a:lnTo>
                <a:lnTo>
                  <a:pt x="589" y="255"/>
                </a:lnTo>
                <a:lnTo>
                  <a:pt x="589" y="256"/>
                </a:lnTo>
                <a:lnTo>
                  <a:pt x="589" y="257"/>
                </a:lnTo>
                <a:lnTo>
                  <a:pt x="589" y="258"/>
                </a:lnTo>
                <a:lnTo>
                  <a:pt x="590" y="259"/>
                </a:lnTo>
                <a:lnTo>
                  <a:pt x="590" y="260"/>
                </a:lnTo>
                <a:lnTo>
                  <a:pt x="591" y="263"/>
                </a:lnTo>
                <a:lnTo>
                  <a:pt x="592" y="263"/>
                </a:lnTo>
                <a:lnTo>
                  <a:pt x="593" y="265"/>
                </a:lnTo>
                <a:lnTo>
                  <a:pt x="594" y="269"/>
                </a:lnTo>
                <a:lnTo>
                  <a:pt x="594" y="271"/>
                </a:lnTo>
                <a:lnTo>
                  <a:pt x="595" y="273"/>
                </a:lnTo>
                <a:lnTo>
                  <a:pt x="595" y="277"/>
                </a:lnTo>
                <a:lnTo>
                  <a:pt x="596" y="279"/>
                </a:lnTo>
                <a:lnTo>
                  <a:pt x="596" y="280"/>
                </a:lnTo>
                <a:lnTo>
                  <a:pt x="597" y="283"/>
                </a:lnTo>
                <a:lnTo>
                  <a:pt x="598" y="285"/>
                </a:lnTo>
                <a:lnTo>
                  <a:pt x="601" y="290"/>
                </a:lnTo>
                <a:lnTo>
                  <a:pt x="603" y="296"/>
                </a:lnTo>
                <a:lnTo>
                  <a:pt x="604" y="298"/>
                </a:lnTo>
                <a:lnTo>
                  <a:pt x="605" y="300"/>
                </a:lnTo>
                <a:lnTo>
                  <a:pt x="607" y="302"/>
                </a:lnTo>
                <a:lnTo>
                  <a:pt x="608" y="304"/>
                </a:lnTo>
                <a:lnTo>
                  <a:pt x="610" y="306"/>
                </a:lnTo>
                <a:lnTo>
                  <a:pt x="610" y="307"/>
                </a:lnTo>
                <a:lnTo>
                  <a:pt x="612" y="310"/>
                </a:lnTo>
                <a:lnTo>
                  <a:pt x="613" y="313"/>
                </a:lnTo>
                <a:lnTo>
                  <a:pt x="614" y="315"/>
                </a:lnTo>
                <a:lnTo>
                  <a:pt x="615" y="317"/>
                </a:lnTo>
                <a:lnTo>
                  <a:pt x="618" y="325"/>
                </a:lnTo>
                <a:lnTo>
                  <a:pt x="619" y="327"/>
                </a:lnTo>
                <a:lnTo>
                  <a:pt x="619" y="328"/>
                </a:lnTo>
                <a:lnTo>
                  <a:pt x="623" y="335"/>
                </a:lnTo>
                <a:lnTo>
                  <a:pt x="626" y="340"/>
                </a:lnTo>
                <a:lnTo>
                  <a:pt x="627" y="341"/>
                </a:lnTo>
                <a:lnTo>
                  <a:pt x="627" y="342"/>
                </a:lnTo>
                <a:lnTo>
                  <a:pt x="628" y="344"/>
                </a:lnTo>
                <a:lnTo>
                  <a:pt x="629" y="344"/>
                </a:lnTo>
                <a:lnTo>
                  <a:pt x="631" y="345"/>
                </a:lnTo>
                <a:lnTo>
                  <a:pt x="634" y="347"/>
                </a:lnTo>
                <a:lnTo>
                  <a:pt x="636" y="348"/>
                </a:lnTo>
                <a:lnTo>
                  <a:pt x="638" y="350"/>
                </a:lnTo>
                <a:lnTo>
                  <a:pt x="639" y="351"/>
                </a:lnTo>
                <a:lnTo>
                  <a:pt x="640" y="352"/>
                </a:lnTo>
                <a:lnTo>
                  <a:pt x="641" y="354"/>
                </a:lnTo>
                <a:lnTo>
                  <a:pt x="642" y="355"/>
                </a:lnTo>
                <a:lnTo>
                  <a:pt x="643" y="356"/>
                </a:lnTo>
                <a:lnTo>
                  <a:pt x="644" y="358"/>
                </a:lnTo>
                <a:lnTo>
                  <a:pt x="645" y="360"/>
                </a:lnTo>
                <a:lnTo>
                  <a:pt x="645" y="360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5" y="361"/>
                </a:lnTo>
                <a:lnTo>
                  <a:pt x="644" y="360"/>
                </a:lnTo>
                <a:lnTo>
                  <a:pt x="643" y="361"/>
                </a:lnTo>
                <a:lnTo>
                  <a:pt x="643" y="361"/>
                </a:lnTo>
                <a:lnTo>
                  <a:pt x="642" y="361"/>
                </a:lnTo>
                <a:lnTo>
                  <a:pt x="641" y="362"/>
                </a:lnTo>
                <a:lnTo>
                  <a:pt x="641" y="362"/>
                </a:lnTo>
                <a:lnTo>
                  <a:pt x="640" y="363"/>
                </a:lnTo>
                <a:lnTo>
                  <a:pt x="639" y="364"/>
                </a:lnTo>
                <a:lnTo>
                  <a:pt x="638" y="365"/>
                </a:lnTo>
                <a:lnTo>
                  <a:pt x="637" y="366"/>
                </a:lnTo>
                <a:lnTo>
                  <a:pt x="637" y="367"/>
                </a:lnTo>
                <a:lnTo>
                  <a:pt x="637" y="368"/>
                </a:lnTo>
                <a:lnTo>
                  <a:pt x="637" y="369"/>
                </a:lnTo>
                <a:lnTo>
                  <a:pt x="636" y="370"/>
                </a:lnTo>
                <a:lnTo>
                  <a:pt x="636" y="371"/>
                </a:lnTo>
                <a:lnTo>
                  <a:pt x="636" y="372"/>
                </a:lnTo>
                <a:lnTo>
                  <a:pt x="637" y="374"/>
                </a:lnTo>
                <a:lnTo>
                  <a:pt x="638" y="378"/>
                </a:lnTo>
                <a:lnTo>
                  <a:pt x="638" y="381"/>
                </a:lnTo>
                <a:lnTo>
                  <a:pt x="638" y="383"/>
                </a:lnTo>
                <a:lnTo>
                  <a:pt x="639" y="387"/>
                </a:lnTo>
                <a:lnTo>
                  <a:pt x="639" y="388"/>
                </a:lnTo>
                <a:lnTo>
                  <a:pt x="639" y="389"/>
                </a:lnTo>
                <a:lnTo>
                  <a:pt x="638" y="390"/>
                </a:lnTo>
                <a:lnTo>
                  <a:pt x="638" y="391"/>
                </a:lnTo>
                <a:lnTo>
                  <a:pt x="638" y="392"/>
                </a:lnTo>
                <a:lnTo>
                  <a:pt x="637" y="393"/>
                </a:lnTo>
                <a:lnTo>
                  <a:pt x="637" y="394"/>
                </a:lnTo>
                <a:lnTo>
                  <a:pt x="637" y="394"/>
                </a:lnTo>
                <a:lnTo>
                  <a:pt x="636" y="395"/>
                </a:lnTo>
                <a:lnTo>
                  <a:pt x="636" y="395"/>
                </a:lnTo>
                <a:lnTo>
                  <a:pt x="635" y="395"/>
                </a:lnTo>
                <a:lnTo>
                  <a:pt x="634" y="396"/>
                </a:lnTo>
                <a:lnTo>
                  <a:pt x="631" y="397"/>
                </a:lnTo>
                <a:lnTo>
                  <a:pt x="627" y="398"/>
                </a:lnTo>
                <a:lnTo>
                  <a:pt x="623" y="399"/>
                </a:lnTo>
                <a:lnTo>
                  <a:pt x="622" y="399"/>
                </a:lnTo>
                <a:lnTo>
                  <a:pt x="621" y="400"/>
                </a:lnTo>
                <a:lnTo>
                  <a:pt x="621" y="400"/>
                </a:lnTo>
                <a:lnTo>
                  <a:pt x="620" y="401"/>
                </a:lnTo>
                <a:lnTo>
                  <a:pt x="618" y="405"/>
                </a:lnTo>
                <a:lnTo>
                  <a:pt x="616" y="409"/>
                </a:lnTo>
                <a:lnTo>
                  <a:pt x="616" y="409"/>
                </a:lnTo>
                <a:lnTo>
                  <a:pt x="616" y="411"/>
                </a:lnTo>
                <a:lnTo>
                  <a:pt x="616" y="412"/>
                </a:lnTo>
                <a:lnTo>
                  <a:pt x="616" y="412"/>
                </a:lnTo>
                <a:lnTo>
                  <a:pt x="615" y="412"/>
                </a:lnTo>
                <a:lnTo>
                  <a:pt x="615" y="413"/>
                </a:lnTo>
                <a:lnTo>
                  <a:pt x="615" y="413"/>
                </a:lnTo>
                <a:lnTo>
                  <a:pt x="614" y="413"/>
                </a:lnTo>
                <a:lnTo>
                  <a:pt x="613" y="413"/>
                </a:lnTo>
                <a:lnTo>
                  <a:pt x="612" y="413"/>
                </a:lnTo>
                <a:lnTo>
                  <a:pt x="610" y="413"/>
                </a:lnTo>
                <a:lnTo>
                  <a:pt x="609" y="412"/>
                </a:lnTo>
                <a:lnTo>
                  <a:pt x="607" y="412"/>
                </a:lnTo>
                <a:lnTo>
                  <a:pt x="602" y="410"/>
                </a:lnTo>
                <a:lnTo>
                  <a:pt x="601" y="410"/>
                </a:lnTo>
                <a:lnTo>
                  <a:pt x="600" y="410"/>
                </a:lnTo>
                <a:lnTo>
                  <a:pt x="600" y="410"/>
                </a:lnTo>
                <a:lnTo>
                  <a:pt x="599" y="410"/>
                </a:lnTo>
                <a:lnTo>
                  <a:pt x="598" y="410"/>
                </a:lnTo>
                <a:lnTo>
                  <a:pt x="598" y="410"/>
                </a:lnTo>
                <a:lnTo>
                  <a:pt x="597" y="411"/>
                </a:lnTo>
                <a:lnTo>
                  <a:pt x="596" y="411"/>
                </a:lnTo>
                <a:lnTo>
                  <a:pt x="596" y="411"/>
                </a:lnTo>
                <a:lnTo>
                  <a:pt x="596" y="412"/>
                </a:lnTo>
                <a:lnTo>
                  <a:pt x="596" y="412"/>
                </a:lnTo>
                <a:lnTo>
                  <a:pt x="596" y="413"/>
                </a:lnTo>
                <a:lnTo>
                  <a:pt x="596" y="417"/>
                </a:lnTo>
                <a:lnTo>
                  <a:pt x="596" y="420"/>
                </a:lnTo>
                <a:lnTo>
                  <a:pt x="596" y="421"/>
                </a:lnTo>
                <a:lnTo>
                  <a:pt x="596" y="422"/>
                </a:lnTo>
                <a:lnTo>
                  <a:pt x="596" y="424"/>
                </a:lnTo>
                <a:lnTo>
                  <a:pt x="596" y="426"/>
                </a:lnTo>
                <a:lnTo>
                  <a:pt x="596" y="427"/>
                </a:lnTo>
                <a:lnTo>
                  <a:pt x="597" y="428"/>
                </a:lnTo>
                <a:lnTo>
                  <a:pt x="598" y="432"/>
                </a:lnTo>
                <a:lnTo>
                  <a:pt x="598" y="434"/>
                </a:lnTo>
                <a:lnTo>
                  <a:pt x="598" y="435"/>
                </a:lnTo>
                <a:lnTo>
                  <a:pt x="598" y="437"/>
                </a:lnTo>
                <a:lnTo>
                  <a:pt x="598" y="439"/>
                </a:lnTo>
                <a:lnTo>
                  <a:pt x="598" y="440"/>
                </a:lnTo>
                <a:lnTo>
                  <a:pt x="598" y="442"/>
                </a:lnTo>
                <a:lnTo>
                  <a:pt x="598" y="443"/>
                </a:lnTo>
                <a:lnTo>
                  <a:pt x="597" y="447"/>
                </a:lnTo>
                <a:lnTo>
                  <a:pt x="596" y="453"/>
                </a:lnTo>
                <a:lnTo>
                  <a:pt x="596" y="454"/>
                </a:lnTo>
                <a:lnTo>
                  <a:pt x="596" y="455"/>
                </a:lnTo>
                <a:lnTo>
                  <a:pt x="595" y="456"/>
                </a:lnTo>
                <a:lnTo>
                  <a:pt x="594" y="458"/>
                </a:lnTo>
                <a:lnTo>
                  <a:pt x="594" y="458"/>
                </a:lnTo>
                <a:lnTo>
                  <a:pt x="593" y="459"/>
                </a:lnTo>
                <a:lnTo>
                  <a:pt x="593" y="459"/>
                </a:lnTo>
                <a:lnTo>
                  <a:pt x="592" y="460"/>
                </a:lnTo>
                <a:lnTo>
                  <a:pt x="591" y="460"/>
                </a:lnTo>
                <a:lnTo>
                  <a:pt x="590" y="460"/>
                </a:lnTo>
                <a:lnTo>
                  <a:pt x="589" y="461"/>
                </a:lnTo>
                <a:lnTo>
                  <a:pt x="588" y="461"/>
                </a:lnTo>
                <a:lnTo>
                  <a:pt x="587" y="460"/>
                </a:lnTo>
                <a:lnTo>
                  <a:pt x="583" y="460"/>
                </a:lnTo>
                <a:lnTo>
                  <a:pt x="581" y="459"/>
                </a:lnTo>
                <a:lnTo>
                  <a:pt x="580" y="459"/>
                </a:lnTo>
                <a:lnTo>
                  <a:pt x="578" y="459"/>
                </a:lnTo>
                <a:lnTo>
                  <a:pt x="572" y="460"/>
                </a:lnTo>
                <a:lnTo>
                  <a:pt x="569" y="460"/>
                </a:lnTo>
                <a:lnTo>
                  <a:pt x="560" y="462"/>
                </a:lnTo>
                <a:lnTo>
                  <a:pt x="558" y="462"/>
                </a:lnTo>
                <a:lnTo>
                  <a:pt x="557" y="462"/>
                </a:lnTo>
                <a:lnTo>
                  <a:pt x="556" y="463"/>
                </a:lnTo>
                <a:lnTo>
                  <a:pt x="555" y="463"/>
                </a:lnTo>
                <a:lnTo>
                  <a:pt x="554" y="464"/>
                </a:lnTo>
                <a:lnTo>
                  <a:pt x="553" y="465"/>
                </a:lnTo>
                <a:lnTo>
                  <a:pt x="550" y="468"/>
                </a:lnTo>
                <a:lnTo>
                  <a:pt x="549" y="469"/>
                </a:lnTo>
                <a:lnTo>
                  <a:pt x="548" y="470"/>
                </a:lnTo>
                <a:lnTo>
                  <a:pt x="546" y="471"/>
                </a:lnTo>
                <a:lnTo>
                  <a:pt x="546" y="471"/>
                </a:lnTo>
                <a:lnTo>
                  <a:pt x="545" y="472"/>
                </a:lnTo>
                <a:lnTo>
                  <a:pt x="544" y="472"/>
                </a:lnTo>
                <a:lnTo>
                  <a:pt x="543" y="472"/>
                </a:lnTo>
                <a:lnTo>
                  <a:pt x="542" y="472"/>
                </a:lnTo>
                <a:lnTo>
                  <a:pt x="540" y="472"/>
                </a:lnTo>
                <a:lnTo>
                  <a:pt x="538" y="471"/>
                </a:lnTo>
                <a:lnTo>
                  <a:pt x="533" y="470"/>
                </a:lnTo>
                <a:lnTo>
                  <a:pt x="528" y="470"/>
                </a:lnTo>
                <a:lnTo>
                  <a:pt x="526" y="469"/>
                </a:lnTo>
                <a:lnTo>
                  <a:pt x="522" y="468"/>
                </a:lnTo>
                <a:lnTo>
                  <a:pt x="521" y="468"/>
                </a:lnTo>
                <a:lnTo>
                  <a:pt x="520" y="468"/>
                </a:lnTo>
                <a:lnTo>
                  <a:pt x="519" y="468"/>
                </a:lnTo>
                <a:lnTo>
                  <a:pt x="518" y="468"/>
                </a:lnTo>
                <a:lnTo>
                  <a:pt x="517" y="469"/>
                </a:lnTo>
                <a:lnTo>
                  <a:pt x="515" y="470"/>
                </a:lnTo>
                <a:lnTo>
                  <a:pt x="513" y="470"/>
                </a:lnTo>
                <a:lnTo>
                  <a:pt x="510" y="471"/>
                </a:lnTo>
                <a:lnTo>
                  <a:pt x="507" y="472"/>
                </a:lnTo>
                <a:lnTo>
                  <a:pt x="504" y="472"/>
                </a:lnTo>
                <a:lnTo>
                  <a:pt x="501" y="472"/>
                </a:lnTo>
                <a:lnTo>
                  <a:pt x="498" y="472"/>
                </a:lnTo>
                <a:lnTo>
                  <a:pt x="494" y="472"/>
                </a:lnTo>
                <a:lnTo>
                  <a:pt x="491" y="472"/>
                </a:lnTo>
                <a:lnTo>
                  <a:pt x="482" y="471"/>
                </a:lnTo>
                <a:lnTo>
                  <a:pt x="479" y="470"/>
                </a:lnTo>
                <a:lnTo>
                  <a:pt x="477" y="470"/>
                </a:lnTo>
                <a:lnTo>
                  <a:pt x="473" y="469"/>
                </a:lnTo>
                <a:lnTo>
                  <a:pt x="467" y="467"/>
                </a:lnTo>
                <a:lnTo>
                  <a:pt x="462" y="466"/>
                </a:lnTo>
                <a:lnTo>
                  <a:pt x="459" y="465"/>
                </a:lnTo>
                <a:lnTo>
                  <a:pt x="457" y="465"/>
                </a:lnTo>
                <a:lnTo>
                  <a:pt x="450" y="464"/>
                </a:lnTo>
                <a:lnTo>
                  <a:pt x="448" y="464"/>
                </a:lnTo>
                <a:lnTo>
                  <a:pt x="447" y="464"/>
                </a:lnTo>
                <a:lnTo>
                  <a:pt x="446" y="465"/>
                </a:lnTo>
                <a:lnTo>
                  <a:pt x="445" y="465"/>
                </a:lnTo>
                <a:lnTo>
                  <a:pt x="444" y="465"/>
                </a:lnTo>
                <a:lnTo>
                  <a:pt x="442" y="466"/>
                </a:lnTo>
                <a:lnTo>
                  <a:pt x="441" y="467"/>
                </a:lnTo>
                <a:lnTo>
                  <a:pt x="440" y="467"/>
                </a:lnTo>
                <a:lnTo>
                  <a:pt x="439" y="468"/>
                </a:lnTo>
                <a:lnTo>
                  <a:pt x="438" y="469"/>
                </a:lnTo>
                <a:lnTo>
                  <a:pt x="437" y="470"/>
                </a:lnTo>
                <a:lnTo>
                  <a:pt x="436" y="472"/>
                </a:lnTo>
                <a:lnTo>
                  <a:pt x="436" y="473"/>
                </a:lnTo>
                <a:lnTo>
                  <a:pt x="436" y="473"/>
                </a:lnTo>
                <a:lnTo>
                  <a:pt x="435" y="474"/>
                </a:lnTo>
                <a:lnTo>
                  <a:pt x="435" y="475"/>
                </a:lnTo>
                <a:lnTo>
                  <a:pt x="435" y="476"/>
                </a:lnTo>
                <a:lnTo>
                  <a:pt x="435" y="478"/>
                </a:lnTo>
                <a:lnTo>
                  <a:pt x="435" y="481"/>
                </a:lnTo>
                <a:lnTo>
                  <a:pt x="435" y="482"/>
                </a:lnTo>
                <a:lnTo>
                  <a:pt x="435" y="484"/>
                </a:lnTo>
                <a:lnTo>
                  <a:pt x="435" y="486"/>
                </a:lnTo>
                <a:lnTo>
                  <a:pt x="435" y="487"/>
                </a:lnTo>
                <a:lnTo>
                  <a:pt x="435" y="488"/>
                </a:lnTo>
                <a:lnTo>
                  <a:pt x="434" y="488"/>
                </a:lnTo>
                <a:lnTo>
                  <a:pt x="434" y="489"/>
                </a:lnTo>
                <a:lnTo>
                  <a:pt x="433" y="489"/>
                </a:lnTo>
                <a:lnTo>
                  <a:pt x="433" y="490"/>
                </a:lnTo>
                <a:lnTo>
                  <a:pt x="432" y="490"/>
                </a:lnTo>
                <a:lnTo>
                  <a:pt x="431" y="490"/>
                </a:lnTo>
                <a:lnTo>
                  <a:pt x="429" y="491"/>
                </a:lnTo>
                <a:lnTo>
                  <a:pt x="427" y="491"/>
                </a:lnTo>
                <a:lnTo>
                  <a:pt x="425" y="491"/>
                </a:lnTo>
                <a:lnTo>
                  <a:pt x="424" y="491"/>
                </a:lnTo>
                <a:lnTo>
                  <a:pt x="423" y="491"/>
                </a:lnTo>
                <a:lnTo>
                  <a:pt x="422" y="492"/>
                </a:lnTo>
                <a:lnTo>
                  <a:pt x="422" y="493"/>
                </a:lnTo>
                <a:lnTo>
                  <a:pt x="422" y="493"/>
                </a:lnTo>
                <a:lnTo>
                  <a:pt x="421" y="495"/>
                </a:lnTo>
                <a:lnTo>
                  <a:pt x="421" y="496"/>
                </a:lnTo>
                <a:lnTo>
                  <a:pt x="420" y="498"/>
                </a:lnTo>
                <a:lnTo>
                  <a:pt x="419" y="499"/>
                </a:lnTo>
                <a:lnTo>
                  <a:pt x="418" y="500"/>
                </a:lnTo>
                <a:lnTo>
                  <a:pt x="417" y="501"/>
                </a:lnTo>
                <a:lnTo>
                  <a:pt x="415" y="503"/>
                </a:lnTo>
                <a:lnTo>
                  <a:pt x="414" y="505"/>
                </a:lnTo>
                <a:lnTo>
                  <a:pt x="413" y="505"/>
                </a:lnTo>
                <a:lnTo>
                  <a:pt x="411" y="506"/>
                </a:lnTo>
                <a:lnTo>
                  <a:pt x="409" y="508"/>
                </a:lnTo>
                <a:lnTo>
                  <a:pt x="407" y="508"/>
                </a:lnTo>
                <a:lnTo>
                  <a:pt x="406" y="509"/>
                </a:lnTo>
                <a:lnTo>
                  <a:pt x="405" y="509"/>
                </a:lnTo>
                <a:lnTo>
                  <a:pt x="400" y="511"/>
                </a:lnTo>
                <a:lnTo>
                  <a:pt x="399" y="511"/>
                </a:lnTo>
                <a:lnTo>
                  <a:pt x="397" y="512"/>
                </a:lnTo>
                <a:lnTo>
                  <a:pt x="395" y="512"/>
                </a:lnTo>
                <a:lnTo>
                  <a:pt x="394" y="513"/>
                </a:lnTo>
                <a:lnTo>
                  <a:pt x="393" y="514"/>
                </a:lnTo>
                <a:lnTo>
                  <a:pt x="392" y="514"/>
                </a:lnTo>
                <a:lnTo>
                  <a:pt x="390" y="516"/>
                </a:lnTo>
                <a:lnTo>
                  <a:pt x="389" y="517"/>
                </a:lnTo>
                <a:lnTo>
                  <a:pt x="388" y="517"/>
                </a:lnTo>
                <a:lnTo>
                  <a:pt x="386" y="520"/>
                </a:lnTo>
                <a:lnTo>
                  <a:pt x="383" y="523"/>
                </a:lnTo>
                <a:lnTo>
                  <a:pt x="382" y="525"/>
                </a:lnTo>
                <a:lnTo>
                  <a:pt x="380" y="526"/>
                </a:lnTo>
                <a:lnTo>
                  <a:pt x="380" y="526"/>
                </a:lnTo>
                <a:lnTo>
                  <a:pt x="379" y="527"/>
                </a:lnTo>
                <a:lnTo>
                  <a:pt x="378" y="527"/>
                </a:lnTo>
                <a:lnTo>
                  <a:pt x="378" y="527"/>
                </a:lnTo>
                <a:lnTo>
                  <a:pt x="376" y="528"/>
                </a:lnTo>
                <a:lnTo>
                  <a:pt x="376" y="528"/>
                </a:lnTo>
                <a:lnTo>
                  <a:pt x="375" y="527"/>
                </a:lnTo>
                <a:lnTo>
                  <a:pt x="374" y="527"/>
                </a:lnTo>
                <a:lnTo>
                  <a:pt x="374" y="527"/>
                </a:lnTo>
                <a:lnTo>
                  <a:pt x="373" y="527"/>
                </a:lnTo>
                <a:lnTo>
                  <a:pt x="372" y="526"/>
                </a:lnTo>
                <a:lnTo>
                  <a:pt x="371" y="525"/>
                </a:lnTo>
                <a:lnTo>
                  <a:pt x="368" y="522"/>
                </a:lnTo>
                <a:lnTo>
                  <a:pt x="367" y="521"/>
                </a:lnTo>
                <a:lnTo>
                  <a:pt x="366" y="521"/>
                </a:lnTo>
                <a:lnTo>
                  <a:pt x="365" y="520"/>
                </a:lnTo>
                <a:lnTo>
                  <a:pt x="363" y="519"/>
                </a:lnTo>
                <a:lnTo>
                  <a:pt x="362" y="519"/>
                </a:lnTo>
                <a:lnTo>
                  <a:pt x="361" y="519"/>
                </a:lnTo>
                <a:lnTo>
                  <a:pt x="360" y="519"/>
                </a:lnTo>
                <a:lnTo>
                  <a:pt x="359" y="520"/>
                </a:lnTo>
                <a:lnTo>
                  <a:pt x="357" y="521"/>
                </a:lnTo>
                <a:lnTo>
                  <a:pt x="356" y="522"/>
                </a:lnTo>
                <a:lnTo>
                  <a:pt x="355" y="523"/>
                </a:lnTo>
                <a:lnTo>
                  <a:pt x="353" y="524"/>
                </a:lnTo>
                <a:lnTo>
                  <a:pt x="349" y="529"/>
                </a:lnTo>
                <a:lnTo>
                  <a:pt x="347" y="530"/>
                </a:lnTo>
                <a:lnTo>
                  <a:pt x="346" y="531"/>
                </a:lnTo>
                <a:lnTo>
                  <a:pt x="344" y="533"/>
                </a:lnTo>
                <a:lnTo>
                  <a:pt x="343" y="533"/>
                </a:lnTo>
                <a:lnTo>
                  <a:pt x="342" y="534"/>
                </a:lnTo>
                <a:lnTo>
                  <a:pt x="342" y="534"/>
                </a:lnTo>
                <a:lnTo>
                  <a:pt x="340" y="534"/>
                </a:lnTo>
                <a:lnTo>
                  <a:pt x="339" y="535"/>
                </a:lnTo>
                <a:lnTo>
                  <a:pt x="338" y="536"/>
                </a:lnTo>
                <a:lnTo>
                  <a:pt x="335" y="538"/>
                </a:lnTo>
                <a:lnTo>
                  <a:pt x="334" y="539"/>
                </a:lnTo>
                <a:lnTo>
                  <a:pt x="332" y="539"/>
                </a:lnTo>
                <a:lnTo>
                  <a:pt x="331" y="540"/>
                </a:lnTo>
                <a:lnTo>
                  <a:pt x="329" y="540"/>
                </a:lnTo>
                <a:lnTo>
                  <a:pt x="328" y="541"/>
                </a:lnTo>
                <a:lnTo>
                  <a:pt x="326" y="541"/>
                </a:lnTo>
                <a:lnTo>
                  <a:pt x="324" y="541"/>
                </a:lnTo>
                <a:lnTo>
                  <a:pt x="317" y="541"/>
                </a:lnTo>
                <a:lnTo>
                  <a:pt x="315" y="541"/>
                </a:lnTo>
                <a:lnTo>
                  <a:pt x="313" y="541"/>
                </a:lnTo>
                <a:lnTo>
                  <a:pt x="312" y="541"/>
                </a:lnTo>
                <a:lnTo>
                  <a:pt x="310" y="541"/>
                </a:lnTo>
                <a:lnTo>
                  <a:pt x="308" y="540"/>
                </a:lnTo>
                <a:lnTo>
                  <a:pt x="306" y="540"/>
                </a:lnTo>
                <a:lnTo>
                  <a:pt x="305" y="539"/>
                </a:lnTo>
                <a:lnTo>
                  <a:pt x="304" y="539"/>
                </a:lnTo>
                <a:lnTo>
                  <a:pt x="303" y="538"/>
                </a:lnTo>
                <a:lnTo>
                  <a:pt x="301" y="537"/>
                </a:lnTo>
                <a:lnTo>
                  <a:pt x="301" y="537"/>
                </a:lnTo>
                <a:lnTo>
                  <a:pt x="300" y="537"/>
                </a:lnTo>
                <a:lnTo>
                  <a:pt x="300" y="537"/>
                </a:lnTo>
                <a:lnTo>
                  <a:pt x="299" y="537"/>
                </a:lnTo>
                <a:lnTo>
                  <a:pt x="299" y="537"/>
                </a:lnTo>
                <a:lnTo>
                  <a:pt x="298" y="537"/>
                </a:lnTo>
                <a:lnTo>
                  <a:pt x="297" y="538"/>
                </a:lnTo>
                <a:lnTo>
                  <a:pt x="296" y="539"/>
                </a:lnTo>
                <a:lnTo>
                  <a:pt x="294" y="540"/>
                </a:lnTo>
                <a:lnTo>
                  <a:pt x="288" y="545"/>
                </a:lnTo>
                <a:lnTo>
                  <a:pt x="285" y="548"/>
                </a:lnTo>
                <a:lnTo>
                  <a:pt x="282" y="551"/>
                </a:lnTo>
                <a:lnTo>
                  <a:pt x="281" y="551"/>
                </a:lnTo>
                <a:lnTo>
                  <a:pt x="280" y="552"/>
                </a:lnTo>
                <a:lnTo>
                  <a:pt x="279" y="554"/>
                </a:lnTo>
                <a:lnTo>
                  <a:pt x="277" y="556"/>
                </a:lnTo>
                <a:lnTo>
                  <a:pt x="276" y="557"/>
                </a:lnTo>
                <a:lnTo>
                  <a:pt x="274" y="558"/>
                </a:lnTo>
                <a:lnTo>
                  <a:pt x="273" y="559"/>
                </a:lnTo>
                <a:lnTo>
                  <a:pt x="272" y="560"/>
                </a:lnTo>
                <a:lnTo>
                  <a:pt x="270" y="561"/>
                </a:lnTo>
                <a:lnTo>
                  <a:pt x="267" y="562"/>
                </a:lnTo>
                <a:lnTo>
                  <a:pt x="265" y="562"/>
                </a:lnTo>
                <a:lnTo>
                  <a:pt x="263" y="563"/>
                </a:lnTo>
                <a:lnTo>
                  <a:pt x="261" y="563"/>
                </a:lnTo>
                <a:lnTo>
                  <a:pt x="259" y="563"/>
                </a:lnTo>
                <a:lnTo>
                  <a:pt x="257" y="563"/>
                </a:lnTo>
                <a:lnTo>
                  <a:pt x="254" y="563"/>
                </a:lnTo>
                <a:lnTo>
                  <a:pt x="252" y="563"/>
                </a:lnTo>
                <a:lnTo>
                  <a:pt x="251" y="563"/>
                </a:lnTo>
                <a:lnTo>
                  <a:pt x="249" y="563"/>
                </a:lnTo>
                <a:lnTo>
                  <a:pt x="247" y="564"/>
                </a:lnTo>
                <a:lnTo>
                  <a:pt x="246" y="564"/>
                </a:lnTo>
                <a:lnTo>
                  <a:pt x="244" y="565"/>
                </a:lnTo>
                <a:lnTo>
                  <a:pt x="243" y="566"/>
                </a:lnTo>
                <a:lnTo>
                  <a:pt x="240" y="568"/>
                </a:lnTo>
                <a:lnTo>
                  <a:pt x="238" y="570"/>
                </a:lnTo>
                <a:lnTo>
                  <a:pt x="237" y="571"/>
                </a:lnTo>
                <a:lnTo>
                  <a:pt x="234" y="573"/>
                </a:lnTo>
                <a:lnTo>
                  <a:pt x="233" y="574"/>
                </a:lnTo>
                <a:lnTo>
                  <a:pt x="231" y="576"/>
                </a:lnTo>
                <a:lnTo>
                  <a:pt x="228" y="578"/>
                </a:lnTo>
                <a:lnTo>
                  <a:pt x="227" y="579"/>
                </a:lnTo>
                <a:lnTo>
                  <a:pt x="226" y="580"/>
                </a:lnTo>
                <a:lnTo>
                  <a:pt x="226" y="580"/>
                </a:lnTo>
                <a:lnTo>
                  <a:pt x="225" y="581"/>
                </a:lnTo>
                <a:lnTo>
                  <a:pt x="225" y="583"/>
                </a:lnTo>
                <a:lnTo>
                  <a:pt x="225" y="584"/>
                </a:lnTo>
                <a:lnTo>
                  <a:pt x="224" y="587"/>
                </a:lnTo>
                <a:lnTo>
                  <a:pt x="224" y="589"/>
                </a:lnTo>
                <a:lnTo>
                  <a:pt x="224" y="590"/>
                </a:lnTo>
                <a:lnTo>
                  <a:pt x="223" y="592"/>
                </a:lnTo>
                <a:lnTo>
                  <a:pt x="223" y="593"/>
                </a:lnTo>
                <a:lnTo>
                  <a:pt x="223" y="594"/>
                </a:lnTo>
                <a:lnTo>
                  <a:pt x="223" y="596"/>
                </a:lnTo>
                <a:lnTo>
                  <a:pt x="223" y="597"/>
                </a:lnTo>
                <a:lnTo>
                  <a:pt x="222" y="599"/>
                </a:lnTo>
                <a:lnTo>
                  <a:pt x="222" y="600"/>
                </a:lnTo>
                <a:lnTo>
                  <a:pt x="222" y="600"/>
                </a:lnTo>
                <a:lnTo>
                  <a:pt x="222" y="600"/>
                </a:lnTo>
                <a:lnTo>
                  <a:pt x="221" y="601"/>
                </a:lnTo>
                <a:lnTo>
                  <a:pt x="221" y="601"/>
                </a:lnTo>
                <a:lnTo>
                  <a:pt x="220" y="602"/>
                </a:lnTo>
                <a:lnTo>
                  <a:pt x="218" y="603"/>
                </a:lnTo>
                <a:lnTo>
                  <a:pt x="217" y="603"/>
                </a:lnTo>
                <a:lnTo>
                  <a:pt x="217" y="604"/>
                </a:lnTo>
                <a:lnTo>
                  <a:pt x="216" y="604"/>
                </a:lnTo>
                <a:lnTo>
                  <a:pt x="216" y="605"/>
                </a:lnTo>
                <a:lnTo>
                  <a:pt x="214" y="609"/>
                </a:lnTo>
                <a:lnTo>
                  <a:pt x="214" y="610"/>
                </a:lnTo>
                <a:lnTo>
                  <a:pt x="213" y="611"/>
                </a:lnTo>
                <a:lnTo>
                  <a:pt x="211" y="613"/>
                </a:lnTo>
                <a:lnTo>
                  <a:pt x="211" y="614"/>
                </a:lnTo>
                <a:lnTo>
                  <a:pt x="210" y="614"/>
                </a:lnTo>
                <a:lnTo>
                  <a:pt x="210" y="615"/>
                </a:lnTo>
                <a:lnTo>
                  <a:pt x="209" y="615"/>
                </a:lnTo>
                <a:lnTo>
                  <a:pt x="208" y="615"/>
                </a:lnTo>
                <a:lnTo>
                  <a:pt x="207" y="616"/>
                </a:lnTo>
                <a:lnTo>
                  <a:pt x="206" y="616"/>
                </a:lnTo>
                <a:lnTo>
                  <a:pt x="203" y="616"/>
                </a:lnTo>
                <a:lnTo>
                  <a:pt x="201" y="616"/>
                </a:lnTo>
                <a:lnTo>
                  <a:pt x="200" y="617"/>
                </a:lnTo>
                <a:lnTo>
                  <a:pt x="199" y="617"/>
                </a:lnTo>
                <a:lnTo>
                  <a:pt x="198" y="617"/>
                </a:lnTo>
                <a:lnTo>
                  <a:pt x="197" y="618"/>
                </a:lnTo>
                <a:lnTo>
                  <a:pt x="195" y="619"/>
                </a:lnTo>
                <a:lnTo>
                  <a:pt x="194" y="620"/>
                </a:lnTo>
                <a:lnTo>
                  <a:pt x="192" y="622"/>
                </a:lnTo>
                <a:lnTo>
                  <a:pt x="190" y="623"/>
                </a:lnTo>
                <a:lnTo>
                  <a:pt x="190" y="624"/>
                </a:lnTo>
                <a:lnTo>
                  <a:pt x="189" y="625"/>
                </a:lnTo>
                <a:lnTo>
                  <a:pt x="189" y="626"/>
                </a:lnTo>
                <a:lnTo>
                  <a:pt x="188" y="627"/>
                </a:lnTo>
                <a:lnTo>
                  <a:pt x="189" y="627"/>
                </a:lnTo>
                <a:lnTo>
                  <a:pt x="188" y="628"/>
                </a:lnTo>
                <a:lnTo>
                  <a:pt x="187" y="629"/>
                </a:lnTo>
                <a:lnTo>
                  <a:pt x="186" y="630"/>
                </a:lnTo>
                <a:lnTo>
                  <a:pt x="185" y="631"/>
                </a:lnTo>
                <a:lnTo>
                  <a:pt x="183" y="632"/>
                </a:lnTo>
                <a:lnTo>
                  <a:pt x="182" y="632"/>
                </a:lnTo>
                <a:lnTo>
                  <a:pt x="181" y="632"/>
                </a:lnTo>
                <a:lnTo>
                  <a:pt x="178" y="633"/>
                </a:lnTo>
                <a:lnTo>
                  <a:pt x="177" y="633"/>
                </a:lnTo>
                <a:lnTo>
                  <a:pt x="176" y="633"/>
                </a:lnTo>
                <a:lnTo>
                  <a:pt x="176" y="633"/>
                </a:lnTo>
                <a:lnTo>
                  <a:pt x="175" y="633"/>
                </a:lnTo>
                <a:lnTo>
                  <a:pt x="174" y="633"/>
                </a:lnTo>
                <a:lnTo>
                  <a:pt x="174" y="632"/>
                </a:lnTo>
                <a:lnTo>
                  <a:pt x="174" y="632"/>
                </a:lnTo>
                <a:lnTo>
                  <a:pt x="173" y="631"/>
                </a:lnTo>
                <a:lnTo>
                  <a:pt x="172" y="628"/>
                </a:lnTo>
                <a:lnTo>
                  <a:pt x="172" y="627"/>
                </a:lnTo>
                <a:lnTo>
                  <a:pt x="171" y="625"/>
                </a:lnTo>
                <a:lnTo>
                  <a:pt x="169" y="623"/>
                </a:lnTo>
                <a:lnTo>
                  <a:pt x="167" y="621"/>
                </a:lnTo>
                <a:lnTo>
                  <a:pt x="167" y="619"/>
                </a:lnTo>
                <a:lnTo>
                  <a:pt x="166" y="619"/>
                </a:lnTo>
                <a:lnTo>
                  <a:pt x="166" y="619"/>
                </a:lnTo>
                <a:lnTo>
                  <a:pt x="165" y="619"/>
                </a:lnTo>
                <a:lnTo>
                  <a:pt x="164" y="619"/>
                </a:lnTo>
                <a:lnTo>
                  <a:pt x="163" y="620"/>
                </a:lnTo>
                <a:lnTo>
                  <a:pt x="163" y="620"/>
                </a:lnTo>
                <a:lnTo>
                  <a:pt x="162" y="621"/>
                </a:lnTo>
                <a:lnTo>
                  <a:pt x="160" y="623"/>
                </a:lnTo>
                <a:lnTo>
                  <a:pt x="159" y="624"/>
                </a:lnTo>
                <a:lnTo>
                  <a:pt x="159" y="625"/>
                </a:lnTo>
                <a:lnTo>
                  <a:pt x="158" y="625"/>
                </a:lnTo>
                <a:lnTo>
                  <a:pt x="158" y="625"/>
                </a:lnTo>
                <a:lnTo>
                  <a:pt x="157" y="625"/>
                </a:lnTo>
                <a:lnTo>
                  <a:pt x="156" y="625"/>
                </a:lnTo>
                <a:lnTo>
                  <a:pt x="156" y="625"/>
                </a:lnTo>
                <a:lnTo>
                  <a:pt x="155" y="624"/>
                </a:lnTo>
                <a:lnTo>
                  <a:pt x="155" y="624"/>
                </a:lnTo>
                <a:lnTo>
                  <a:pt x="154" y="622"/>
                </a:lnTo>
                <a:lnTo>
                  <a:pt x="154" y="621"/>
                </a:lnTo>
                <a:lnTo>
                  <a:pt x="154" y="620"/>
                </a:lnTo>
                <a:lnTo>
                  <a:pt x="154" y="618"/>
                </a:lnTo>
                <a:lnTo>
                  <a:pt x="154" y="618"/>
                </a:lnTo>
                <a:lnTo>
                  <a:pt x="154" y="618"/>
                </a:lnTo>
                <a:lnTo>
                  <a:pt x="154" y="617"/>
                </a:lnTo>
                <a:lnTo>
                  <a:pt x="153" y="617"/>
                </a:lnTo>
                <a:lnTo>
                  <a:pt x="153" y="617"/>
                </a:lnTo>
                <a:lnTo>
                  <a:pt x="153" y="618"/>
                </a:lnTo>
                <a:lnTo>
                  <a:pt x="153" y="618"/>
                </a:lnTo>
                <a:lnTo>
                  <a:pt x="152" y="618"/>
                </a:lnTo>
                <a:lnTo>
                  <a:pt x="152" y="619"/>
                </a:lnTo>
                <a:lnTo>
                  <a:pt x="149" y="619"/>
                </a:lnTo>
                <a:lnTo>
                  <a:pt x="147" y="619"/>
                </a:lnTo>
                <a:lnTo>
                  <a:pt x="146" y="619"/>
                </a:lnTo>
                <a:lnTo>
                  <a:pt x="146" y="619"/>
                </a:lnTo>
                <a:lnTo>
                  <a:pt x="146" y="619"/>
                </a:lnTo>
                <a:lnTo>
                  <a:pt x="145" y="619"/>
                </a:lnTo>
                <a:lnTo>
                  <a:pt x="145" y="619"/>
                </a:lnTo>
                <a:lnTo>
                  <a:pt x="144" y="620"/>
                </a:lnTo>
                <a:lnTo>
                  <a:pt x="144" y="619"/>
                </a:lnTo>
                <a:lnTo>
                  <a:pt x="144" y="619"/>
                </a:lnTo>
                <a:lnTo>
                  <a:pt x="143" y="617"/>
                </a:lnTo>
                <a:lnTo>
                  <a:pt x="142" y="615"/>
                </a:lnTo>
                <a:lnTo>
                  <a:pt x="142" y="614"/>
                </a:lnTo>
                <a:lnTo>
                  <a:pt x="141" y="613"/>
                </a:lnTo>
                <a:lnTo>
                  <a:pt x="140" y="611"/>
                </a:lnTo>
                <a:lnTo>
                  <a:pt x="137" y="607"/>
                </a:lnTo>
                <a:lnTo>
                  <a:pt x="136" y="606"/>
                </a:lnTo>
                <a:lnTo>
                  <a:pt x="135" y="605"/>
                </a:lnTo>
                <a:lnTo>
                  <a:pt x="134" y="604"/>
                </a:lnTo>
                <a:lnTo>
                  <a:pt x="133" y="604"/>
                </a:lnTo>
                <a:lnTo>
                  <a:pt x="131" y="603"/>
                </a:lnTo>
                <a:lnTo>
                  <a:pt x="130" y="602"/>
                </a:lnTo>
                <a:lnTo>
                  <a:pt x="129" y="602"/>
                </a:lnTo>
                <a:lnTo>
                  <a:pt x="128" y="602"/>
                </a:lnTo>
                <a:lnTo>
                  <a:pt x="123" y="601"/>
                </a:lnTo>
                <a:lnTo>
                  <a:pt x="122" y="600"/>
                </a:lnTo>
                <a:lnTo>
                  <a:pt x="121" y="600"/>
                </a:lnTo>
                <a:lnTo>
                  <a:pt x="120" y="599"/>
                </a:lnTo>
                <a:lnTo>
                  <a:pt x="119" y="598"/>
                </a:lnTo>
                <a:lnTo>
                  <a:pt x="118" y="598"/>
                </a:lnTo>
                <a:lnTo>
                  <a:pt x="118" y="597"/>
                </a:lnTo>
                <a:lnTo>
                  <a:pt x="118" y="597"/>
                </a:lnTo>
                <a:lnTo>
                  <a:pt x="118" y="597"/>
                </a:lnTo>
                <a:lnTo>
                  <a:pt x="118" y="596"/>
                </a:lnTo>
                <a:lnTo>
                  <a:pt x="118" y="595"/>
                </a:lnTo>
                <a:lnTo>
                  <a:pt x="119" y="594"/>
                </a:lnTo>
                <a:lnTo>
                  <a:pt x="119" y="593"/>
                </a:lnTo>
                <a:lnTo>
                  <a:pt x="120" y="593"/>
                </a:lnTo>
                <a:lnTo>
                  <a:pt x="120" y="592"/>
                </a:lnTo>
                <a:lnTo>
                  <a:pt x="121" y="592"/>
                </a:lnTo>
                <a:lnTo>
                  <a:pt x="122" y="592"/>
                </a:lnTo>
                <a:lnTo>
                  <a:pt x="123" y="591"/>
                </a:lnTo>
                <a:lnTo>
                  <a:pt x="124" y="591"/>
                </a:lnTo>
                <a:lnTo>
                  <a:pt x="125" y="591"/>
                </a:lnTo>
                <a:lnTo>
                  <a:pt x="126" y="591"/>
                </a:lnTo>
                <a:lnTo>
                  <a:pt x="129" y="591"/>
                </a:lnTo>
                <a:lnTo>
                  <a:pt x="132" y="592"/>
                </a:lnTo>
                <a:lnTo>
                  <a:pt x="133" y="592"/>
                </a:lnTo>
                <a:lnTo>
                  <a:pt x="133" y="592"/>
                </a:lnTo>
                <a:lnTo>
                  <a:pt x="134" y="592"/>
                </a:lnTo>
                <a:lnTo>
                  <a:pt x="134" y="591"/>
                </a:lnTo>
                <a:lnTo>
                  <a:pt x="134" y="591"/>
                </a:lnTo>
                <a:lnTo>
                  <a:pt x="135" y="591"/>
                </a:lnTo>
                <a:lnTo>
                  <a:pt x="135" y="590"/>
                </a:lnTo>
                <a:lnTo>
                  <a:pt x="135" y="590"/>
                </a:lnTo>
                <a:lnTo>
                  <a:pt x="135" y="589"/>
                </a:lnTo>
                <a:lnTo>
                  <a:pt x="135" y="587"/>
                </a:lnTo>
                <a:lnTo>
                  <a:pt x="134" y="585"/>
                </a:lnTo>
                <a:lnTo>
                  <a:pt x="134" y="584"/>
                </a:lnTo>
                <a:lnTo>
                  <a:pt x="134" y="583"/>
                </a:lnTo>
                <a:lnTo>
                  <a:pt x="134" y="582"/>
                </a:lnTo>
                <a:lnTo>
                  <a:pt x="134" y="582"/>
                </a:lnTo>
                <a:lnTo>
                  <a:pt x="135" y="580"/>
                </a:lnTo>
                <a:lnTo>
                  <a:pt x="136" y="579"/>
                </a:lnTo>
                <a:lnTo>
                  <a:pt x="136" y="578"/>
                </a:lnTo>
                <a:lnTo>
                  <a:pt x="136" y="577"/>
                </a:lnTo>
                <a:lnTo>
                  <a:pt x="136" y="577"/>
                </a:lnTo>
                <a:lnTo>
                  <a:pt x="136" y="576"/>
                </a:lnTo>
                <a:lnTo>
                  <a:pt x="136" y="575"/>
                </a:lnTo>
                <a:lnTo>
                  <a:pt x="136" y="574"/>
                </a:lnTo>
                <a:lnTo>
                  <a:pt x="136" y="572"/>
                </a:lnTo>
                <a:lnTo>
                  <a:pt x="135" y="568"/>
                </a:lnTo>
                <a:lnTo>
                  <a:pt x="134" y="566"/>
                </a:lnTo>
                <a:lnTo>
                  <a:pt x="133" y="563"/>
                </a:lnTo>
                <a:lnTo>
                  <a:pt x="131" y="558"/>
                </a:lnTo>
                <a:lnTo>
                  <a:pt x="130" y="556"/>
                </a:lnTo>
                <a:lnTo>
                  <a:pt x="128" y="553"/>
                </a:lnTo>
                <a:lnTo>
                  <a:pt x="127" y="551"/>
                </a:lnTo>
                <a:lnTo>
                  <a:pt x="125" y="547"/>
                </a:lnTo>
                <a:lnTo>
                  <a:pt x="124" y="547"/>
                </a:lnTo>
                <a:lnTo>
                  <a:pt x="124" y="546"/>
                </a:lnTo>
                <a:lnTo>
                  <a:pt x="123" y="545"/>
                </a:lnTo>
                <a:lnTo>
                  <a:pt x="123" y="544"/>
                </a:lnTo>
                <a:lnTo>
                  <a:pt x="123" y="540"/>
                </a:lnTo>
                <a:lnTo>
                  <a:pt x="123" y="539"/>
                </a:lnTo>
                <a:lnTo>
                  <a:pt x="123" y="536"/>
                </a:lnTo>
                <a:lnTo>
                  <a:pt x="123" y="535"/>
                </a:lnTo>
                <a:lnTo>
                  <a:pt x="122" y="534"/>
                </a:lnTo>
                <a:lnTo>
                  <a:pt x="122" y="533"/>
                </a:lnTo>
                <a:lnTo>
                  <a:pt x="121" y="532"/>
                </a:lnTo>
                <a:lnTo>
                  <a:pt x="119" y="530"/>
                </a:lnTo>
                <a:lnTo>
                  <a:pt x="118" y="529"/>
                </a:lnTo>
                <a:lnTo>
                  <a:pt x="117" y="529"/>
                </a:lnTo>
                <a:lnTo>
                  <a:pt x="117" y="528"/>
                </a:lnTo>
                <a:lnTo>
                  <a:pt x="116" y="527"/>
                </a:lnTo>
                <a:lnTo>
                  <a:pt x="116" y="526"/>
                </a:lnTo>
                <a:lnTo>
                  <a:pt x="116" y="525"/>
                </a:lnTo>
                <a:lnTo>
                  <a:pt x="116" y="524"/>
                </a:lnTo>
                <a:lnTo>
                  <a:pt x="116" y="523"/>
                </a:lnTo>
                <a:lnTo>
                  <a:pt x="117" y="520"/>
                </a:lnTo>
                <a:lnTo>
                  <a:pt x="117" y="519"/>
                </a:lnTo>
                <a:lnTo>
                  <a:pt x="117" y="517"/>
                </a:lnTo>
                <a:lnTo>
                  <a:pt x="117" y="515"/>
                </a:lnTo>
                <a:lnTo>
                  <a:pt x="117" y="513"/>
                </a:lnTo>
                <a:lnTo>
                  <a:pt x="116" y="509"/>
                </a:lnTo>
                <a:lnTo>
                  <a:pt x="115" y="507"/>
                </a:lnTo>
                <a:lnTo>
                  <a:pt x="114" y="504"/>
                </a:lnTo>
                <a:lnTo>
                  <a:pt x="114" y="503"/>
                </a:lnTo>
                <a:lnTo>
                  <a:pt x="113" y="502"/>
                </a:lnTo>
                <a:lnTo>
                  <a:pt x="113" y="501"/>
                </a:lnTo>
                <a:lnTo>
                  <a:pt x="114" y="499"/>
                </a:lnTo>
                <a:lnTo>
                  <a:pt x="114" y="497"/>
                </a:lnTo>
                <a:lnTo>
                  <a:pt x="115" y="492"/>
                </a:lnTo>
                <a:lnTo>
                  <a:pt x="116" y="489"/>
                </a:lnTo>
                <a:lnTo>
                  <a:pt x="116" y="488"/>
                </a:lnTo>
                <a:lnTo>
                  <a:pt x="116" y="487"/>
                </a:lnTo>
                <a:lnTo>
                  <a:pt x="116" y="486"/>
                </a:lnTo>
                <a:lnTo>
                  <a:pt x="116" y="481"/>
                </a:lnTo>
                <a:lnTo>
                  <a:pt x="116" y="480"/>
                </a:lnTo>
                <a:lnTo>
                  <a:pt x="116" y="479"/>
                </a:lnTo>
                <a:lnTo>
                  <a:pt x="117" y="478"/>
                </a:lnTo>
                <a:lnTo>
                  <a:pt x="117" y="477"/>
                </a:lnTo>
                <a:lnTo>
                  <a:pt x="118" y="473"/>
                </a:lnTo>
                <a:lnTo>
                  <a:pt x="118" y="471"/>
                </a:lnTo>
                <a:lnTo>
                  <a:pt x="119" y="469"/>
                </a:lnTo>
                <a:lnTo>
                  <a:pt x="119" y="468"/>
                </a:lnTo>
                <a:lnTo>
                  <a:pt x="118" y="466"/>
                </a:lnTo>
                <a:lnTo>
                  <a:pt x="118" y="465"/>
                </a:lnTo>
                <a:lnTo>
                  <a:pt x="118" y="463"/>
                </a:lnTo>
                <a:lnTo>
                  <a:pt x="118" y="462"/>
                </a:lnTo>
                <a:lnTo>
                  <a:pt x="117" y="460"/>
                </a:lnTo>
                <a:lnTo>
                  <a:pt x="116" y="458"/>
                </a:lnTo>
                <a:lnTo>
                  <a:pt x="115" y="457"/>
                </a:lnTo>
                <a:lnTo>
                  <a:pt x="114" y="455"/>
                </a:lnTo>
                <a:lnTo>
                  <a:pt x="114" y="454"/>
                </a:lnTo>
                <a:lnTo>
                  <a:pt x="113" y="453"/>
                </a:lnTo>
                <a:lnTo>
                  <a:pt x="112" y="453"/>
                </a:lnTo>
                <a:lnTo>
                  <a:pt x="111" y="452"/>
                </a:lnTo>
                <a:lnTo>
                  <a:pt x="110" y="451"/>
                </a:lnTo>
                <a:lnTo>
                  <a:pt x="109" y="451"/>
                </a:lnTo>
                <a:lnTo>
                  <a:pt x="108" y="451"/>
                </a:lnTo>
                <a:lnTo>
                  <a:pt x="108" y="451"/>
                </a:lnTo>
                <a:lnTo>
                  <a:pt x="107" y="450"/>
                </a:lnTo>
                <a:lnTo>
                  <a:pt x="106" y="451"/>
                </a:lnTo>
                <a:lnTo>
                  <a:pt x="100" y="451"/>
                </a:lnTo>
                <a:lnTo>
                  <a:pt x="99" y="451"/>
                </a:lnTo>
                <a:lnTo>
                  <a:pt x="98" y="451"/>
                </a:lnTo>
                <a:lnTo>
                  <a:pt x="93" y="451"/>
                </a:lnTo>
                <a:lnTo>
                  <a:pt x="91" y="451"/>
                </a:lnTo>
                <a:lnTo>
                  <a:pt x="88" y="451"/>
                </a:lnTo>
                <a:lnTo>
                  <a:pt x="83" y="450"/>
                </a:lnTo>
                <a:lnTo>
                  <a:pt x="81" y="450"/>
                </a:lnTo>
                <a:lnTo>
                  <a:pt x="79" y="450"/>
                </a:lnTo>
                <a:lnTo>
                  <a:pt x="78" y="450"/>
                </a:lnTo>
                <a:lnTo>
                  <a:pt x="77" y="450"/>
                </a:lnTo>
                <a:lnTo>
                  <a:pt x="75" y="451"/>
                </a:lnTo>
                <a:lnTo>
                  <a:pt x="72" y="451"/>
                </a:lnTo>
                <a:lnTo>
                  <a:pt x="71" y="451"/>
                </a:lnTo>
                <a:lnTo>
                  <a:pt x="71" y="452"/>
                </a:lnTo>
                <a:lnTo>
                  <a:pt x="70" y="452"/>
                </a:lnTo>
                <a:lnTo>
                  <a:pt x="69" y="451"/>
                </a:lnTo>
                <a:lnTo>
                  <a:pt x="69" y="451"/>
                </a:lnTo>
                <a:lnTo>
                  <a:pt x="68" y="451"/>
                </a:lnTo>
                <a:lnTo>
                  <a:pt x="67" y="450"/>
                </a:lnTo>
                <a:lnTo>
                  <a:pt x="66" y="450"/>
                </a:lnTo>
                <a:lnTo>
                  <a:pt x="66" y="450"/>
                </a:lnTo>
                <a:lnTo>
                  <a:pt x="65" y="449"/>
                </a:lnTo>
                <a:lnTo>
                  <a:pt x="65" y="449"/>
                </a:lnTo>
                <a:lnTo>
                  <a:pt x="64" y="448"/>
                </a:lnTo>
                <a:lnTo>
                  <a:pt x="64" y="448"/>
                </a:lnTo>
                <a:lnTo>
                  <a:pt x="64" y="447"/>
                </a:lnTo>
                <a:lnTo>
                  <a:pt x="64" y="446"/>
                </a:lnTo>
                <a:lnTo>
                  <a:pt x="64" y="444"/>
                </a:lnTo>
                <a:lnTo>
                  <a:pt x="64" y="441"/>
                </a:lnTo>
                <a:lnTo>
                  <a:pt x="64" y="440"/>
                </a:lnTo>
                <a:lnTo>
                  <a:pt x="63" y="439"/>
                </a:lnTo>
                <a:lnTo>
                  <a:pt x="63" y="438"/>
                </a:lnTo>
                <a:lnTo>
                  <a:pt x="63" y="437"/>
                </a:lnTo>
                <a:lnTo>
                  <a:pt x="62" y="436"/>
                </a:lnTo>
                <a:lnTo>
                  <a:pt x="62" y="436"/>
                </a:lnTo>
                <a:lnTo>
                  <a:pt x="61" y="435"/>
                </a:lnTo>
                <a:lnTo>
                  <a:pt x="61" y="434"/>
                </a:lnTo>
                <a:lnTo>
                  <a:pt x="60" y="434"/>
                </a:lnTo>
                <a:lnTo>
                  <a:pt x="58" y="433"/>
                </a:lnTo>
                <a:lnTo>
                  <a:pt x="54" y="431"/>
                </a:lnTo>
                <a:lnTo>
                  <a:pt x="52" y="430"/>
                </a:lnTo>
                <a:lnTo>
                  <a:pt x="51" y="429"/>
                </a:lnTo>
                <a:lnTo>
                  <a:pt x="50" y="429"/>
                </a:lnTo>
                <a:lnTo>
                  <a:pt x="48" y="429"/>
                </a:lnTo>
                <a:lnTo>
                  <a:pt x="46" y="428"/>
                </a:lnTo>
                <a:lnTo>
                  <a:pt x="44" y="428"/>
                </a:lnTo>
                <a:lnTo>
                  <a:pt x="41" y="428"/>
                </a:lnTo>
                <a:lnTo>
                  <a:pt x="39" y="427"/>
                </a:lnTo>
                <a:lnTo>
                  <a:pt x="36" y="427"/>
                </a:lnTo>
                <a:lnTo>
                  <a:pt x="31" y="425"/>
                </a:lnTo>
                <a:lnTo>
                  <a:pt x="30" y="425"/>
                </a:lnTo>
                <a:lnTo>
                  <a:pt x="28" y="425"/>
                </a:lnTo>
                <a:lnTo>
                  <a:pt x="23" y="424"/>
                </a:lnTo>
                <a:lnTo>
                  <a:pt x="21" y="424"/>
                </a:lnTo>
                <a:lnTo>
                  <a:pt x="18" y="424"/>
                </a:lnTo>
                <a:lnTo>
                  <a:pt x="14" y="423"/>
                </a:lnTo>
                <a:lnTo>
                  <a:pt x="11" y="422"/>
                </a:lnTo>
                <a:lnTo>
                  <a:pt x="10" y="421"/>
                </a:lnTo>
                <a:lnTo>
                  <a:pt x="8" y="421"/>
                </a:lnTo>
                <a:lnTo>
                  <a:pt x="6" y="419"/>
                </a:lnTo>
                <a:lnTo>
                  <a:pt x="1" y="416"/>
                </a:lnTo>
                <a:lnTo>
                  <a:pt x="1" y="416"/>
                </a:lnTo>
                <a:lnTo>
                  <a:pt x="0" y="415"/>
                </a:lnTo>
                <a:lnTo>
                  <a:pt x="0" y="415"/>
                </a:lnTo>
                <a:lnTo>
                  <a:pt x="1" y="415"/>
                </a:lnTo>
                <a:lnTo>
                  <a:pt x="1" y="414"/>
                </a:lnTo>
                <a:lnTo>
                  <a:pt x="1" y="414"/>
                </a:lnTo>
                <a:lnTo>
                  <a:pt x="2" y="413"/>
                </a:lnTo>
                <a:lnTo>
                  <a:pt x="3" y="412"/>
                </a:lnTo>
                <a:lnTo>
                  <a:pt x="4" y="412"/>
                </a:lnTo>
                <a:lnTo>
                  <a:pt x="9" y="409"/>
                </a:lnTo>
                <a:lnTo>
                  <a:pt x="12" y="407"/>
                </a:lnTo>
                <a:lnTo>
                  <a:pt x="15" y="405"/>
                </a:lnTo>
                <a:lnTo>
                  <a:pt x="16" y="404"/>
                </a:lnTo>
                <a:lnTo>
                  <a:pt x="17" y="403"/>
                </a:lnTo>
                <a:lnTo>
                  <a:pt x="19" y="401"/>
                </a:lnTo>
                <a:lnTo>
                  <a:pt x="26" y="394"/>
                </a:lnTo>
                <a:lnTo>
                  <a:pt x="27" y="392"/>
                </a:lnTo>
                <a:lnTo>
                  <a:pt x="29" y="390"/>
                </a:lnTo>
                <a:lnTo>
                  <a:pt x="30" y="388"/>
                </a:lnTo>
                <a:lnTo>
                  <a:pt x="30" y="387"/>
                </a:lnTo>
                <a:lnTo>
                  <a:pt x="31" y="385"/>
                </a:lnTo>
                <a:lnTo>
                  <a:pt x="31" y="384"/>
                </a:lnTo>
                <a:lnTo>
                  <a:pt x="32" y="381"/>
                </a:lnTo>
                <a:lnTo>
                  <a:pt x="32" y="374"/>
                </a:lnTo>
                <a:lnTo>
                  <a:pt x="33" y="370"/>
                </a:lnTo>
                <a:lnTo>
                  <a:pt x="33" y="366"/>
                </a:lnTo>
                <a:lnTo>
                  <a:pt x="34" y="364"/>
                </a:lnTo>
                <a:lnTo>
                  <a:pt x="34" y="362"/>
                </a:lnTo>
                <a:lnTo>
                  <a:pt x="35" y="360"/>
                </a:lnTo>
                <a:lnTo>
                  <a:pt x="35" y="359"/>
                </a:lnTo>
                <a:lnTo>
                  <a:pt x="36" y="357"/>
                </a:lnTo>
                <a:lnTo>
                  <a:pt x="37" y="356"/>
                </a:lnTo>
                <a:lnTo>
                  <a:pt x="37" y="354"/>
                </a:lnTo>
                <a:lnTo>
                  <a:pt x="38" y="354"/>
                </a:lnTo>
                <a:lnTo>
                  <a:pt x="39" y="353"/>
                </a:lnTo>
                <a:lnTo>
                  <a:pt x="39" y="352"/>
                </a:lnTo>
                <a:lnTo>
                  <a:pt x="40" y="351"/>
                </a:lnTo>
                <a:lnTo>
                  <a:pt x="41" y="351"/>
                </a:lnTo>
                <a:lnTo>
                  <a:pt x="42" y="351"/>
                </a:lnTo>
                <a:lnTo>
                  <a:pt x="43" y="351"/>
                </a:lnTo>
                <a:lnTo>
                  <a:pt x="44" y="351"/>
                </a:lnTo>
                <a:lnTo>
                  <a:pt x="45" y="351"/>
                </a:lnTo>
                <a:lnTo>
                  <a:pt x="50" y="352"/>
                </a:lnTo>
                <a:lnTo>
                  <a:pt x="51" y="352"/>
                </a:lnTo>
                <a:lnTo>
                  <a:pt x="53" y="352"/>
                </a:lnTo>
                <a:lnTo>
                  <a:pt x="55" y="352"/>
                </a:lnTo>
                <a:lnTo>
                  <a:pt x="56" y="353"/>
                </a:lnTo>
                <a:lnTo>
                  <a:pt x="58" y="352"/>
                </a:lnTo>
                <a:lnTo>
                  <a:pt x="60" y="352"/>
                </a:lnTo>
                <a:lnTo>
                  <a:pt x="63" y="352"/>
                </a:lnTo>
                <a:lnTo>
                  <a:pt x="65" y="351"/>
                </a:lnTo>
                <a:lnTo>
                  <a:pt x="68" y="351"/>
                </a:lnTo>
                <a:lnTo>
                  <a:pt x="73" y="349"/>
                </a:lnTo>
                <a:lnTo>
                  <a:pt x="74" y="348"/>
                </a:lnTo>
                <a:lnTo>
                  <a:pt x="76" y="348"/>
                </a:lnTo>
                <a:lnTo>
                  <a:pt x="77" y="348"/>
                </a:lnTo>
                <a:lnTo>
                  <a:pt x="78" y="348"/>
                </a:lnTo>
                <a:lnTo>
                  <a:pt x="79" y="348"/>
                </a:lnTo>
                <a:lnTo>
                  <a:pt x="80" y="348"/>
                </a:lnTo>
                <a:lnTo>
                  <a:pt x="81" y="348"/>
                </a:lnTo>
                <a:lnTo>
                  <a:pt x="84" y="350"/>
                </a:lnTo>
                <a:lnTo>
                  <a:pt x="85" y="350"/>
                </a:lnTo>
                <a:lnTo>
                  <a:pt x="86" y="350"/>
                </a:lnTo>
                <a:lnTo>
                  <a:pt x="91" y="351"/>
                </a:lnTo>
                <a:lnTo>
                  <a:pt x="95" y="352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0" y="352"/>
                </a:lnTo>
                <a:lnTo>
                  <a:pt x="101" y="352"/>
                </a:lnTo>
                <a:lnTo>
                  <a:pt x="102" y="351"/>
                </a:lnTo>
                <a:lnTo>
                  <a:pt x="103" y="351"/>
                </a:lnTo>
                <a:lnTo>
                  <a:pt x="104" y="351"/>
                </a:lnTo>
                <a:lnTo>
                  <a:pt x="104" y="350"/>
                </a:lnTo>
                <a:lnTo>
                  <a:pt x="105" y="350"/>
                </a:lnTo>
                <a:lnTo>
                  <a:pt x="106" y="349"/>
                </a:lnTo>
                <a:lnTo>
                  <a:pt x="107" y="348"/>
                </a:lnTo>
                <a:lnTo>
                  <a:pt x="110" y="343"/>
                </a:lnTo>
                <a:lnTo>
                  <a:pt x="111" y="341"/>
                </a:lnTo>
                <a:lnTo>
                  <a:pt x="111" y="340"/>
                </a:lnTo>
                <a:lnTo>
                  <a:pt x="115" y="333"/>
                </a:lnTo>
                <a:lnTo>
                  <a:pt x="116" y="331"/>
                </a:lnTo>
                <a:lnTo>
                  <a:pt x="117" y="329"/>
                </a:lnTo>
                <a:lnTo>
                  <a:pt x="118" y="325"/>
                </a:lnTo>
                <a:lnTo>
                  <a:pt x="119" y="324"/>
                </a:lnTo>
                <a:lnTo>
                  <a:pt x="119" y="321"/>
                </a:lnTo>
                <a:lnTo>
                  <a:pt x="120" y="318"/>
                </a:lnTo>
                <a:lnTo>
                  <a:pt x="120" y="316"/>
                </a:lnTo>
                <a:lnTo>
                  <a:pt x="120" y="315"/>
                </a:lnTo>
                <a:lnTo>
                  <a:pt x="121" y="313"/>
                </a:lnTo>
                <a:lnTo>
                  <a:pt x="123" y="3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 273">
            <a:extLst>
              <a:ext uri="{FF2B5EF4-FFF2-40B4-BE49-F238E27FC236}">
                <a16:creationId xmlns:a16="http://schemas.microsoft.com/office/drawing/2014/main" id="{A4F6EA75-4F6B-4787-B71F-E5878E3A0297}"/>
              </a:ext>
            </a:extLst>
          </p:cNvPr>
          <p:cNvSpPr>
            <a:spLocks/>
          </p:cNvSpPr>
          <p:nvPr/>
        </p:nvSpPr>
        <p:spPr bwMode="auto">
          <a:xfrm>
            <a:off x="7320068" y="2988457"/>
            <a:ext cx="925651" cy="638421"/>
          </a:xfrm>
          <a:custGeom>
            <a:avLst/>
            <a:gdLst>
              <a:gd name="T0" fmla="*/ 5 w 487"/>
              <a:gd name="T1" fmla="*/ 300 h 307"/>
              <a:gd name="T2" fmla="*/ 12 w 487"/>
              <a:gd name="T3" fmla="*/ 297 h 307"/>
              <a:gd name="T4" fmla="*/ 22 w 487"/>
              <a:gd name="T5" fmla="*/ 302 h 307"/>
              <a:gd name="T6" fmla="*/ 30 w 487"/>
              <a:gd name="T7" fmla="*/ 304 h 307"/>
              <a:gd name="T8" fmla="*/ 35 w 487"/>
              <a:gd name="T9" fmla="*/ 301 h 307"/>
              <a:gd name="T10" fmla="*/ 41 w 487"/>
              <a:gd name="T11" fmla="*/ 289 h 307"/>
              <a:gd name="T12" fmla="*/ 55 w 487"/>
              <a:gd name="T13" fmla="*/ 278 h 307"/>
              <a:gd name="T14" fmla="*/ 60 w 487"/>
              <a:gd name="T15" fmla="*/ 265 h 307"/>
              <a:gd name="T16" fmla="*/ 63 w 487"/>
              <a:gd name="T17" fmla="*/ 263 h 307"/>
              <a:gd name="T18" fmla="*/ 71 w 487"/>
              <a:gd name="T19" fmla="*/ 269 h 307"/>
              <a:gd name="T20" fmla="*/ 82 w 487"/>
              <a:gd name="T21" fmla="*/ 283 h 307"/>
              <a:gd name="T22" fmla="*/ 93 w 487"/>
              <a:gd name="T23" fmla="*/ 288 h 307"/>
              <a:gd name="T24" fmla="*/ 99 w 487"/>
              <a:gd name="T25" fmla="*/ 286 h 307"/>
              <a:gd name="T26" fmla="*/ 118 w 487"/>
              <a:gd name="T27" fmla="*/ 268 h 307"/>
              <a:gd name="T28" fmla="*/ 121 w 487"/>
              <a:gd name="T29" fmla="*/ 259 h 307"/>
              <a:gd name="T30" fmla="*/ 127 w 487"/>
              <a:gd name="T31" fmla="*/ 247 h 307"/>
              <a:gd name="T32" fmla="*/ 128 w 487"/>
              <a:gd name="T33" fmla="*/ 238 h 307"/>
              <a:gd name="T34" fmla="*/ 128 w 487"/>
              <a:gd name="T35" fmla="*/ 226 h 307"/>
              <a:gd name="T36" fmla="*/ 134 w 487"/>
              <a:gd name="T37" fmla="*/ 221 h 307"/>
              <a:gd name="T38" fmla="*/ 153 w 487"/>
              <a:gd name="T39" fmla="*/ 220 h 307"/>
              <a:gd name="T40" fmla="*/ 166 w 487"/>
              <a:gd name="T41" fmla="*/ 215 h 307"/>
              <a:gd name="T42" fmla="*/ 178 w 487"/>
              <a:gd name="T43" fmla="*/ 210 h 307"/>
              <a:gd name="T44" fmla="*/ 190 w 487"/>
              <a:gd name="T45" fmla="*/ 214 h 307"/>
              <a:gd name="T46" fmla="*/ 198 w 487"/>
              <a:gd name="T47" fmla="*/ 215 h 307"/>
              <a:gd name="T48" fmla="*/ 208 w 487"/>
              <a:gd name="T49" fmla="*/ 210 h 307"/>
              <a:gd name="T50" fmla="*/ 229 w 487"/>
              <a:gd name="T51" fmla="*/ 208 h 307"/>
              <a:gd name="T52" fmla="*/ 246 w 487"/>
              <a:gd name="T53" fmla="*/ 212 h 307"/>
              <a:gd name="T54" fmla="*/ 260 w 487"/>
              <a:gd name="T55" fmla="*/ 211 h 307"/>
              <a:gd name="T56" fmla="*/ 272 w 487"/>
              <a:gd name="T57" fmla="*/ 204 h 307"/>
              <a:gd name="T58" fmla="*/ 277 w 487"/>
              <a:gd name="T59" fmla="*/ 198 h 307"/>
              <a:gd name="T60" fmla="*/ 278 w 487"/>
              <a:gd name="T61" fmla="*/ 183 h 307"/>
              <a:gd name="T62" fmla="*/ 281 w 487"/>
              <a:gd name="T63" fmla="*/ 175 h 307"/>
              <a:gd name="T64" fmla="*/ 290 w 487"/>
              <a:gd name="T65" fmla="*/ 171 h 307"/>
              <a:gd name="T66" fmla="*/ 304 w 487"/>
              <a:gd name="T67" fmla="*/ 162 h 307"/>
              <a:gd name="T68" fmla="*/ 317 w 487"/>
              <a:gd name="T69" fmla="*/ 156 h 307"/>
              <a:gd name="T70" fmla="*/ 333 w 487"/>
              <a:gd name="T71" fmla="*/ 160 h 307"/>
              <a:gd name="T72" fmla="*/ 349 w 487"/>
              <a:gd name="T73" fmla="*/ 158 h 307"/>
              <a:gd name="T74" fmla="*/ 366 w 487"/>
              <a:gd name="T75" fmla="*/ 148 h 307"/>
              <a:gd name="T76" fmla="*/ 405 w 487"/>
              <a:gd name="T77" fmla="*/ 132 h 307"/>
              <a:gd name="T78" fmla="*/ 416 w 487"/>
              <a:gd name="T79" fmla="*/ 123 h 307"/>
              <a:gd name="T80" fmla="*/ 425 w 487"/>
              <a:gd name="T81" fmla="*/ 111 h 307"/>
              <a:gd name="T82" fmla="*/ 436 w 487"/>
              <a:gd name="T83" fmla="*/ 108 h 307"/>
              <a:gd name="T84" fmla="*/ 450 w 487"/>
              <a:gd name="T85" fmla="*/ 109 h 307"/>
              <a:gd name="T86" fmla="*/ 468 w 487"/>
              <a:gd name="T87" fmla="*/ 105 h 307"/>
              <a:gd name="T88" fmla="*/ 480 w 487"/>
              <a:gd name="T89" fmla="*/ 101 h 307"/>
              <a:gd name="T90" fmla="*/ 486 w 487"/>
              <a:gd name="T91" fmla="*/ 89 h 307"/>
              <a:gd name="T92" fmla="*/ 487 w 487"/>
              <a:gd name="T93" fmla="*/ 81 h 307"/>
              <a:gd name="T94" fmla="*/ 481 w 487"/>
              <a:gd name="T95" fmla="*/ 77 h 307"/>
              <a:gd name="T96" fmla="*/ 458 w 487"/>
              <a:gd name="T97" fmla="*/ 67 h 307"/>
              <a:gd name="T98" fmla="*/ 454 w 487"/>
              <a:gd name="T99" fmla="*/ 61 h 307"/>
              <a:gd name="T100" fmla="*/ 454 w 487"/>
              <a:gd name="T101" fmla="*/ 56 h 307"/>
              <a:gd name="T102" fmla="*/ 455 w 487"/>
              <a:gd name="T103" fmla="*/ 50 h 307"/>
              <a:gd name="T104" fmla="*/ 445 w 487"/>
              <a:gd name="T105" fmla="*/ 48 h 307"/>
              <a:gd name="T106" fmla="*/ 436 w 487"/>
              <a:gd name="T107" fmla="*/ 45 h 307"/>
              <a:gd name="T108" fmla="*/ 433 w 487"/>
              <a:gd name="T109" fmla="*/ 38 h 307"/>
              <a:gd name="T110" fmla="*/ 437 w 487"/>
              <a:gd name="T111" fmla="*/ 26 h 307"/>
              <a:gd name="T112" fmla="*/ 441 w 487"/>
              <a:gd name="T113" fmla="*/ 12 h 307"/>
              <a:gd name="T114" fmla="*/ 450 w 487"/>
              <a:gd name="T115" fmla="*/ 0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87" h="307">
                <a:moveTo>
                  <a:pt x="0" y="307"/>
                </a:moveTo>
                <a:lnTo>
                  <a:pt x="1" y="305"/>
                </a:lnTo>
                <a:lnTo>
                  <a:pt x="2" y="304"/>
                </a:lnTo>
                <a:lnTo>
                  <a:pt x="2" y="303"/>
                </a:lnTo>
                <a:lnTo>
                  <a:pt x="3" y="302"/>
                </a:lnTo>
                <a:lnTo>
                  <a:pt x="4" y="301"/>
                </a:lnTo>
                <a:lnTo>
                  <a:pt x="5" y="300"/>
                </a:lnTo>
                <a:lnTo>
                  <a:pt x="6" y="299"/>
                </a:lnTo>
                <a:lnTo>
                  <a:pt x="7" y="299"/>
                </a:lnTo>
                <a:lnTo>
                  <a:pt x="8" y="298"/>
                </a:lnTo>
                <a:lnTo>
                  <a:pt x="9" y="298"/>
                </a:lnTo>
                <a:lnTo>
                  <a:pt x="10" y="297"/>
                </a:lnTo>
                <a:lnTo>
                  <a:pt x="11" y="297"/>
                </a:lnTo>
                <a:lnTo>
                  <a:pt x="12" y="297"/>
                </a:lnTo>
                <a:lnTo>
                  <a:pt x="13" y="297"/>
                </a:lnTo>
                <a:lnTo>
                  <a:pt x="14" y="298"/>
                </a:lnTo>
                <a:lnTo>
                  <a:pt x="16" y="298"/>
                </a:lnTo>
                <a:lnTo>
                  <a:pt x="17" y="299"/>
                </a:lnTo>
                <a:lnTo>
                  <a:pt x="18" y="299"/>
                </a:lnTo>
                <a:lnTo>
                  <a:pt x="19" y="300"/>
                </a:lnTo>
                <a:lnTo>
                  <a:pt x="22" y="302"/>
                </a:lnTo>
                <a:lnTo>
                  <a:pt x="23" y="303"/>
                </a:lnTo>
                <a:lnTo>
                  <a:pt x="25" y="303"/>
                </a:lnTo>
                <a:lnTo>
                  <a:pt x="26" y="304"/>
                </a:lnTo>
                <a:lnTo>
                  <a:pt x="27" y="304"/>
                </a:lnTo>
                <a:lnTo>
                  <a:pt x="28" y="304"/>
                </a:lnTo>
                <a:lnTo>
                  <a:pt x="29" y="304"/>
                </a:lnTo>
                <a:lnTo>
                  <a:pt x="30" y="304"/>
                </a:lnTo>
                <a:lnTo>
                  <a:pt x="31" y="303"/>
                </a:lnTo>
                <a:lnTo>
                  <a:pt x="32" y="303"/>
                </a:lnTo>
                <a:lnTo>
                  <a:pt x="33" y="303"/>
                </a:lnTo>
                <a:lnTo>
                  <a:pt x="33" y="302"/>
                </a:lnTo>
                <a:lnTo>
                  <a:pt x="34" y="302"/>
                </a:lnTo>
                <a:lnTo>
                  <a:pt x="35" y="301"/>
                </a:lnTo>
                <a:lnTo>
                  <a:pt x="35" y="301"/>
                </a:lnTo>
                <a:lnTo>
                  <a:pt x="36" y="300"/>
                </a:lnTo>
                <a:lnTo>
                  <a:pt x="36" y="298"/>
                </a:lnTo>
                <a:lnTo>
                  <a:pt x="38" y="294"/>
                </a:lnTo>
                <a:lnTo>
                  <a:pt x="39" y="292"/>
                </a:lnTo>
                <a:lnTo>
                  <a:pt x="40" y="290"/>
                </a:lnTo>
                <a:lnTo>
                  <a:pt x="40" y="289"/>
                </a:lnTo>
                <a:lnTo>
                  <a:pt x="41" y="289"/>
                </a:lnTo>
                <a:lnTo>
                  <a:pt x="42" y="287"/>
                </a:lnTo>
                <a:lnTo>
                  <a:pt x="45" y="285"/>
                </a:lnTo>
                <a:lnTo>
                  <a:pt x="47" y="284"/>
                </a:lnTo>
                <a:lnTo>
                  <a:pt x="50" y="281"/>
                </a:lnTo>
                <a:lnTo>
                  <a:pt x="53" y="279"/>
                </a:lnTo>
                <a:lnTo>
                  <a:pt x="54" y="278"/>
                </a:lnTo>
                <a:lnTo>
                  <a:pt x="55" y="278"/>
                </a:lnTo>
                <a:lnTo>
                  <a:pt x="55" y="277"/>
                </a:lnTo>
                <a:lnTo>
                  <a:pt x="56" y="276"/>
                </a:lnTo>
                <a:lnTo>
                  <a:pt x="57" y="274"/>
                </a:lnTo>
                <a:lnTo>
                  <a:pt x="58" y="272"/>
                </a:lnTo>
                <a:lnTo>
                  <a:pt x="59" y="270"/>
                </a:lnTo>
                <a:lnTo>
                  <a:pt x="60" y="266"/>
                </a:lnTo>
                <a:lnTo>
                  <a:pt x="60" y="265"/>
                </a:lnTo>
                <a:lnTo>
                  <a:pt x="61" y="264"/>
                </a:lnTo>
                <a:lnTo>
                  <a:pt x="61" y="264"/>
                </a:lnTo>
                <a:lnTo>
                  <a:pt x="61" y="263"/>
                </a:lnTo>
                <a:lnTo>
                  <a:pt x="61" y="263"/>
                </a:lnTo>
                <a:lnTo>
                  <a:pt x="62" y="263"/>
                </a:lnTo>
                <a:lnTo>
                  <a:pt x="63" y="263"/>
                </a:lnTo>
                <a:lnTo>
                  <a:pt x="63" y="263"/>
                </a:lnTo>
                <a:lnTo>
                  <a:pt x="64" y="263"/>
                </a:lnTo>
                <a:lnTo>
                  <a:pt x="65" y="264"/>
                </a:lnTo>
                <a:lnTo>
                  <a:pt x="66" y="264"/>
                </a:lnTo>
                <a:lnTo>
                  <a:pt x="66" y="265"/>
                </a:lnTo>
                <a:lnTo>
                  <a:pt x="67" y="265"/>
                </a:lnTo>
                <a:lnTo>
                  <a:pt x="69" y="267"/>
                </a:lnTo>
                <a:lnTo>
                  <a:pt x="71" y="269"/>
                </a:lnTo>
                <a:lnTo>
                  <a:pt x="72" y="271"/>
                </a:lnTo>
                <a:lnTo>
                  <a:pt x="75" y="276"/>
                </a:lnTo>
                <a:lnTo>
                  <a:pt x="76" y="278"/>
                </a:lnTo>
                <a:lnTo>
                  <a:pt x="77" y="279"/>
                </a:lnTo>
                <a:lnTo>
                  <a:pt x="78" y="281"/>
                </a:lnTo>
                <a:lnTo>
                  <a:pt x="80" y="282"/>
                </a:lnTo>
                <a:lnTo>
                  <a:pt x="82" y="283"/>
                </a:lnTo>
                <a:lnTo>
                  <a:pt x="84" y="285"/>
                </a:lnTo>
                <a:lnTo>
                  <a:pt x="85" y="285"/>
                </a:lnTo>
                <a:lnTo>
                  <a:pt x="86" y="286"/>
                </a:lnTo>
                <a:lnTo>
                  <a:pt x="89" y="287"/>
                </a:lnTo>
                <a:lnTo>
                  <a:pt x="91" y="288"/>
                </a:lnTo>
                <a:lnTo>
                  <a:pt x="92" y="288"/>
                </a:lnTo>
                <a:lnTo>
                  <a:pt x="93" y="288"/>
                </a:lnTo>
                <a:lnTo>
                  <a:pt x="94" y="288"/>
                </a:lnTo>
                <a:lnTo>
                  <a:pt x="95" y="288"/>
                </a:lnTo>
                <a:lnTo>
                  <a:pt x="96" y="288"/>
                </a:lnTo>
                <a:lnTo>
                  <a:pt x="96" y="288"/>
                </a:lnTo>
                <a:lnTo>
                  <a:pt x="97" y="287"/>
                </a:lnTo>
                <a:lnTo>
                  <a:pt x="98" y="287"/>
                </a:lnTo>
                <a:lnTo>
                  <a:pt x="99" y="286"/>
                </a:lnTo>
                <a:lnTo>
                  <a:pt x="100" y="286"/>
                </a:lnTo>
                <a:lnTo>
                  <a:pt x="102" y="285"/>
                </a:lnTo>
                <a:lnTo>
                  <a:pt x="104" y="283"/>
                </a:lnTo>
                <a:lnTo>
                  <a:pt x="108" y="278"/>
                </a:lnTo>
                <a:lnTo>
                  <a:pt x="112" y="274"/>
                </a:lnTo>
                <a:lnTo>
                  <a:pt x="117" y="269"/>
                </a:lnTo>
                <a:lnTo>
                  <a:pt x="118" y="268"/>
                </a:lnTo>
                <a:lnTo>
                  <a:pt x="119" y="267"/>
                </a:lnTo>
                <a:lnTo>
                  <a:pt x="119" y="266"/>
                </a:lnTo>
                <a:lnTo>
                  <a:pt x="120" y="265"/>
                </a:lnTo>
                <a:lnTo>
                  <a:pt x="120" y="263"/>
                </a:lnTo>
                <a:lnTo>
                  <a:pt x="121" y="262"/>
                </a:lnTo>
                <a:lnTo>
                  <a:pt x="121" y="260"/>
                </a:lnTo>
                <a:lnTo>
                  <a:pt x="121" y="259"/>
                </a:lnTo>
                <a:lnTo>
                  <a:pt x="121" y="258"/>
                </a:lnTo>
                <a:lnTo>
                  <a:pt x="121" y="257"/>
                </a:lnTo>
                <a:lnTo>
                  <a:pt x="122" y="255"/>
                </a:lnTo>
                <a:lnTo>
                  <a:pt x="123" y="253"/>
                </a:lnTo>
                <a:lnTo>
                  <a:pt x="124" y="251"/>
                </a:lnTo>
                <a:lnTo>
                  <a:pt x="126" y="248"/>
                </a:lnTo>
                <a:lnTo>
                  <a:pt x="127" y="247"/>
                </a:lnTo>
                <a:lnTo>
                  <a:pt x="127" y="246"/>
                </a:lnTo>
                <a:lnTo>
                  <a:pt x="127" y="245"/>
                </a:lnTo>
                <a:lnTo>
                  <a:pt x="128" y="244"/>
                </a:lnTo>
                <a:lnTo>
                  <a:pt x="128" y="243"/>
                </a:lnTo>
                <a:lnTo>
                  <a:pt x="128" y="242"/>
                </a:lnTo>
                <a:lnTo>
                  <a:pt x="128" y="241"/>
                </a:lnTo>
                <a:lnTo>
                  <a:pt x="128" y="238"/>
                </a:lnTo>
                <a:lnTo>
                  <a:pt x="128" y="236"/>
                </a:lnTo>
                <a:lnTo>
                  <a:pt x="127" y="232"/>
                </a:lnTo>
                <a:lnTo>
                  <a:pt x="127" y="230"/>
                </a:lnTo>
                <a:lnTo>
                  <a:pt x="127" y="229"/>
                </a:lnTo>
                <a:lnTo>
                  <a:pt x="127" y="227"/>
                </a:lnTo>
                <a:lnTo>
                  <a:pt x="128" y="227"/>
                </a:lnTo>
                <a:lnTo>
                  <a:pt x="128" y="226"/>
                </a:lnTo>
                <a:lnTo>
                  <a:pt x="129" y="225"/>
                </a:lnTo>
                <a:lnTo>
                  <a:pt x="129" y="224"/>
                </a:lnTo>
                <a:lnTo>
                  <a:pt x="130" y="224"/>
                </a:lnTo>
                <a:lnTo>
                  <a:pt x="131" y="223"/>
                </a:lnTo>
                <a:lnTo>
                  <a:pt x="132" y="222"/>
                </a:lnTo>
                <a:lnTo>
                  <a:pt x="133" y="222"/>
                </a:lnTo>
                <a:lnTo>
                  <a:pt x="134" y="221"/>
                </a:lnTo>
                <a:lnTo>
                  <a:pt x="136" y="221"/>
                </a:lnTo>
                <a:lnTo>
                  <a:pt x="137" y="220"/>
                </a:lnTo>
                <a:lnTo>
                  <a:pt x="139" y="220"/>
                </a:lnTo>
                <a:lnTo>
                  <a:pt x="140" y="220"/>
                </a:lnTo>
                <a:lnTo>
                  <a:pt x="143" y="220"/>
                </a:lnTo>
                <a:lnTo>
                  <a:pt x="150" y="220"/>
                </a:lnTo>
                <a:lnTo>
                  <a:pt x="153" y="220"/>
                </a:lnTo>
                <a:lnTo>
                  <a:pt x="155" y="219"/>
                </a:lnTo>
                <a:lnTo>
                  <a:pt x="158" y="219"/>
                </a:lnTo>
                <a:lnTo>
                  <a:pt x="160" y="218"/>
                </a:lnTo>
                <a:lnTo>
                  <a:pt x="161" y="218"/>
                </a:lnTo>
                <a:lnTo>
                  <a:pt x="162" y="217"/>
                </a:lnTo>
                <a:lnTo>
                  <a:pt x="164" y="216"/>
                </a:lnTo>
                <a:lnTo>
                  <a:pt x="166" y="215"/>
                </a:lnTo>
                <a:lnTo>
                  <a:pt x="168" y="214"/>
                </a:lnTo>
                <a:lnTo>
                  <a:pt x="170" y="212"/>
                </a:lnTo>
                <a:lnTo>
                  <a:pt x="172" y="212"/>
                </a:lnTo>
                <a:lnTo>
                  <a:pt x="173" y="211"/>
                </a:lnTo>
                <a:lnTo>
                  <a:pt x="175" y="211"/>
                </a:lnTo>
                <a:lnTo>
                  <a:pt x="176" y="210"/>
                </a:lnTo>
                <a:lnTo>
                  <a:pt x="178" y="210"/>
                </a:lnTo>
                <a:lnTo>
                  <a:pt x="179" y="210"/>
                </a:lnTo>
                <a:lnTo>
                  <a:pt x="180" y="210"/>
                </a:lnTo>
                <a:lnTo>
                  <a:pt x="182" y="210"/>
                </a:lnTo>
                <a:lnTo>
                  <a:pt x="183" y="211"/>
                </a:lnTo>
                <a:lnTo>
                  <a:pt x="184" y="211"/>
                </a:lnTo>
                <a:lnTo>
                  <a:pt x="185" y="211"/>
                </a:lnTo>
                <a:lnTo>
                  <a:pt x="190" y="214"/>
                </a:lnTo>
                <a:lnTo>
                  <a:pt x="192" y="214"/>
                </a:lnTo>
                <a:lnTo>
                  <a:pt x="193" y="215"/>
                </a:lnTo>
                <a:lnTo>
                  <a:pt x="194" y="215"/>
                </a:lnTo>
                <a:lnTo>
                  <a:pt x="195" y="215"/>
                </a:lnTo>
                <a:lnTo>
                  <a:pt x="196" y="215"/>
                </a:lnTo>
                <a:lnTo>
                  <a:pt x="197" y="215"/>
                </a:lnTo>
                <a:lnTo>
                  <a:pt x="198" y="215"/>
                </a:lnTo>
                <a:lnTo>
                  <a:pt x="198" y="215"/>
                </a:lnTo>
                <a:lnTo>
                  <a:pt x="199" y="215"/>
                </a:lnTo>
                <a:lnTo>
                  <a:pt x="200" y="214"/>
                </a:lnTo>
                <a:lnTo>
                  <a:pt x="202" y="213"/>
                </a:lnTo>
                <a:lnTo>
                  <a:pt x="205" y="212"/>
                </a:lnTo>
                <a:lnTo>
                  <a:pt x="207" y="211"/>
                </a:lnTo>
                <a:lnTo>
                  <a:pt x="208" y="210"/>
                </a:lnTo>
                <a:lnTo>
                  <a:pt x="210" y="210"/>
                </a:lnTo>
                <a:lnTo>
                  <a:pt x="215" y="210"/>
                </a:lnTo>
                <a:lnTo>
                  <a:pt x="221" y="208"/>
                </a:lnTo>
                <a:lnTo>
                  <a:pt x="222" y="208"/>
                </a:lnTo>
                <a:lnTo>
                  <a:pt x="224" y="208"/>
                </a:lnTo>
                <a:lnTo>
                  <a:pt x="227" y="208"/>
                </a:lnTo>
                <a:lnTo>
                  <a:pt x="229" y="208"/>
                </a:lnTo>
                <a:lnTo>
                  <a:pt x="232" y="208"/>
                </a:lnTo>
                <a:lnTo>
                  <a:pt x="234" y="208"/>
                </a:lnTo>
                <a:lnTo>
                  <a:pt x="237" y="209"/>
                </a:lnTo>
                <a:lnTo>
                  <a:pt x="239" y="209"/>
                </a:lnTo>
                <a:lnTo>
                  <a:pt x="241" y="210"/>
                </a:lnTo>
                <a:lnTo>
                  <a:pt x="245" y="211"/>
                </a:lnTo>
                <a:lnTo>
                  <a:pt x="246" y="212"/>
                </a:lnTo>
                <a:lnTo>
                  <a:pt x="248" y="212"/>
                </a:lnTo>
                <a:lnTo>
                  <a:pt x="250" y="212"/>
                </a:lnTo>
                <a:lnTo>
                  <a:pt x="252" y="212"/>
                </a:lnTo>
                <a:lnTo>
                  <a:pt x="254" y="212"/>
                </a:lnTo>
                <a:lnTo>
                  <a:pt x="256" y="212"/>
                </a:lnTo>
                <a:lnTo>
                  <a:pt x="258" y="212"/>
                </a:lnTo>
                <a:lnTo>
                  <a:pt x="260" y="211"/>
                </a:lnTo>
                <a:lnTo>
                  <a:pt x="261" y="210"/>
                </a:lnTo>
                <a:lnTo>
                  <a:pt x="262" y="209"/>
                </a:lnTo>
                <a:lnTo>
                  <a:pt x="265" y="207"/>
                </a:lnTo>
                <a:lnTo>
                  <a:pt x="266" y="206"/>
                </a:lnTo>
                <a:lnTo>
                  <a:pt x="268" y="205"/>
                </a:lnTo>
                <a:lnTo>
                  <a:pt x="271" y="204"/>
                </a:lnTo>
                <a:lnTo>
                  <a:pt x="272" y="204"/>
                </a:lnTo>
                <a:lnTo>
                  <a:pt x="273" y="203"/>
                </a:lnTo>
                <a:lnTo>
                  <a:pt x="274" y="202"/>
                </a:lnTo>
                <a:lnTo>
                  <a:pt x="275" y="202"/>
                </a:lnTo>
                <a:lnTo>
                  <a:pt x="276" y="201"/>
                </a:lnTo>
                <a:lnTo>
                  <a:pt x="276" y="200"/>
                </a:lnTo>
                <a:lnTo>
                  <a:pt x="277" y="199"/>
                </a:lnTo>
                <a:lnTo>
                  <a:pt x="277" y="198"/>
                </a:lnTo>
                <a:lnTo>
                  <a:pt x="277" y="197"/>
                </a:lnTo>
                <a:lnTo>
                  <a:pt x="278" y="195"/>
                </a:lnTo>
                <a:lnTo>
                  <a:pt x="278" y="193"/>
                </a:lnTo>
                <a:lnTo>
                  <a:pt x="277" y="189"/>
                </a:lnTo>
                <a:lnTo>
                  <a:pt x="277" y="187"/>
                </a:lnTo>
                <a:lnTo>
                  <a:pt x="277" y="185"/>
                </a:lnTo>
                <a:lnTo>
                  <a:pt x="278" y="183"/>
                </a:lnTo>
                <a:lnTo>
                  <a:pt x="278" y="182"/>
                </a:lnTo>
                <a:lnTo>
                  <a:pt x="278" y="180"/>
                </a:lnTo>
                <a:lnTo>
                  <a:pt x="279" y="179"/>
                </a:lnTo>
                <a:lnTo>
                  <a:pt x="279" y="178"/>
                </a:lnTo>
                <a:lnTo>
                  <a:pt x="280" y="176"/>
                </a:lnTo>
                <a:lnTo>
                  <a:pt x="280" y="175"/>
                </a:lnTo>
                <a:lnTo>
                  <a:pt x="281" y="175"/>
                </a:lnTo>
                <a:lnTo>
                  <a:pt x="282" y="174"/>
                </a:lnTo>
                <a:lnTo>
                  <a:pt x="282" y="173"/>
                </a:lnTo>
                <a:lnTo>
                  <a:pt x="283" y="173"/>
                </a:lnTo>
                <a:lnTo>
                  <a:pt x="284" y="173"/>
                </a:lnTo>
                <a:lnTo>
                  <a:pt x="284" y="172"/>
                </a:lnTo>
                <a:lnTo>
                  <a:pt x="286" y="172"/>
                </a:lnTo>
                <a:lnTo>
                  <a:pt x="290" y="171"/>
                </a:lnTo>
                <a:lnTo>
                  <a:pt x="292" y="171"/>
                </a:lnTo>
                <a:lnTo>
                  <a:pt x="294" y="170"/>
                </a:lnTo>
                <a:lnTo>
                  <a:pt x="296" y="169"/>
                </a:lnTo>
                <a:lnTo>
                  <a:pt x="298" y="168"/>
                </a:lnTo>
                <a:lnTo>
                  <a:pt x="300" y="166"/>
                </a:lnTo>
                <a:lnTo>
                  <a:pt x="302" y="165"/>
                </a:lnTo>
                <a:lnTo>
                  <a:pt x="304" y="162"/>
                </a:lnTo>
                <a:lnTo>
                  <a:pt x="306" y="161"/>
                </a:lnTo>
                <a:lnTo>
                  <a:pt x="307" y="160"/>
                </a:lnTo>
                <a:lnTo>
                  <a:pt x="309" y="159"/>
                </a:lnTo>
                <a:lnTo>
                  <a:pt x="312" y="158"/>
                </a:lnTo>
                <a:lnTo>
                  <a:pt x="314" y="157"/>
                </a:lnTo>
                <a:lnTo>
                  <a:pt x="316" y="156"/>
                </a:lnTo>
                <a:lnTo>
                  <a:pt x="317" y="156"/>
                </a:lnTo>
                <a:lnTo>
                  <a:pt x="318" y="156"/>
                </a:lnTo>
                <a:lnTo>
                  <a:pt x="319" y="156"/>
                </a:lnTo>
                <a:lnTo>
                  <a:pt x="321" y="157"/>
                </a:lnTo>
                <a:lnTo>
                  <a:pt x="322" y="157"/>
                </a:lnTo>
                <a:lnTo>
                  <a:pt x="326" y="158"/>
                </a:lnTo>
                <a:lnTo>
                  <a:pt x="330" y="159"/>
                </a:lnTo>
                <a:lnTo>
                  <a:pt x="333" y="160"/>
                </a:lnTo>
                <a:lnTo>
                  <a:pt x="335" y="160"/>
                </a:lnTo>
                <a:lnTo>
                  <a:pt x="336" y="160"/>
                </a:lnTo>
                <a:lnTo>
                  <a:pt x="337" y="160"/>
                </a:lnTo>
                <a:lnTo>
                  <a:pt x="342" y="159"/>
                </a:lnTo>
                <a:lnTo>
                  <a:pt x="346" y="159"/>
                </a:lnTo>
                <a:lnTo>
                  <a:pt x="347" y="158"/>
                </a:lnTo>
                <a:lnTo>
                  <a:pt x="349" y="158"/>
                </a:lnTo>
                <a:lnTo>
                  <a:pt x="351" y="157"/>
                </a:lnTo>
                <a:lnTo>
                  <a:pt x="352" y="156"/>
                </a:lnTo>
                <a:lnTo>
                  <a:pt x="354" y="155"/>
                </a:lnTo>
                <a:lnTo>
                  <a:pt x="358" y="152"/>
                </a:lnTo>
                <a:lnTo>
                  <a:pt x="360" y="151"/>
                </a:lnTo>
                <a:lnTo>
                  <a:pt x="362" y="150"/>
                </a:lnTo>
                <a:lnTo>
                  <a:pt x="366" y="148"/>
                </a:lnTo>
                <a:lnTo>
                  <a:pt x="377" y="143"/>
                </a:lnTo>
                <a:lnTo>
                  <a:pt x="384" y="140"/>
                </a:lnTo>
                <a:lnTo>
                  <a:pt x="388" y="138"/>
                </a:lnTo>
                <a:lnTo>
                  <a:pt x="391" y="137"/>
                </a:lnTo>
                <a:lnTo>
                  <a:pt x="398" y="134"/>
                </a:lnTo>
                <a:lnTo>
                  <a:pt x="401" y="133"/>
                </a:lnTo>
                <a:lnTo>
                  <a:pt x="405" y="132"/>
                </a:lnTo>
                <a:lnTo>
                  <a:pt x="406" y="131"/>
                </a:lnTo>
                <a:lnTo>
                  <a:pt x="407" y="130"/>
                </a:lnTo>
                <a:lnTo>
                  <a:pt x="410" y="129"/>
                </a:lnTo>
                <a:lnTo>
                  <a:pt x="412" y="127"/>
                </a:lnTo>
                <a:lnTo>
                  <a:pt x="414" y="126"/>
                </a:lnTo>
                <a:lnTo>
                  <a:pt x="415" y="124"/>
                </a:lnTo>
                <a:lnTo>
                  <a:pt x="416" y="123"/>
                </a:lnTo>
                <a:lnTo>
                  <a:pt x="417" y="121"/>
                </a:lnTo>
                <a:lnTo>
                  <a:pt x="418" y="119"/>
                </a:lnTo>
                <a:lnTo>
                  <a:pt x="421" y="115"/>
                </a:lnTo>
                <a:lnTo>
                  <a:pt x="422" y="114"/>
                </a:lnTo>
                <a:lnTo>
                  <a:pt x="423" y="112"/>
                </a:lnTo>
                <a:lnTo>
                  <a:pt x="423" y="112"/>
                </a:lnTo>
                <a:lnTo>
                  <a:pt x="425" y="111"/>
                </a:lnTo>
                <a:lnTo>
                  <a:pt x="426" y="110"/>
                </a:lnTo>
                <a:lnTo>
                  <a:pt x="427" y="109"/>
                </a:lnTo>
                <a:lnTo>
                  <a:pt x="430" y="109"/>
                </a:lnTo>
                <a:lnTo>
                  <a:pt x="432" y="108"/>
                </a:lnTo>
                <a:lnTo>
                  <a:pt x="433" y="108"/>
                </a:lnTo>
                <a:lnTo>
                  <a:pt x="435" y="108"/>
                </a:lnTo>
                <a:lnTo>
                  <a:pt x="436" y="108"/>
                </a:lnTo>
                <a:lnTo>
                  <a:pt x="438" y="108"/>
                </a:lnTo>
                <a:lnTo>
                  <a:pt x="440" y="108"/>
                </a:lnTo>
                <a:lnTo>
                  <a:pt x="444" y="109"/>
                </a:lnTo>
                <a:lnTo>
                  <a:pt x="445" y="109"/>
                </a:lnTo>
                <a:lnTo>
                  <a:pt x="447" y="109"/>
                </a:lnTo>
                <a:lnTo>
                  <a:pt x="449" y="109"/>
                </a:lnTo>
                <a:lnTo>
                  <a:pt x="450" y="109"/>
                </a:lnTo>
                <a:lnTo>
                  <a:pt x="452" y="109"/>
                </a:lnTo>
                <a:lnTo>
                  <a:pt x="454" y="109"/>
                </a:lnTo>
                <a:lnTo>
                  <a:pt x="458" y="108"/>
                </a:lnTo>
                <a:lnTo>
                  <a:pt x="460" y="108"/>
                </a:lnTo>
                <a:lnTo>
                  <a:pt x="462" y="107"/>
                </a:lnTo>
                <a:lnTo>
                  <a:pt x="465" y="106"/>
                </a:lnTo>
                <a:lnTo>
                  <a:pt x="468" y="105"/>
                </a:lnTo>
                <a:lnTo>
                  <a:pt x="469" y="104"/>
                </a:lnTo>
                <a:lnTo>
                  <a:pt x="471" y="104"/>
                </a:lnTo>
                <a:lnTo>
                  <a:pt x="476" y="103"/>
                </a:lnTo>
                <a:lnTo>
                  <a:pt x="477" y="102"/>
                </a:lnTo>
                <a:lnTo>
                  <a:pt x="479" y="102"/>
                </a:lnTo>
                <a:lnTo>
                  <a:pt x="480" y="101"/>
                </a:lnTo>
                <a:lnTo>
                  <a:pt x="480" y="101"/>
                </a:lnTo>
                <a:lnTo>
                  <a:pt x="481" y="100"/>
                </a:lnTo>
                <a:lnTo>
                  <a:pt x="482" y="100"/>
                </a:lnTo>
                <a:lnTo>
                  <a:pt x="483" y="98"/>
                </a:lnTo>
                <a:lnTo>
                  <a:pt x="483" y="97"/>
                </a:lnTo>
                <a:lnTo>
                  <a:pt x="484" y="96"/>
                </a:lnTo>
                <a:lnTo>
                  <a:pt x="485" y="93"/>
                </a:lnTo>
                <a:lnTo>
                  <a:pt x="486" y="89"/>
                </a:lnTo>
                <a:lnTo>
                  <a:pt x="487" y="87"/>
                </a:lnTo>
                <a:lnTo>
                  <a:pt x="487" y="86"/>
                </a:lnTo>
                <a:lnTo>
                  <a:pt x="487" y="85"/>
                </a:lnTo>
                <a:lnTo>
                  <a:pt x="487" y="84"/>
                </a:lnTo>
                <a:lnTo>
                  <a:pt x="487" y="83"/>
                </a:lnTo>
                <a:lnTo>
                  <a:pt x="487" y="82"/>
                </a:lnTo>
                <a:lnTo>
                  <a:pt x="487" y="81"/>
                </a:lnTo>
                <a:lnTo>
                  <a:pt x="486" y="81"/>
                </a:lnTo>
                <a:lnTo>
                  <a:pt x="486" y="80"/>
                </a:lnTo>
                <a:lnTo>
                  <a:pt x="485" y="79"/>
                </a:lnTo>
                <a:lnTo>
                  <a:pt x="484" y="78"/>
                </a:lnTo>
                <a:lnTo>
                  <a:pt x="483" y="78"/>
                </a:lnTo>
                <a:lnTo>
                  <a:pt x="482" y="77"/>
                </a:lnTo>
                <a:lnTo>
                  <a:pt x="481" y="77"/>
                </a:lnTo>
                <a:lnTo>
                  <a:pt x="478" y="75"/>
                </a:lnTo>
                <a:lnTo>
                  <a:pt x="472" y="73"/>
                </a:lnTo>
                <a:lnTo>
                  <a:pt x="468" y="72"/>
                </a:lnTo>
                <a:lnTo>
                  <a:pt x="462" y="69"/>
                </a:lnTo>
                <a:lnTo>
                  <a:pt x="460" y="69"/>
                </a:lnTo>
                <a:lnTo>
                  <a:pt x="459" y="68"/>
                </a:lnTo>
                <a:lnTo>
                  <a:pt x="458" y="67"/>
                </a:lnTo>
                <a:lnTo>
                  <a:pt x="457" y="67"/>
                </a:lnTo>
                <a:lnTo>
                  <a:pt x="456" y="66"/>
                </a:lnTo>
                <a:lnTo>
                  <a:pt x="456" y="65"/>
                </a:lnTo>
                <a:lnTo>
                  <a:pt x="455" y="65"/>
                </a:lnTo>
                <a:lnTo>
                  <a:pt x="455" y="64"/>
                </a:lnTo>
                <a:lnTo>
                  <a:pt x="454" y="63"/>
                </a:lnTo>
                <a:lnTo>
                  <a:pt x="454" y="61"/>
                </a:lnTo>
                <a:lnTo>
                  <a:pt x="453" y="60"/>
                </a:lnTo>
                <a:lnTo>
                  <a:pt x="453" y="60"/>
                </a:lnTo>
                <a:lnTo>
                  <a:pt x="453" y="59"/>
                </a:lnTo>
                <a:lnTo>
                  <a:pt x="453" y="58"/>
                </a:lnTo>
                <a:lnTo>
                  <a:pt x="453" y="58"/>
                </a:lnTo>
                <a:lnTo>
                  <a:pt x="453" y="57"/>
                </a:lnTo>
                <a:lnTo>
                  <a:pt x="454" y="56"/>
                </a:lnTo>
                <a:lnTo>
                  <a:pt x="455" y="54"/>
                </a:lnTo>
                <a:lnTo>
                  <a:pt x="455" y="53"/>
                </a:lnTo>
                <a:lnTo>
                  <a:pt x="456" y="52"/>
                </a:lnTo>
                <a:lnTo>
                  <a:pt x="456" y="52"/>
                </a:lnTo>
                <a:lnTo>
                  <a:pt x="456" y="51"/>
                </a:lnTo>
                <a:lnTo>
                  <a:pt x="455" y="50"/>
                </a:lnTo>
                <a:lnTo>
                  <a:pt x="455" y="50"/>
                </a:lnTo>
                <a:lnTo>
                  <a:pt x="454" y="49"/>
                </a:lnTo>
                <a:lnTo>
                  <a:pt x="454" y="49"/>
                </a:lnTo>
                <a:lnTo>
                  <a:pt x="453" y="49"/>
                </a:lnTo>
                <a:lnTo>
                  <a:pt x="452" y="49"/>
                </a:lnTo>
                <a:lnTo>
                  <a:pt x="451" y="48"/>
                </a:lnTo>
                <a:lnTo>
                  <a:pt x="447" y="49"/>
                </a:lnTo>
                <a:lnTo>
                  <a:pt x="445" y="48"/>
                </a:lnTo>
                <a:lnTo>
                  <a:pt x="442" y="48"/>
                </a:lnTo>
                <a:lnTo>
                  <a:pt x="441" y="48"/>
                </a:lnTo>
                <a:lnTo>
                  <a:pt x="441" y="48"/>
                </a:lnTo>
                <a:lnTo>
                  <a:pt x="439" y="47"/>
                </a:lnTo>
                <a:lnTo>
                  <a:pt x="438" y="46"/>
                </a:lnTo>
                <a:lnTo>
                  <a:pt x="437" y="46"/>
                </a:lnTo>
                <a:lnTo>
                  <a:pt x="436" y="45"/>
                </a:lnTo>
                <a:lnTo>
                  <a:pt x="435" y="44"/>
                </a:lnTo>
                <a:lnTo>
                  <a:pt x="434" y="43"/>
                </a:lnTo>
                <a:lnTo>
                  <a:pt x="434" y="42"/>
                </a:lnTo>
                <a:lnTo>
                  <a:pt x="433" y="41"/>
                </a:lnTo>
                <a:lnTo>
                  <a:pt x="433" y="41"/>
                </a:lnTo>
                <a:lnTo>
                  <a:pt x="433" y="40"/>
                </a:lnTo>
                <a:lnTo>
                  <a:pt x="433" y="38"/>
                </a:lnTo>
                <a:lnTo>
                  <a:pt x="433" y="35"/>
                </a:lnTo>
                <a:lnTo>
                  <a:pt x="433" y="34"/>
                </a:lnTo>
                <a:lnTo>
                  <a:pt x="434" y="33"/>
                </a:lnTo>
                <a:lnTo>
                  <a:pt x="434" y="32"/>
                </a:lnTo>
                <a:lnTo>
                  <a:pt x="434" y="31"/>
                </a:lnTo>
                <a:lnTo>
                  <a:pt x="436" y="27"/>
                </a:lnTo>
                <a:lnTo>
                  <a:pt x="437" y="26"/>
                </a:lnTo>
                <a:lnTo>
                  <a:pt x="438" y="24"/>
                </a:lnTo>
                <a:lnTo>
                  <a:pt x="438" y="22"/>
                </a:lnTo>
                <a:lnTo>
                  <a:pt x="439" y="21"/>
                </a:lnTo>
                <a:lnTo>
                  <a:pt x="439" y="19"/>
                </a:lnTo>
                <a:lnTo>
                  <a:pt x="440" y="18"/>
                </a:lnTo>
                <a:lnTo>
                  <a:pt x="441" y="13"/>
                </a:lnTo>
                <a:lnTo>
                  <a:pt x="441" y="12"/>
                </a:lnTo>
                <a:lnTo>
                  <a:pt x="441" y="11"/>
                </a:lnTo>
                <a:lnTo>
                  <a:pt x="442" y="10"/>
                </a:lnTo>
                <a:lnTo>
                  <a:pt x="442" y="10"/>
                </a:lnTo>
                <a:lnTo>
                  <a:pt x="443" y="8"/>
                </a:lnTo>
                <a:lnTo>
                  <a:pt x="448" y="2"/>
                </a:lnTo>
                <a:lnTo>
                  <a:pt x="449" y="1"/>
                </a:lnTo>
                <a:lnTo>
                  <a:pt x="450" y="0"/>
                </a:lnTo>
                <a:lnTo>
                  <a:pt x="450" y="0"/>
                </a:lnTo>
                <a:lnTo>
                  <a:pt x="45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 274">
            <a:extLst>
              <a:ext uri="{FF2B5EF4-FFF2-40B4-BE49-F238E27FC236}">
                <a16:creationId xmlns:a16="http://schemas.microsoft.com/office/drawing/2014/main" id="{5EA7C0AA-55AE-4DBA-81B1-D0BA181F55DA}"/>
              </a:ext>
            </a:extLst>
          </p:cNvPr>
          <p:cNvSpPr>
            <a:spLocks/>
          </p:cNvSpPr>
          <p:nvPr/>
        </p:nvSpPr>
        <p:spPr bwMode="auto">
          <a:xfrm>
            <a:off x="8205806" y="3034207"/>
            <a:ext cx="1011183" cy="744477"/>
          </a:xfrm>
          <a:custGeom>
            <a:avLst/>
            <a:gdLst>
              <a:gd name="T0" fmla="*/ 298 w 532"/>
              <a:gd name="T1" fmla="*/ 4 h 358"/>
              <a:gd name="T2" fmla="*/ 315 w 532"/>
              <a:gd name="T3" fmla="*/ 17 h 358"/>
              <a:gd name="T4" fmla="*/ 328 w 532"/>
              <a:gd name="T5" fmla="*/ 17 h 358"/>
              <a:gd name="T6" fmla="*/ 340 w 532"/>
              <a:gd name="T7" fmla="*/ 8 h 358"/>
              <a:gd name="T8" fmla="*/ 350 w 532"/>
              <a:gd name="T9" fmla="*/ 24 h 358"/>
              <a:gd name="T10" fmla="*/ 369 w 532"/>
              <a:gd name="T11" fmla="*/ 20 h 358"/>
              <a:gd name="T12" fmla="*/ 388 w 532"/>
              <a:gd name="T13" fmla="*/ 46 h 358"/>
              <a:gd name="T14" fmla="*/ 385 w 532"/>
              <a:gd name="T15" fmla="*/ 79 h 358"/>
              <a:gd name="T16" fmla="*/ 403 w 532"/>
              <a:gd name="T17" fmla="*/ 106 h 358"/>
              <a:gd name="T18" fmla="*/ 425 w 532"/>
              <a:gd name="T19" fmla="*/ 134 h 358"/>
              <a:gd name="T20" fmla="*/ 432 w 532"/>
              <a:gd name="T21" fmla="*/ 158 h 358"/>
              <a:gd name="T22" fmla="*/ 451 w 532"/>
              <a:gd name="T23" fmla="*/ 144 h 358"/>
              <a:gd name="T24" fmla="*/ 485 w 532"/>
              <a:gd name="T25" fmla="*/ 155 h 358"/>
              <a:gd name="T26" fmla="*/ 497 w 532"/>
              <a:gd name="T27" fmla="*/ 169 h 358"/>
              <a:gd name="T28" fmla="*/ 506 w 532"/>
              <a:gd name="T29" fmla="*/ 210 h 358"/>
              <a:gd name="T30" fmla="*/ 511 w 532"/>
              <a:gd name="T31" fmla="*/ 252 h 358"/>
              <a:gd name="T32" fmla="*/ 514 w 532"/>
              <a:gd name="T33" fmla="*/ 284 h 358"/>
              <a:gd name="T34" fmla="*/ 531 w 532"/>
              <a:gd name="T35" fmla="*/ 319 h 358"/>
              <a:gd name="T36" fmla="*/ 520 w 532"/>
              <a:gd name="T37" fmla="*/ 330 h 358"/>
              <a:gd name="T38" fmla="*/ 495 w 532"/>
              <a:gd name="T39" fmla="*/ 331 h 358"/>
              <a:gd name="T40" fmla="*/ 476 w 532"/>
              <a:gd name="T41" fmla="*/ 316 h 358"/>
              <a:gd name="T42" fmla="*/ 457 w 532"/>
              <a:gd name="T43" fmla="*/ 330 h 358"/>
              <a:gd name="T44" fmla="*/ 454 w 532"/>
              <a:gd name="T45" fmla="*/ 349 h 358"/>
              <a:gd name="T46" fmla="*/ 436 w 532"/>
              <a:gd name="T47" fmla="*/ 352 h 358"/>
              <a:gd name="T48" fmla="*/ 425 w 532"/>
              <a:gd name="T49" fmla="*/ 342 h 358"/>
              <a:gd name="T50" fmla="*/ 399 w 532"/>
              <a:gd name="T51" fmla="*/ 332 h 358"/>
              <a:gd name="T52" fmla="*/ 379 w 532"/>
              <a:gd name="T53" fmla="*/ 332 h 358"/>
              <a:gd name="T54" fmla="*/ 359 w 532"/>
              <a:gd name="T55" fmla="*/ 343 h 358"/>
              <a:gd name="T56" fmla="*/ 324 w 532"/>
              <a:gd name="T57" fmla="*/ 324 h 358"/>
              <a:gd name="T58" fmla="*/ 305 w 532"/>
              <a:gd name="T59" fmla="*/ 305 h 358"/>
              <a:gd name="T60" fmla="*/ 274 w 532"/>
              <a:gd name="T61" fmla="*/ 279 h 358"/>
              <a:gd name="T62" fmla="*/ 256 w 532"/>
              <a:gd name="T63" fmla="*/ 279 h 358"/>
              <a:gd name="T64" fmla="*/ 239 w 532"/>
              <a:gd name="T65" fmla="*/ 267 h 358"/>
              <a:gd name="T66" fmla="*/ 230 w 532"/>
              <a:gd name="T67" fmla="*/ 284 h 358"/>
              <a:gd name="T68" fmla="*/ 211 w 532"/>
              <a:gd name="T69" fmla="*/ 299 h 358"/>
              <a:gd name="T70" fmla="*/ 200 w 532"/>
              <a:gd name="T71" fmla="*/ 313 h 358"/>
              <a:gd name="T72" fmla="*/ 172 w 532"/>
              <a:gd name="T73" fmla="*/ 309 h 358"/>
              <a:gd name="T74" fmla="*/ 163 w 532"/>
              <a:gd name="T75" fmla="*/ 330 h 358"/>
              <a:gd name="T76" fmla="*/ 139 w 532"/>
              <a:gd name="T77" fmla="*/ 353 h 358"/>
              <a:gd name="T78" fmla="*/ 106 w 532"/>
              <a:gd name="T79" fmla="*/ 358 h 358"/>
              <a:gd name="T80" fmla="*/ 95 w 532"/>
              <a:gd name="T81" fmla="*/ 343 h 358"/>
              <a:gd name="T82" fmla="*/ 82 w 532"/>
              <a:gd name="T83" fmla="*/ 341 h 358"/>
              <a:gd name="T84" fmla="*/ 62 w 532"/>
              <a:gd name="T85" fmla="*/ 341 h 358"/>
              <a:gd name="T86" fmla="*/ 54 w 532"/>
              <a:gd name="T87" fmla="*/ 334 h 358"/>
              <a:gd name="T88" fmla="*/ 30 w 532"/>
              <a:gd name="T89" fmla="*/ 306 h 358"/>
              <a:gd name="T90" fmla="*/ 9 w 532"/>
              <a:gd name="T91" fmla="*/ 263 h 358"/>
              <a:gd name="T92" fmla="*/ 0 w 532"/>
              <a:gd name="T93" fmla="*/ 234 h 358"/>
              <a:gd name="T94" fmla="*/ 10 w 532"/>
              <a:gd name="T95" fmla="*/ 207 h 358"/>
              <a:gd name="T96" fmla="*/ 29 w 532"/>
              <a:gd name="T97" fmla="*/ 187 h 358"/>
              <a:gd name="T98" fmla="*/ 36 w 532"/>
              <a:gd name="T99" fmla="*/ 167 h 358"/>
              <a:gd name="T100" fmla="*/ 43 w 532"/>
              <a:gd name="T101" fmla="*/ 141 h 358"/>
              <a:gd name="T102" fmla="*/ 61 w 532"/>
              <a:gd name="T103" fmla="*/ 140 h 358"/>
              <a:gd name="T104" fmla="*/ 84 w 532"/>
              <a:gd name="T105" fmla="*/ 146 h 358"/>
              <a:gd name="T106" fmla="*/ 96 w 532"/>
              <a:gd name="T107" fmla="*/ 123 h 358"/>
              <a:gd name="T108" fmla="*/ 128 w 532"/>
              <a:gd name="T109" fmla="*/ 114 h 358"/>
              <a:gd name="T110" fmla="*/ 164 w 532"/>
              <a:gd name="T111" fmla="*/ 130 h 358"/>
              <a:gd name="T112" fmla="*/ 189 w 532"/>
              <a:gd name="T113" fmla="*/ 125 h 358"/>
              <a:gd name="T114" fmla="*/ 211 w 532"/>
              <a:gd name="T115" fmla="*/ 100 h 358"/>
              <a:gd name="T116" fmla="*/ 252 w 532"/>
              <a:gd name="T117" fmla="*/ 103 h 358"/>
              <a:gd name="T118" fmla="*/ 269 w 532"/>
              <a:gd name="T119" fmla="*/ 97 h 358"/>
              <a:gd name="T120" fmla="*/ 275 w 532"/>
              <a:gd name="T121" fmla="*/ 56 h 358"/>
              <a:gd name="T122" fmla="*/ 274 w 532"/>
              <a:gd name="T123" fmla="*/ 29 h 358"/>
              <a:gd name="T124" fmla="*/ 262 w 532"/>
              <a:gd name="T125" fmla="*/ 19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2" h="358">
                <a:moveTo>
                  <a:pt x="280" y="0"/>
                </a:moveTo>
                <a:lnTo>
                  <a:pt x="281" y="1"/>
                </a:lnTo>
                <a:lnTo>
                  <a:pt x="284" y="3"/>
                </a:lnTo>
                <a:lnTo>
                  <a:pt x="285" y="3"/>
                </a:lnTo>
                <a:lnTo>
                  <a:pt x="287" y="4"/>
                </a:lnTo>
                <a:lnTo>
                  <a:pt x="288" y="5"/>
                </a:lnTo>
                <a:lnTo>
                  <a:pt x="289" y="5"/>
                </a:lnTo>
                <a:lnTo>
                  <a:pt x="290" y="5"/>
                </a:lnTo>
                <a:lnTo>
                  <a:pt x="291" y="5"/>
                </a:lnTo>
                <a:lnTo>
                  <a:pt x="292" y="5"/>
                </a:lnTo>
                <a:lnTo>
                  <a:pt x="293" y="5"/>
                </a:lnTo>
                <a:lnTo>
                  <a:pt x="293" y="5"/>
                </a:lnTo>
                <a:lnTo>
                  <a:pt x="296" y="4"/>
                </a:lnTo>
                <a:lnTo>
                  <a:pt x="297" y="4"/>
                </a:lnTo>
                <a:lnTo>
                  <a:pt x="298" y="4"/>
                </a:lnTo>
                <a:lnTo>
                  <a:pt x="299" y="4"/>
                </a:lnTo>
                <a:lnTo>
                  <a:pt x="300" y="4"/>
                </a:lnTo>
                <a:lnTo>
                  <a:pt x="302" y="5"/>
                </a:lnTo>
                <a:lnTo>
                  <a:pt x="308" y="6"/>
                </a:lnTo>
                <a:lnTo>
                  <a:pt x="310" y="7"/>
                </a:lnTo>
                <a:lnTo>
                  <a:pt x="311" y="8"/>
                </a:lnTo>
                <a:lnTo>
                  <a:pt x="312" y="9"/>
                </a:lnTo>
                <a:lnTo>
                  <a:pt x="312" y="9"/>
                </a:lnTo>
                <a:lnTo>
                  <a:pt x="313" y="10"/>
                </a:lnTo>
                <a:lnTo>
                  <a:pt x="313" y="11"/>
                </a:lnTo>
                <a:lnTo>
                  <a:pt x="313" y="11"/>
                </a:lnTo>
                <a:lnTo>
                  <a:pt x="313" y="14"/>
                </a:lnTo>
                <a:lnTo>
                  <a:pt x="314" y="15"/>
                </a:lnTo>
                <a:lnTo>
                  <a:pt x="314" y="16"/>
                </a:lnTo>
                <a:lnTo>
                  <a:pt x="315" y="17"/>
                </a:lnTo>
                <a:lnTo>
                  <a:pt x="315" y="18"/>
                </a:lnTo>
                <a:lnTo>
                  <a:pt x="316" y="19"/>
                </a:lnTo>
                <a:lnTo>
                  <a:pt x="317" y="19"/>
                </a:lnTo>
                <a:lnTo>
                  <a:pt x="319" y="20"/>
                </a:lnTo>
                <a:lnTo>
                  <a:pt x="320" y="20"/>
                </a:lnTo>
                <a:lnTo>
                  <a:pt x="321" y="20"/>
                </a:lnTo>
                <a:lnTo>
                  <a:pt x="322" y="20"/>
                </a:lnTo>
                <a:lnTo>
                  <a:pt x="323" y="20"/>
                </a:lnTo>
                <a:lnTo>
                  <a:pt x="324" y="20"/>
                </a:lnTo>
                <a:lnTo>
                  <a:pt x="325" y="20"/>
                </a:lnTo>
                <a:lnTo>
                  <a:pt x="325" y="20"/>
                </a:lnTo>
                <a:lnTo>
                  <a:pt x="326" y="19"/>
                </a:lnTo>
                <a:lnTo>
                  <a:pt x="327" y="19"/>
                </a:lnTo>
                <a:lnTo>
                  <a:pt x="327" y="18"/>
                </a:lnTo>
                <a:lnTo>
                  <a:pt x="328" y="17"/>
                </a:lnTo>
                <a:lnTo>
                  <a:pt x="329" y="15"/>
                </a:lnTo>
                <a:lnTo>
                  <a:pt x="330" y="13"/>
                </a:lnTo>
                <a:lnTo>
                  <a:pt x="331" y="11"/>
                </a:lnTo>
                <a:lnTo>
                  <a:pt x="332" y="10"/>
                </a:lnTo>
                <a:lnTo>
                  <a:pt x="333" y="9"/>
                </a:lnTo>
                <a:lnTo>
                  <a:pt x="334" y="9"/>
                </a:lnTo>
                <a:lnTo>
                  <a:pt x="335" y="8"/>
                </a:lnTo>
                <a:lnTo>
                  <a:pt x="335" y="8"/>
                </a:lnTo>
                <a:lnTo>
                  <a:pt x="336" y="8"/>
                </a:lnTo>
                <a:lnTo>
                  <a:pt x="336" y="7"/>
                </a:lnTo>
                <a:lnTo>
                  <a:pt x="337" y="7"/>
                </a:lnTo>
                <a:lnTo>
                  <a:pt x="338" y="7"/>
                </a:lnTo>
                <a:lnTo>
                  <a:pt x="339" y="7"/>
                </a:lnTo>
                <a:lnTo>
                  <a:pt x="339" y="8"/>
                </a:lnTo>
                <a:lnTo>
                  <a:pt x="340" y="8"/>
                </a:lnTo>
                <a:lnTo>
                  <a:pt x="340" y="8"/>
                </a:lnTo>
                <a:lnTo>
                  <a:pt x="340" y="8"/>
                </a:lnTo>
                <a:lnTo>
                  <a:pt x="341" y="9"/>
                </a:lnTo>
                <a:lnTo>
                  <a:pt x="342" y="10"/>
                </a:lnTo>
                <a:lnTo>
                  <a:pt x="342" y="12"/>
                </a:lnTo>
                <a:lnTo>
                  <a:pt x="343" y="13"/>
                </a:lnTo>
                <a:lnTo>
                  <a:pt x="344" y="18"/>
                </a:lnTo>
                <a:lnTo>
                  <a:pt x="345" y="20"/>
                </a:lnTo>
                <a:lnTo>
                  <a:pt x="345" y="21"/>
                </a:lnTo>
                <a:lnTo>
                  <a:pt x="346" y="22"/>
                </a:lnTo>
                <a:lnTo>
                  <a:pt x="346" y="23"/>
                </a:lnTo>
                <a:lnTo>
                  <a:pt x="347" y="23"/>
                </a:lnTo>
                <a:lnTo>
                  <a:pt x="348" y="24"/>
                </a:lnTo>
                <a:lnTo>
                  <a:pt x="349" y="24"/>
                </a:lnTo>
                <a:lnTo>
                  <a:pt x="350" y="24"/>
                </a:lnTo>
                <a:lnTo>
                  <a:pt x="351" y="24"/>
                </a:lnTo>
                <a:lnTo>
                  <a:pt x="352" y="24"/>
                </a:lnTo>
                <a:lnTo>
                  <a:pt x="353" y="23"/>
                </a:lnTo>
                <a:lnTo>
                  <a:pt x="356" y="22"/>
                </a:lnTo>
                <a:lnTo>
                  <a:pt x="358" y="21"/>
                </a:lnTo>
                <a:lnTo>
                  <a:pt x="361" y="20"/>
                </a:lnTo>
                <a:lnTo>
                  <a:pt x="362" y="20"/>
                </a:lnTo>
                <a:lnTo>
                  <a:pt x="363" y="19"/>
                </a:lnTo>
                <a:lnTo>
                  <a:pt x="365" y="19"/>
                </a:lnTo>
                <a:lnTo>
                  <a:pt x="366" y="19"/>
                </a:lnTo>
                <a:lnTo>
                  <a:pt x="367" y="19"/>
                </a:lnTo>
                <a:lnTo>
                  <a:pt x="367" y="19"/>
                </a:lnTo>
                <a:lnTo>
                  <a:pt x="368" y="20"/>
                </a:lnTo>
                <a:lnTo>
                  <a:pt x="369" y="20"/>
                </a:lnTo>
                <a:lnTo>
                  <a:pt x="369" y="20"/>
                </a:lnTo>
                <a:lnTo>
                  <a:pt x="370" y="21"/>
                </a:lnTo>
                <a:lnTo>
                  <a:pt x="373" y="24"/>
                </a:lnTo>
                <a:lnTo>
                  <a:pt x="374" y="25"/>
                </a:lnTo>
                <a:lnTo>
                  <a:pt x="376" y="26"/>
                </a:lnTo>
                <a:lnTo>
                  <a:pt x="379" y="28"/>
                </a:lnTo>
                <a:lnTo>
                  <a:pt x="380" y="29"/>
                </a:lnTo>
                <a:lnTo>
                  <a:pt x="382" y="30"/>
                </a:lnTo>
                <a:lnTo>
                  <a:pt x="383" y="31"/>
                </a:lnTo>
                <a:lnTo>
                  <a:pt x="383" y="33"/>
                </a:lnTo>
                <a:lnTo>
                  <a:pt x="384" y="33"/>
                </a:lnTo>
                <a:lnTo>
                  <a:pt x="385" y="35"/>
                </a:lnTo>
                <a:lnTo>
                  <a:pt x="387" y="41"/>
                </a:lnTo>
                <a:lnTo>
                  <a:pt x="388" y="43"/>
                </a:lnTo>
                <a:lnTo>
                  <a:pt x="388" y="45"/>
                </a:lnTo>
                <a:lnTo>
                  <a:pt x="388" y="46"/>
                </a:lnTo>
                <a:lnTo>
                  <a:pt x="388" y="47"/>
                </a:lnTo>
                <a:lnTo>
                  <a:pt x="388" y="49"/>
                </a:lnTo>
                <a:lnTo>
                  <a:pt x="388" y="50"/>
                </a:lnTo>
                <a:lnTo>
                  <a:pt x="388" y="51"/>
                </a:lnTo>
                <a:lnTo>
                  <a:pt x="385" y="58"/>
                </a:lnTo>
                <a:lnTo>
                  <a:pt x="384" y="60"/>
                </a:lnTo>
                <a:lnTo>
                  <a:pt x="384" y="61"/>
                </a:lnTo>
                <a:lnTo>
                  <a:pt x="384" y="63"/>
                </a:lnTo>
                <a:lnTo>
                  <a:pt x="384" y="65"/>
                </a:lnTo>
                <a:lnTo>
                  <a:pt x="383" y="67"/>
                </a:lnTo>
                <a:lnTo>
                  <a:pt x="384" y="69"/>
                </a:lnTo>
                <a:lnTo>
                  <a:pt x="384" y="72"/>
                </a:lnTo>
                <a:lnTo>
                  <a:pt x="384" y="74"/>
                </a:lnTo>
                <a:lnTo>
                  <a:pt x="385" y="76"/>
                </a:lnTo>
                <a:lnTo>
                  <a:pt x="385" y="79"/>
                </a:lnTo>
                <a:lnTo>
                  <a:pt x="386" y="82"/>
                </a:lnTo>
                <a:lnTo>
                  <a:pt x="387" y="85"/>
                </a:lnTo>
                <a:lnTo>
                  <a:pt x="388" y="87"/>
                </a:lnTo>
                <a:lnTo>
                  <a:pt x="389" y="89"/>
                </a:lnTo>
                <a:lnTo>
                  <a:pt x="390" y="91"/>
                </a:lnTo>
                <a:lnTo>
                  <a:pt x="392" y="94"/>
                </a:lnTo>
                <a:lnTo>
                  <a:pt x="393" y="96"/>
                </a:lnTo>
                <a:lnTo>
                  <a:pt x="395" y="98"/>
                </a:lnTo>
                <a:lnTo>
                  <a:pt x="396" y="100"/>
                </a:lnTo>
                <a:lnTo>
                  <a:pt x="398" y="102"/>
                </a:lnTo>
                <a:lnTo>
                  <a:pt x="399" y="103"/>
                </a:lnTo>
                <a:lnTo>
                  <a:pt x="400" y="104"/>
                </a:lnTo>
                <a:lnTo>
                  <a:pt x="401" y="105"/>
                </a:lnTo>
                <a:lnTo>
                  <a:pt x="402" y="106"/>
                </a:lnTo>
                <a:lnTo>
                  <a:pt x="403" y="106"/>
                </a:lnTo>
                <a:lnTo>
                  <a:pt x="405" y="107"/>
                </a:lnTo>
                <a:lnTo>
                  <a:pt x="407" y="108"/>
                </a:lnTo>
                <a:lnTo>
                  <a:pt x="412" y="110"/>
                </a:lnTo>
                <a:lnTo>
                  <a:pt x="413" y="111"/>
                </a:lnTo>
                <a:lnTo>
                  <a:pt x="415" y="112"/>
                </a:lnTo>
                <a:lnTo>
                  <a:pt x="417" y="113"/>
                </a:lnTo>
                <a:lnTo>
                  <a:pt x="418" y="115"/>
                </a:lnTo>
                <a:lnTo>
                  <a:pt x="419" y="116"/>
                </a:lnTo>
                <a:lnTo>
                  <a:pt x="421" y="118"/>
                </a:lnTo>
                <a:lnTo>
                  <a:pt x="422" y="121"/>
                </a:lnTo>
                <a:lnTo>
                  <a:pt x="423" y="124"/>
                </a:lnTo>
                <a:lnTo>
                  <a:pt x="424" y="126"/>
                </a:lnTo>
                <a:lnTo>
                  <a:pt x="425" y="129"/>
                </a:lnTo>
                <a:lnTo>
                  <a:pt x="425" y="131"/>
                </a:lnTo>
                <a:lnTo>
                  <a:pt x="425" y="134"/>
                </a:lnTo>
                <a:lnTo>
                  <a:pt x="425" y="139"/>
                </a:lnTo>
                <a:lnTo>
                  <a:pt x="425" y="145"/>
                </a:lnTo>
                <a:lnTo>
                  <a:pt x="425" y="146"/>
                </a:lnTo>
                <a:lnTo>
                  <a:pt x="426" y="148"/>
                </a:lnTo>
                <a:lnTo>
                  <a:pt x="426" y="151"/>
                </a:lnTo>
                <a:lnTo>
                  <a:pt x="426" y="153"/>
                </a:lnTo>
                <a:lnTo>
                  <a:pt x="427" y="154"/>
                </a:lnTo>
                <a:lnTo>
                  <a:pt x="427" y="155"/>
                </a:lnTo>
                <a:lnTo>
                  <a:pt x="428" y="156"/>
                </a:lnTo>
                <a:lnTo>
                  <a:pt x="428" y="156"/>
                </a:lnTo>
                <a:lnTo>
                  <a:pt x="428" y="157"/>
                </a:lnTo>
                <a:lnTo>
                  <a:pt x="429" y="157"/>
                </a:lnTo>
                <a:lnTo>
                  <a:pt x="430" y="158"/>
                </a:lnTo>
                <a:lnTo>
                  <a:pt x="431" y="158"/>
                </a:lnTo>
                <a:lnTo>
                  <a:pt x="432" y="158"/>
                </a:lnTo>
                <a:lnTo>
                  <a:pt x="432" y="158"/>
                </a:lnTo>
                <a:lnTo>
                  <a:pt x="433" y="158"/>
                </a:lnTo>
                <a:lnTo>
                  <a:pt x="434" y="158"/>
                </a:lnTo>
                <a:lnTo>
                  <a:pt x="435" y="158"/>
                </a:lnTo>
                <a:lnTo>
                  <a:pt x="436" y="157"/>
                </a:lnTo>
                <a:lnTo>
                  <a:pt x="437" y="156"/>
                </a:lnTo>
                <a:lnTo>
                  <a:pt x="438" y="156"/>
                </a:lnTo>
                <a:lnTo>
                  <a:pt x="439" y="155"/>
                </a:lnTo>
                <a:lnTo>
                  <a:pt x="441" y="153"/>
                </a:lnTo>
                <a:lnTo>
                  <a:pt x="445" y="148"/>
                </a:lnTo>
                <a:lnTo>
                  <a:pt x="447" y="147"/>
                </a:lnTo>
                <a:lnTo>
                  <a:pt x="448" y="146"/>
                </a:lnTo>
                <a:lnTo>
                  <a:pt x="449" y="145"/>
                </a:lnTo>
                <a:lnTo>
                  <a:pt x="450" y="145"/>
                </a:lnTo>
                <a:lnTo>
                  <a:pt x="451" y="144"/>
                </a:lnTo>
                <a:lnTo>
                  <a:pt x="452" y="144"/>
                </a:lnTo>
                <a:lnTo>
                  <a:pt x="453" y="144"/>
                </a:lnTo>
                <a:lnTo>
                  <a:pt x="453" y="144"/>
                </a:lnTo>
                <a:lnTo>
                  <a:pt x="454" y="144"/>
                </a:lnTo>
                <a:lnTo>
                  <a:pt x="455" y="144"/>
                </a:lnTo>
                <a:lnTo>
                  <a:pt x="457" y="144"/>
                </a:lnTo>
                <a:lnTo>
                  <a:pt x="459" y="144"/>
                </a:lnTo>
                <a:lnTo>
                  <a:pt x="461" y="145"/>
                </a:lnTo>
                <a:lnTo>
                  <a:pt x="463" y="146"/>
                </a:lnTo>
                <a:lnTo>
                  <a:pt x="466" y="147"/>
                </a:lnTo>
                <a:lnTo>
                  <a:pt x="471" y="149"/>
                </a:lnTo>
                <a:lnTo>
                  <a:pt x="473" y="151"/>
                </a:lnTo>
                <a:lnTo>
                  <a:pt x="477" y="152"/>
                </a:lnTo>
                <a:lnTo>
                  <a:pt x="482" y="154"/>
                </a:lnTo>
                <a:lnTo>
                  <a:pt x="485" y="155"/>
                </a:lnTo>
                <a:lnTo>
                  <a:pt x="487" y="156"/>
                </a:lnTo>
                <a:lnTo>
                  <a:pt x="491" y="158"/>
                </a:lnTo>
                <a:lnTo>
                  <a:pt x="492" y="159"/>
                </a:lnTo>
                <a:lnTo>
                  <a:pt x="493" y="159"/>
                </a:lnTo>
                <a:lnTo>
                  <a:pt x="493" y="159"/>
                </a:lnTo>
                <a:lnTo>
                  <a:pt x="493" y="159"/>
                </a:lnTo>
                <a:lnTo>
                  <a:pt x="494" y="159"/>
                </a:lnTo>
                <a:lnTo>
                  <a:pt x="493" y="159"/>
                </a:lnTo>
                <a:lnTo>
                  <a:pt x="493" y="160"/>
                </a:lnTo>
                <a:lnTo>
                  <a:pt x="494" y="161"/>
                </a:lnTo>
                <a:lnTo>
                  <a:pt x="494" y="162"/>
                </a:lnTo>
                <a:lnTo>
                  <a:pt x="494" y="163"/>
                </a:lnTo>
                <a:lnTo>
                  <a:pt x="495" y="165"/>
                </a:lnTo>
                <a:lnTo>
                  <a:pt x="496" y="167"/>
                </a:lnTo>
                <a:lnTo>
                  <a:pt x="497" y="169"/>
                </a:lnTo>
                <a:lnTo>
                  <a:pt x="498" y="172"/>
                </a:lnTo>
                <a:lnTo>
                  <a:pt x="500" y="174"/>
                </a:lnTo>
                <a:lnTo>
                  <a:pt x="503" y="179"/>
                </a:lnTo>
                <a:lnTo>
                  <a:pt x="505" y="182"/>
                </a:lnTo>
                <a:lnTo>
                  <a:pt x="505" y="183"/>
                </a:lnTo>
                <a:lnTo>
                  <a:pt x="506" y="185"/>
                </a:lnTo>
                <a:lnTo>
                  <a:pt x="506" y="186"/>
                </a:lnTo>
                <a:lnTo>
                  <a:pt x="507" y="187"/>
                </a:lnTo>
                <a:lnTo>
                  <a:pt x="507" y="189"/>
                </a:lnTo>
                <a:lnTo>
                  <a:pt x="507" y="191"/>
                </a:lnTo>
                <a:lnTo>
                  <a:pt x="507" y="193"/>
                </a:lnTo>
                <a:lnTo>
                  <a:pt x="506" y="199"/>
                </a:lnTo>
                <a:lnTo>
                  <a:pt x="506" y="201"/>
                </a:lnTo>
                <a:lnTo>
                  <a:pt x="506" y="203"/>
                </a:lnTo>
                <a:lnTo>
                  <a:pt x="506" y="210"/>
                </a:lnTo>
                <a:lnTo>
                  <a:pt x="506" y="220"/>
                </a:lnTo>
                <a:lnTo>
                  <a:pt x="507" y="222"/>
                </a:lnTo>
                <a:lnTo>
                  <a:pt x="507" y="224"/>
                </a:lnTo>
                <a:lnTo>
                  <a:pt x="507" y="227"/>
                </a:lnTo>
                <a:lnTo>
                  <a:pt x="508" y="231"/>
                </a:lnTo>
                <a:lnTo>
                  <a:pt x="509" y="234"/>
                </a:lnTo>
                <a:lnTo>
                  <a:pt x="510" y="239"/>
                </a:lnTo>
                <a:lnTo>
                  <a:pt x="511" y="241"/>
                </a:lnTo>
                <a:lnTo>
                  <a:pt x="511" y="242"/>
                </a:lnTo>
                <a:lnTo>
                  <a:pt x="511" y="244"/>
                </a:lnTo>
                <a:lnTo>
                  <a:pt x="511" y="247"/>
                </a:lnTo>
                <a:lnTo>
                  <a:pt x="511" y="249"/>
                </a:lnTo>
                <a:lnTo>
                  <a:pt x="511" y="250"/>
                </a:lnTo>
                <a:lnTo>
                  <a:pt x="511" y="251"/>
                </a:lnTo>
                <a:lnTo>
                  <a:pt x="511" y="252"/>
                </a:lnTo>
                <a:lnTo>
                  <a:pt x="512" y="254"/>
                </a:lnTo>
                <a:lnTo>
                  <a:pt x="515" y="259"/>
                </a:lnTo>
                <a:lnTo>
                  <a:pt x="516" y="263"/>
                </a:lnTo>
                <a:lnTo>
                  <a:pt x="517" y="264"/>
                </a:lnTo>
                <a:lnTo>
                  <a:pt x="517" y="265"/>
                </a:lnTo>
                <a:lnTo>
                  <a:pt x="518" y="266"/>
                </a:lnTo>
                <a:lnTo>
                  <a:pt x="518" y="267"/>
                </a:lnTo>
                <a:lnTo>
                  <a:pt x="518" y="268"/>
                </a:lnTo>
                <a:lnTo>
                  <a:pt x="518" y="269"/>
                </a:lnTo>
                <a:lnTo>
                  <a:pt x="517" y="270"/>
                </a:lnTo>
                <a:lnTo>
                  <a:pt x="517" y="272"/>
                </a:lnTo>
                <a:lnTo>
                  <a:pt x="515" y="277"/>
                </a:lnTo>
                <a:lnTo>
                  <a:pt x="514" y="280"/>
                </a:lnTo>
                <a:lnTo>
                  <a:pt x="514" y="283"/>
                </a:lnTo>
                <a:lnTo>
                  <a:pt x="514" y="284"/>
                </a:lnTo>
                <a:lnTo>
                  <a:pt x="514" y="286"/>
                </a:lnTo>
                <a:lnTo>
                  <a:pt x="514" y="287"/>
                </a:lnTo>
                <a:lnTo>
                  <a:pt x="514" y="288"/>
                </a:lnTo>
                <a:lnTo>
                  <a:pt x="514" y="290"/>
                </a:lnTo>
                <a:lnTo>
                  <a:pt x="515" y="291"/>
                </a:lnTo>
                <a:lnTo>
                  <a:pt x="517" y="295"/>
                </a:lnTo>
                <a:lnTo>
                  <a:pt x="518" y="298"/>
                </a:lnTo>
                <a:lnTo>
                  <a:pt x="521" y="304"/>
                </a:lnTo>
                <a:lnTo>
                  <a:pt x="522" y="305"/>
                </a:lnTo>
                <a:lnTo>
                  <a:pt x="524" y="308"/>
                </a:lnTo>
                <a:lnTo>
                  <a:pt x="528" y="312"/>
                </a:lnTo>
                <a:lnTo>
                  <a:pt x="530" y="316"/>
                </a:lnTo>
                <a:lnTo>
                  <a:pt x="531" y="317"/>
                </a:lnTo>
                <a:lnTo>
                  <a:pt x="531" y="318"/>
                </a:lnTo>
                <a:lnTo>
                  <a:pt x="531" y="319"/>
                </a:lnTo>
                <a:lnTo>
                  <a:pt x="532" y="320"/>
                </a:lnTo>
                <a:lnTo>
                  <a:pt x="532" y="321"/>
                </a:lnTo>
                <a:lnTo>
                  <a:pt x="532" y="322"/>
                </a:lnTo>
                <a:lnTo>
                  <a:pt x="532" y="323"/>
                </a:lnTo>
                <a:lnTo>
                  <a:pt x="532" y="324"/>
                </a:lnTo>
                <a:lnTo>
                  <a:pt x="531" y="325"/>
                </a:lnTo>
                <a:lnTo>
                  <a:pt x="531" y="326"/>
                </a:lnTo>
                <a:lnTo>
                  <a:pt x="530" y="326"/>
                </a:lnTo>
                <a:lnTo>
                  <a:pt x="529" y="327"/>
                </a:lnTo>
                <a:lnTo>
                  <a:pt x="528" y="327"/>
                </a:lnTo>
                <a:lnTo>
                  <a:pt x="527" y="328"/>
                </a:lnTo>
                <a:lnTo>
                  <a:pt x="525" y="329"/>
                </a:lnTo>
                <a:lnTo>
                  <a:pt x="523" y="330"/>
                </a:lnTo>
                <a:lnTo>
                  <a:pt x="521" y="330"/>
                </a:lnTo>
                <a:lnTo>
                  <a:pt x="520" y="330"/>
                </a:lnTo>
                <a:lnTo>
                  <a:pt x="518" y="330"/>
                </a:lnTo>
                <a:lnTo>
                  <a:pt x="517" y="330"/>
                </a:lnTo>
                <a:lnTo>
                  <a:pt x="516" y="330"/>
                </a:lnTo>
                <a:lnTo>
                  <a:pt x="515" y="330"/>
                </a:lnTo>
                <a:lnTo>
                  <a:pt x="513" y="329"/>
                </a:lnTo>
                <a:lnTo>
                  <a:pt x="511" y="328"/>
                </a:lnTo>
                <a:lnTo>
                  <a:pt x="509" y="328"/>
                </a:lnTo>
                <a:lnTo>
                  <a:pt x="507" y="328"/>
                </a:lnTo>
                <a:lnTo>
                  <a:pt x="506" y="328"/>
                </a:lnTo>
                <a:lnTo>
                  <a:pt x="505" y="328"/>
                </a:lnTo>
                <a:lnTo>
                  <a:pt x="502" y="329"/>
                </a:lnTo>
                <a:lnTo>
                  <a:pt x="498" y="330"/>
                </a:lnTo>
                <a:lnTo>
                  <a:pt x="497" y="331"/>
                </a:lnTo>
                <a:lnTo>
                  <a:pt x="496" y="331"/>
                </a:lnTo>
                <a:lnTo>
                  <a:pt x="495" y="331"/>
                </a:lnTo>
                <a:lnTo>
                  <a:pt x="494" y="331"/>
                </a:lnTo>
                <a:lnTo>
                  <a:pt x="493" y="331"/>
                </a:lnTo>
                <a:lnTo>
                  <a:pt x="491" y="330"/>
                </a:lnTo>
                <a:lnTo>
                  <a:pt x="490" y="330"/>
                </a:lnTo>
                <a:lnTo>
                  <a:pt x="488" y="329"/>
                </a:lnTo>
                <a:lnTo>
                  <a:pt x="487" y="328"/>
                </a:lnTo>
                <a:lnTo>
                  <a:pt x="485" y="327"/>
                </a:lnTo>
                <a:lnTo>
                  <a:pt x="484" y="326"/>
                </a:lnTo>
                <a:lnTo>
                  <a:pt x="483" y="325"/>
                </a:lnTo>
                <a:lnTo>
                  <a:pt x="482" y="324"/>
                </a:lnTo>
                <a:lnTo>
                  <a:pt x="480" y="321"/>
                </a:lnTo>
                <a:lnTo>
                  <a:pt x="478" y="318"/>
                </a:lnTo>
                <a:lnTo>
                  <a:pt x="477" y="317"/>
                </a:lnTo>
                <a:lnTo>
                  <a:pt x="477" y="317"/>
                </a:lnTo>
                <a:lnTo>
                  <a:pt x="476" y="316"/>
                </a:lnTo>
                <a:lnTo>
                  <a:pt x="475" y="316"/>
                </a:lnTo>
                <a:lnTo>
                  <a:pt x="474" y="315"/>
                </a:lnTo>
                <a:lnTo>
                  <a:pt x="473" y="315"/>
                </a:lnTo>
                <a:lnTo>
                  <a:pt x="473" y="316"/>
                </a:lnTo>
                <a:lnTo>
                  <a:pt x="472" y="316"/>
                </a:lnTo>
                <a:lnTo>
                  <a:pt x="472" y="316"/>
                </a:lnTo>
                <a:lnTo>
                  <a:pt x="471" y="317"/>
                </a:lnTo>
                <a:lnTo>
                  <a:pt x="470" y="318"/>
                </a:lnTo>
                <a:lnTo>
                  <a:pt x="469" y="319"/>
                </a:lnTo>
                <a:lnTo>
                  <a:pt x="466" y="321"/>
                </a:lnTo>
                <a:lnTo>
                  <a:pt x="463" y="324"/>
                </a:lnTo>
                <a:lnTo>
                  <a:pt x="460" y="327"/>
                </a:lnTo>
                <a:lnTo>
                  <a:pt x="459" y="328"/>
                </a:lnTo>
                <a:lnTo>
                  <a:pt x="458" y="329"/>
                </a:lnTo>
                <a:lnTo>
                  <a:pt x="457" y="330"/>
                </a:lnTo>
                <a:lnTo>
                  <a:pt x="457" y="331"/>
                </a:lnTo>
                <a:lnTo>
                  <a:pt x="456" y="332"/>
                </a:lnTo>
                <a:lnTo>
                  <a:pt x="456" y="333"/>
                </a:lnTo>
                <a:lnTo>
                  <a:pt x="456" y="334"/>
                </a:lnTo>
                <a:lnTo>
                  <a:pt x="456" y="335"/>
                </a:lnTo>
                <a:lnTo>
                  <a:pt x="456" y="337"/>
                </a:lnTo>
                <a:lnTo>
                  <a:pt x="457" y="341"/>
                </a:lnTo>
                <a:lnTo>
                  <a:pt x="457" y="342"/>
                </a:lnTo>
                <a:lnTo>
                  <a:pt x="457" y="343"/>
                </a:lnTo>
                <a:lnTo>
                  <a:pt x="457" y="344"/>
                </a:lnTo>
                <a:lnTo>
                  <a:pt x="456" y="345"/>
                </a:lnTo>
                <a:lnTo>
                  <a:pt x="456" y="347"/>
                </a:lnTo>
                <a:lnTo>
                  <a:pt x="455" y="348"/>
                </a:lnTo>
                <a:lnTo>
                  <a:pt x="454" y="348"/>
                </a:lnTo>
                <a:lnTo>
                  <a:pt x="454" y="349"/>
                </a:lnTo>
                <a:lnTo>
                  <a:pt x="451" y="350"/>
                </a:lnTo>
                <a:lnTo>
                  <a:pt x="450" y="351"/>
                </a:lnTo>
                <a:lnTo>
                  <a:pt x="449" y="352"/>
                </a:lnTo>
                <a:lnTo>
                  <a:pt x="448" y="353"/>
                </a:lnTo>
                <a:lnTo>
                  <a:pt x="446" y="353"/>
                </a:lnTo>
                <a:lnTo>
                  <a:pt x="445" y="354"/>
                </a:lnTo>
                <a:lnTo>
                  <a:pt x="443" y="354"/>
                </a:lnTo>
                <a:lnTo>
                  <a:pt x="441" y="354"/>
                </a:lnTo>
                <a:lnTo>
                  <a:pt x="440" y="354"/>
                </a:lnTo>
                <a:lnTo>
                  <a:pt x="439" y="354"/>
                </a:lnTo>
                <a:lnTo>
                  <a:pt x="438" y="354"/>
                </a:lnTo>
                <a:lnTo>
                  <a:pt x="437" y="354"/>
                </a:lnTo>
                <a:lnTo>
                  <a:pt x="437" y="353"/>
                </a:lnTo>
                <a:lnTo>
                  <a:pt x="436" y="353"/>
                </a:lnTo>
                <a:lnTo>
                  <a:pt x="436" y="352"/>
                </a:lnTo>
                <a:lnTo>
                  <a:pt x="435" y="352"/>
                </a:lnTo>
                <a:lnTo>
                  <a:pt x="434" y="351"/>
                </a:lnTo>
                <a:lnTo>
                  <a:pt x="433" y="350"/>
                </a:lnTo>
                <a:lnTo>
                  <a:pt x="433" y="349"/>
                </a:lnTo>
                <a:lnTo>
                  <a:pt x="433" y="348"/>
                </a:lnTo>
                <a:lnTo>
                  <a:pt x="433" y="347"/>
                </a:lnTo>
                <a:lnTo>
                  <a:pt x="432" y="345"/>
                </a:lnTo>
                <a:lnTo>
                  <a:pt x="431" y="344"/>
                </a:lnTo>
                <a:lnTo>
                  <a:pt x="431" y="343"/>
                </a:lnTo>
                <a:lnTo>
                  <a:pt x="430" y="342"/>
                </a:lnTo>
                <a:lnTo>
                  <a:pt x="430" y="342"/>
                </a:lnTo>
                <a:lnTo>
                  <a:pt x="429" y="342"/>
                </a:lnTo>
                <a:lnTo>
                  <a:pt x="429" y="341"/>
                </a:lnTo>
                <a:lnTo>
                  <a:pt x="428" y="341"/>
                </a:lnTo>
                <a:lnTo>
                  <a:pt x="425" y="342"/>
                </a:lnTo>
                <a:lnTo>
                  <a:pt x="424" y="342"/>
                </a:lnTo>
                <a:lnTo>
                  <a:pt x="423" y="342"/>
                </a:lnTo>
                <a:lnTo>
                  <a:pt x="422" y="341"/>
                </a:lnTo>
                <a:lnTo>
                  <a:pt x="420" y="340"/>
                </a:lnTo>
                <a:lnTo>
                  <a:pt x="417" y="339"/>
                </a:lnTo>
                <a:lnTo>
                  <a:pt x="415" y="338"/>
                </a:lnTo>
                <a:lnTo>
                  <a:pt x="412" y="337"/>
                </a:lnTo>
                <a:lnTo>
                  <a:pt x="411" y="336"/>
                </a:lnTo>
                <a:lnTo>
                  <a:pt x="410" y="336"/>
                </a:lnTo>
                <a:lnTo>
                  <a:pt x="409" y="335"/>
                </a:lnTo>
                <a:lnTo>
                  <a:pt x="406" y="335"/>
                </a:lnTo>
                <a:lnTo>
                  <a:pt x="405" y="334"/>
                </a:lnTo>
                <a:lnTo>
                  <a:pt x="403" y="334"/>
                </a:lnTo>
                <a:lnTo>
                  <a:pt x="401" y="333"/>
                </a:lnTo>
                <a:lnTo>
                  <a:pt x="399" y="332"/>
                </a:lnTo>
                <a:lnTo>
                  <a:pt x="395" y="331"/>
                </a:lnTo>
                <a:lnTo>
                  <a:pt x="394" y="330"/>
                </a:lnTo>
                <a:lnTo>
                  <a:pt x="392" y="330"/>
                </a:lnTo>
                <a:lnTo>
                  <a:pt x="390" y="329"/>
                </a:lnTo>
                <a:lnTo>
                  <a:pt x="389" y="329"/>
                </a:lnTo>
                <a:lnTo>
                  <a:pt x="388" y="329"/>
                </a:lnTo>
                <a:lnTo>
                  <a:pt x="387" y="329"/>
                </a:lnTo>
                <a:lnTo>
                  <a:pt x="386" y="329"/>
                </a:lnTo>
                <a:lnTo>
                  <a:pt x="385" y="329"/>
                </a:lnTo>
                <a:lnTo>
                  <a:pt x="384" y="329"/>
                </a:lnTo>
                <a:lnTo>
                  <a:pt x="383" y="329"/>
                </a:lnTo>
                <a:lnTo>
                  <a:pt x="382" y="330"/>
                </a:lnTo>
                <a:lnTo>
                  <a:pt x="381" y="330"/>
                </a:lnTo>
                <a:lnTo>
                  <a:pt x="380" y="331"/>
                </a:lnTo>
                <a:lnTo>
                  <a:pt x="379" y="332"/>
                </a:lnTo>
                <a:lnTo>
                  <a:pt x="378" y="333"/>
                </a:lnTo>
                <a:lnTo>
                  <a:pt x="375" y="336"/>
                </a:lnTo>
                <a:lnTo>
                  <a:pt x="373" y="339"/>
                </a:lnTo>
                <a:lnTo>
                  <a:pt x="371" y="341"/>
                </a:lnTo>
                <a:lnTo>
                  <a:pt x="370" y="342"/>
                </a:lnTo>
                <a:lnTo>
                  <a:pt x="369" y="343"/>
                </a:lnTo>
                <a:lnTo>
                  <a:pt x="369" y="343"/>
                </a:lnTo>
                <a:lnTo>
                  <a:pt x="368" y="343"/>
                </a:lnTo>
                <a:lnTo>
                  <a:pt x="366" y="344"/>
                </a:lnTo>
                <a:lnTo>
                  <a:pt x="365" y="344"/>
                </a:lnTo>
                <a:lnTo>
                  <a:pt x="364" y="344"/>
                </a:lnTo>
                <a:lnTo>
                  <a:pt x="363" y="344"/>
                </a:lnTo>
                <a:lnTo>
                  <a:pt x="362" y="344"/>
                </a:lnTo>
                <a:lnTo>
                  <a:pt x="360" y="343"/>
                </a:lnTo>
                <a:lnTo>
                  <a:pt x="359" y="343"/>
                </a:lnTo>
                <a:lnTo>
                  <a:pt x="356" y="342"/>
                </a:lnTo>
                <a:lnTo>
                  <a:pt x="354" y="341"/>
                </a:lnTo>
                <a:lnTo>
                  <a:pt x="352" y="340"/>
                </a:lnTo>
                <a:lnTo>
                  <a:pt x="350" y="339"/>
                </a:lnTo>
                <a:lnTo>
                  <a:pt x="348" y="338"/>
                </a:lnTo>
                <a:lnTo>
                  <a:pt x="342" y="335"/>
                </a:lnTo>
                <a:lnTo>
                  <a:pt x="340" y="334"/>
                </a:lnTo>
                <a:lnTo>
                  <a:pt x="337" y="332"/>
                </a:lnTo>
                <a:lnTo>
                  <a:pt x="335" y="331"/>
                </a:lnTo>
                <a:lnTo>
                  <a:pt x="334" y="330"/>
                </a:lnTo>
                <a:lnTo>
                  <a:pt x="333" y="329"/>
                </a:lnTo>
                <a:lnTo>
                  <a:pt x="333" y="328"/>
                </a:lnTo>
                <a:lnTo>
                  <a:pt x="331" y="327"/>
                </a:lnTo>
                <a:lnTo>
                  <a:pt x="330" y="327"/>
                </a:lnTo>
                <a:lnTo>
                  <a:pt x="324" y="324"/>
                </a:lnTo>
                <a:lnTo>
                  <a:pt x="321" y="323"/>
                </a:lnTo>
                <a:lnTo>
                  <a:pt x="319" y="322"/>
                </a:lnTo>
                <a:lnTo>
                  <a:pt x="318" y="321"/>
                </a:lnTo>
                <a:lnTo>
                  <a:pt x="317" y="320"/>
                </a:lnTo>
                <a:lnTo>
                  <a:pt x="316" y="320"/>
                </a:lnTo>
                <a:lnTo>
                  <a:pt x="315" y="318"/>
                </a:lnTo>
                <a:lnTo>
                  <a:pt x="314" y="318"/>
                </a:lnTo>
                <a:lnTo>
                  <a:pt x="313" y="317"/>
                </a:lnTo>
                <a:lnTo>
                  <a:pt x="312" y="315"/>
                </a:lnTo>
                <a:lnTo>
                  <a:pt x="310" y="311"/>
                </a:lnTo>
                <a:lnTo>
                  <a:pt x="309" y="310"/>
                </a:lnTo>
                <a:lnTo>
                  <a:pt x="308" y="308"/>
                </a:lnTo>
                <a:lnTo>
                  <a:pt x="307" y="307"/>
                </a:lnTo>
                <a:lnTo>
                  <a:pt x="306" y="306"/>
                </a:lnTo>
                <a:lnTo>
                  <a:pt x="305" y="305"/>
                </a:lnTo>
                <a:lnTo>
                  <a:pt x="302" y="303"/>
                </a:lnTo>
                <a:lnTo>
                  <a:pt x="300" y="301"/>
                </a:lnTo>
                <a:lnTo>
                  <a:pt x="298" y="300"/>
                </a:lnTo>
                <a:lnTo>
                  <a:pt x="297" y="299"/>
                </a:lnTo>
                <a:lnTo>
                  <a:pt x="296" y="299"/>
                </a:lnTo>
                <a:lnTo>
                  <a:pt x="293" y="298"/>
                </a:lnTo>
                <a:lnTo>
                  <a:pt x="292" y="297"/>
                </a:lnTo>
                <a:lnTo>
                  <a:pt x="290" y="297"/>
                </a:lnTo>
                <a:lnTo>
                  <a:pt x="289" y="296"/>
                </a:lnTo>
                <a:lnTo>
                  <a:pt x="289" y="295"/>
                </a:lnTo>
                <a:lnTo>
                  <a:pt x="288" y="295"/>
                </a:lnTo>
                <a:lnTo>
                  <a:pt x="285" y="292"/>
                </a:lnTo>
                <a:lnTo>
                  <a:pt x="279" y="285"/>
                </a:lnTo>
                <a:lnTo>
                  <a:pt x="275" y="281"/>
                </a:lnTo>
                <a:lnTo>
                  <a:pt x="274" y="279"/>
                </a:lnTo>
                <a:lnTo>
                  <a:pt x="273" y="278"/>
                </a:lnTo>
                <a:lnTo>
                  <a:pt x="272" y="278"/>
                </a:lnTo>
                <a:lnTo>
                  <a:pt x="271" y="277"/>
                </a:lnTo>
                <a:lnTo>
                  <a:pt x="270" y="277"/>
                </a:lnTo>
                <a:lnTo>
                  <a:pt x="269" y="277"/>
                </a:lnTo>
                <a:lnTo>
                  <a:pt x="265" y="276"/>
                </a:lnTo>
                <a:lnTo>
                  <a:pt x="264" y="276"/>
                </a:lnTo>
                <a:lnTo>
                  <a:pt x="263" y="276"/>
                </a:lnTo>
                <a:lnTo>
                  <a:pt x="262" y="276"/>
                </a:lnTo>
                <a:lnTo>
                  <a:pt x="261" y="276"/>
                </a:lnTo>
                <a:lnTo>
                  <a:pt x="260" y="277"/>
                </a:lnTo>
                <a:lnTo>
                  <a:pt x="259" y="278"/>
                </a:lnTo>
                <a:lnTo>
                  <a:pt x="257" y="279"/>
                </a:lnTo>
                <a:lnTo>
                  <a:pt x="257" y="279"/>
                </a:lnTo>
                <a:lnTo>
                  <a:pt x="256" y="279"/>
                </a:lnTo>
                <a:lnTo>
                  <a:pt x="255" y="280"/>
                </a:lnTo>
                <a:lnTo>
                  <a:pt x="255" y="280"/>
                </a:lnTo>
                <a:lnTo>
                  <a:pt x="254" y="280"/>
                </a:lnTo>
                <a:lnTo>
                  <a:pt x="253" y="279"/>
                </a:lnTo>
                <a:lnTo>
                  <a:pt x="252" y="279"/>
                </a:lnTo>
                <a:lnTo>
                  <a:pt x="251" y="278"/>
                </a:lnTo>
                <a:lnTo>
                  <a:pt x="251" y="278"/>
                </a:lnTo>
                <a:lnTo>
                  <a:pt x="250" y="276"/>
                </a:lnTo>
                <a:lnTo>
                  <a:pt x="249" y="275"/>
                </a:lnTo>
                <a:lnTo>
                  <a:pt x="248" y="274"/>
                </a:lnTo>
                <a:lnTo>
                  <a:pt x="245" y="272"/>
                </a:lnTo>
                <a:lnTo>
                  <a:pt x="243" y="271"/>
                </a:lnTo>
                <a:lnTo>
                  <a:pt x="242" y="270"/>
                </a:lnTo>
                <a:lnTo>
                  <a:pt x="239" y="267"/>
                </a:lnTo>
                <a:lnTo>
                  <a:pt x="239" y="267"/>
                </a:lnTo>
                <a:lnTo>
                  <a:pt x="238" y="266"/>
                </a:lnTo>
                <a:lnTo>
                  <a:pt x="237" y="266"/>
                </a:lnTo>
                <a:lnTo>
                  <a:pt x="236" y="265"/>
                </a:lnTo>
                <a:lnTo>
                  <a:pt x="236" y="265"/>
                </a:lnTo>
                <a:lnTo>
                  <a:pt x="235" y="265"/>
                </a:lnTo>
                <a:lnTo>
                  <a:pt x="235" y="266"/>
                </a:lnTo>
                <a:lnTo>
                  <a:pt x="235" y="268"/>
                </a:lnTo>
                <a:lnTo>
                  <a:pt x="234" y="270"/>
                </a:lnTo>
                <a:lnTo>
                  <a:pt x="234" y="271"/>
                </a:lnTo>
                <a:lnTo>
                  <a:pt x="233" y="274"/>
                </a:lnTo>
                <a:lnTo>
                  <a:pt x="232" y="276"/>
                </a:lnTo>
                <a:lnTo>
                  <a:pt x="231" y="278"/>
                </a:lnTo>
                <a:lnTo>
                  <a:pt x="231" y="282"/>
                </a:lnTo>
                <a:lnTo>
                  <a:pt x="231" y="283"/>
                </a:lnTo>
                <a:lnTo>
                  <a:pt x="230" y="284"/>
                </a:lnTo>
                <a:lnTo>
                  <a:pt x="230" y="285"/>
                </a:lnTo>
                <a:lnTo>
                  <a:pt x="229" y="286"/>
                </a:lnTo>
                <a:lnTo>
                  <a:pt x="228" y="287"/>
                </a:lnTo>
                <a:lnTo>
                  <a:pt x="228" y="288"/>
                </a:lnTo>
                <a:lnTo>
                  <a:pt x="227" y="288"/>
                </a:lnTo>
                <a:lnTo>
                  <a:pt x="225" y="289"/>
                </a:lnTo>
                <a:lnTo>
                  <a:pt x="220" y="292"/>
                </a:lnTo>
                <a:lnTo>
                  <a:pt x="217" y="293"/>
                </a:lnTo>
                <a:lnTo>
                  <a:pt x="216" y="294"/>
                </a:lnTo>
                <a:lnTo>
                  <a:pt x="214" y="295"/>
                </a:lnTo>
                <a:lnTo>
                  <a:pt x="213" y="296"/>
                </a:lnTo>
                <a:lnTo>
                  <a:pt x="212" y="297"/>
                </a:lnTo>
                <a:lnTo>
                  <a:pt x="212" y="297"/>
                </a:lnTo>
                <a:lnTo>
                  <a:pt x="211" y="298"/>
                </a:lnTo>
                <a:lnTo>
                  <a:pt x="211" y="299"/>
                </a:lnTo>
                <a:lnTo>
                  <a:pt x="211" y="299"/>
                </a:lnTo>
                <a:lnTo>
                  <a:pt x="210" y="301"/>
                </a:lnTo>
                <a:lnTo>
                  <a:pt x="210" y="304"/>
                </a:lnTo>
                <a:lnTo>
                  <a:pt x="209" y="305"/>
                </a:lnTo>
                <a:lnTo>
                  <a:pt x="209" y="306"/>
                </a:lnTo>
                <a:lnTo>
                  <a:pt x="208" y="307"/>
                </a:lnTo>
                <a:lnTo>
                  <a:pt x="208" y="308"/>
                </a:lnTo>
                <a:lnTo>
                  <a:pt x="207" y="308"/>
                </a:lnTo>
                <a:lnTo>
                  <a:pt x="206" y="309"/>
                </a:lnTo>
                <a:lnTo>
                  <a:pt x="205" y="310"/>
                </a:lnTo>
                <a:lnTo>
                  <a:pt x="204" y="311"/>
                </a:lnTo>
                <a:lnTo>
                  <a:pt x="203" y="312"/>
                </a:lnTo>
                <a:lnTo>
                  <a:pt x="202" y="312"/>
                </a:lnTo>
                <a:lnTo>
                  <a:pt x="201" y="313"/>
                </a:lnTo>
                <a:lnTo>
                  <a:pt x="200" y="313"/>
                </a:lnTo>
                <a:lnTo>
                  <a:pt x="199" y="313"/>
                </a:lnTo>
                <a:lnTo>
                  <a:pt x="198" y="313"/>
                </a:lnTo>
                <a:lnTo>
                  <a:pt x="197" y="313"/>
                </a:lnTo>
                <a:lnTo>
                  <a:pt x="197" y="313"/>
                </a:lnTo>
                <a:lnTo>
                  <a:pt x="195" y="313"/>
                </a:lnTo>
                <a:lnTo>
                  <a:pt x="193" y="312"/>
                </a:lnTo>
                <a:lnTo>
                  <a:pt x="188" y="311"/>
                </a:lnTo>
                <a:lnTo>
                  <a:pt x="185" y="310"/>
                </a:lnTo>
                <a:lnTo>
                  <a:pt x="182" y="309"/>
                </a:lnTo>
                <a:lnTo>
                  <a:pt x="179" y="309"/>
                </a:lnTo>
                <a:lnTo>
                  <a:pt x="177" y="309"/>
                </a:lnTo>
                <a:lnTo>
                  <a:pt x="176" y="309"/>
                </a:lnTo>
                <a:lnTo>
                  <a:pt x="174" y="309"/>
                </a:lnTo>
                <a:lnTo>
                  <a:pt x="173" y="309"/>
                </a:lnTo>
                <a:lnTo>
                  <a:pt x="172" y="309"/>
                </a:lnTo>
                <a:lnTo>
                  <a:pt x="171" y="310"/>
                </a:lnTo>
                <a:lnTo>
                  <a:pt x="170" y="310"/>
                </a:lnTo>
                <a:lnTo>
                  <a:pt x="170" y="311"/>
                </a:lnTo>
                <a:lnTo>
                  <a:pt x="169" y="313"/>
                </a:lnTo>
                <a:lnTo>
                  <a:pt x="169" y="314"/>
                </a:lnTo>
                <a:lnTo>
                  <a:pt x="168" y="315"/>
                </a:lnTo>
                <a:lnTo>
                  <a:pt x="168" y="321"/>
                </a:lnTo>
                <a:lnTo>
                  <a:pt x="167" y="323"/>
                </a:lnTo>
                <a:lnTo>
                  <a:pt x="167" y="325"/>
                </a:lnTo>
                <a:lnTo>
                  <a:pt x="167" y="326"/>
                </a:lnTo>
                <a:lnTo>
                  <a:pt x="166" y="327"/>
                </a:lnTo>
                <a:lnTo>
                  <a:pt x="165" y="328"/>
                </a:lnTo>
                <a:lnTo>
                  <a:pt x="165" y="329"/>
                </a:lnTo>
                <a:lnTo>
                  <a:pt x="164" y="330"/>
                </a:lnTo>
                <a:lnTo>
                  <a:pt x="163" y="330"/>
                </a:lnTo>
                <a:lnTo>
                  <a:pt x="160" y="333"/>
                </a:lnTo>
                <a:lnTo>
                  <a:pt x="159" y="333"/>
                </a:lnTo>
                <a:lnTo>
                  <a:pt x="158" y="334"/>
                </a:lnTo>
                <a:lnTo>
                  <a:pt x="157" y="335"/>
                </a:lnTo>
                <a:lnTo>
                  <a:pt x="157" y="336"/>
                </a:lnTo>
                <a:lnTo>
                  <a:pt x="154" y="339"/>
                </a:lnTo>
                <a:lnTo>
                  <a:pt x="153" y="341"/>
                </a:lnTo>
                <a:lnTo>
                  <a:pt x="152" y="342"/>
                </a:lnTo>
                <a:lnTo>
                  <a:pt x="151" y="343"/>
                </a:lnTo>
                <a:lnTo>
                  <a:pt x="149" y="345"/>
                </a:lnTo>
                <a:lnTo>
                  <a:pt x="144" y="348"/>
                </a:lnTo>
                <a:lnTo>
                  <a:pt x="141" y="351"/>
                </a:lnTo>
                <a:lnTo>
                  <a:pt x="140" y="352"/>
                </a:lnTo>
                <a:lnTo>
                  <a:pt x="139" y="352"/>
                </a:lnTo>
                <a:lnTo>
                  <a:pt x="139" y="353"/>
                </a:lnTo>
                <a:lnTo>
                  <a:pt x="137" y="353"/>
                </a:lnTo>
                <a:lnTo>
                  <a:pt x="128" y="353"/>
                </a:lnTo>
                <a:lnTo>
                  <a:pt x="127" y="354"/>
                </a:lnTo>
                <a:lnTo>
                  <a:pt x="124" y="354"/>
                </a:lnTo>
                <a:lnTo>
                  <a:pt x="123" y="354"/>
                </a:lnTo>
                <a:lnTo>
                  <a:pt x="120" y="354"/>
                </a:lnTo>
                <a:lnTo>
                  <a:pt x="118" y="354"/>
                </a:lnTo>
                <a:lnTo>
                  <a:pt x="117" y="355"/>
                </a:lnTo>
                <a:lnTo>
                  <a:pt x="112" y="356"/>
                </a:lnTo>
                <a:lnTo>
                  <a:pt x="111" y="357"/>
                </a:lnTo>
                <a:lnTo>
                  <a:pt x="109" y="357"/>
                </a:lnTo>
                <a:lnTo>
                  <a:pt x="108" y="358"/>
                </a:lnTo>
                <a:lnTo>
                  <a:pt x="107" y="358"/>
                </a:lnTo>
                <a:lnTo>
                  <a:pt x="107" y="358"/>
                </a:lnTo>
                <a:lnTo>
                  <a:pt x="106" y="358"/>
                </a:lnTo>
                <a:lnTo>
                  <a:pt x="105" y="358"/>
                </a:lnTo>
                <a:lnTo>
                  <a:pt x="104" y="358"/>
                </a:lnTo>
                <a:lnTo>
                  <a:pt x="103" y="357"/>
                </a:lnTo>
                <a:lnTo>
                  <a:pt x="102" y="357"/>
                </a:lnTo>
                <a:lnTo>
                  <a:pt x="101" y="356"/>
                </a:lnTo>
                <a:lnTo>
                  <a:pt x="100" y="356"/>
                </a:lnTo>
                <a:lnTo>
                  <a:pt x="99" y="356"/>
                </a:lnTo>
                <a:lnTo>
                  <a:pt x="99" y="355"/>
                </a:lnTo>
                <a:lnTo>
                  <a:pt x="98" y="354"/>
                </a:lnTo>
                <a:lnTo>
                  <a:pt x="98" y="353"/>
                </a:lnTo>
                <a:lnTo>
                  <a:pt x="97" y="352"/>
                </a:lnTo>
                <a:lnTo>
                  <a:pt x="97" y="351"/>
                </a:lnTo>
                <a:lnTo>
                  <a:pt x="96" y="349"/>
                </a:lnTo>
                <a:lnTo>
                  <a:pt x="96" y="347"/>
                </a:lnTo>
                <a:lnTo>
                  <a:pt x="95" y="343"/>
                </a:lnTo>
                <a:lnTo>
                  <a:pt x="95" y="342"/>
                </a:lnTo>
                <a:lnTo>
                  <a:pt x="94" y="341"/>
                </a:lnTo>
                <a:lnTo>
                  <a:pt x="94" y="340"/>
                </a:lnTo>
                <a:lnTo>
                  <a:pt x="93" y="339"/>
                </a:lnTo>
                <a:lnTo>
                  <a:pt x="93" y="339"/>
                </a:lnTo>
                <a:lnTo>
                  <a:pt x="92" y="338"/>
                </a:lnTo>
                <a:lnTo>
                  <a:pt x="91" y="338"/>
                </a:lnTo>
                <a:lnTo>
                  <a:pt x="91" y="338"/>
                </a:lnTo>
                <a:lnTo>
                  <a:pt x="90" y="338"/>
                </a:lnTo>
                <a:lnTo>
                  <a:pt x="89" y="338"/>
                </a:lnTo>
                <a:lnTo>
                  <a:pt x="88" y="339"/>
                </a:lnTo>
                <a:lnTo>
                  <a:pt x="86" y="339"/>
                </a:lnTo>
                <a:lnTo>
                  <a:pt x="85" y="340"/>
                </a:lnTo>
                <a:lnTo>
                  <a:pt x="83" y="341"/>
                </a:lnTo>
                <a:lnTo>
                  <a:pt x="82" y="341"/>
                </a:lnTo>
                <a:lnTo>
                  <a:pt x="81" y="341"/>
                </a:lnTo>
                <a:lnTo>
                  <a:pt x="80" y="341"/>
                </a:lnTo>
                <a:lnTo>
                  <a:pt x="79" y="341"/>
                </a:lnTo>
                <a:lnTo>
                  <a:pt x="79" y="341"/>
                </a:lnTo>
                <a:lnTo>
                  <a:pt x="77" y="341"/>
                </a:lnTo>
                <a:lnTo>
                  <a:pt x="76" y="341"/>
                </a:lnTo>
                <a:lnTo>
                  <a:pt x="73" y="339"/>
                </a:lnTo>
                <a:lnTo>
                  <a:pt x="72" y="339"/>
                </a:lnTo>
                <a:lnTo>
                  <a:pt x="70" y="338"/>
                </a:lnTo>
                <a:lnTo>
                  <a:pt x="69" y="338"/>
                </a:lnTo>
                <a:lnTo>
                  <a:pt x="68" y="339"/>
                </a:lnTo>
                <a:lnTo>
                  <a:pt x="67" y="339"/>
                </a:lnTo>
                <a:lnTo>
                  <a:pt x="66" y="340"/>
                </a:lnTo>
                <a:lnTo>
                  <a:pt x="63" y="341"/>
                </a:lnTo>
                <a:lnTo>
                  <a:pt x="62" y="341"/>
                </a:lnTo>
                <a:lnTo>
                  <a:pt x="61" y="342"/>
                </a:lnTo>
                <a:lnTo>
                  <a:pt x="61" y="342"/>
                </a:lnTo>
                <a:lnTo>
                  <a:pt x="60" y="342"/>
                </a:lnTo>
                <a:lnTo>
                  <a:pt x="59" y="342"/>
                </a:lnTo>
                <a:lnTo>
                  <a:pt x="59" y="341"/>
                </a:lnTo>
                <a:lnTo>
                  <a:pt x="58" y="341"/>
                </a:lnTo>
                <a:lnTo>
                  <a:pt x="57" y="340"/>
                </a:lnTo>
                <a:lnTo>
                  <a:pt x="57" y="340"/>
                </a:lnTo>
                <a:lnTo>
                  <a:pt x="56" y="339"/>
                </a:lnTo>
                <a:lnTo>
                  <a:pt x="56" y="339"/>
                </a:lnTo>
                <a:lnTo>
                  <a:pt x="56" y="339"/>
                </a:lnTo>
                <a:lnTo>
                  <a:pt x="56" y="338"/>
                </a:lnTo>
                <a:lnTo>
                  <a:pt x="56" y="338"/>
                </a:lnTo>
                <a:lnTo>
                  <a:pt x="55" y="336"/>
                </a:lnTo>
                <a:lnTo>
                  <a:pt x="54" y="334"/>
                </a:lnTo>
                <a:lnTo>
                  <a:pt x="53" y="333"/>
                </a:lnTo>
                <a:lnTo>
                  <a:pt x="52" y="332"/>
                </a:lnTo>
                <a:lnTo>
                  <a:pt x="51" y="330"/>
                </a:lnTo>
                <a:lnTo>
                  <a:pt x="50" y="329"/>
                </a:lnTo>
                <a:lnTo>
                  <a:pt x="49" y="328"/>
                </a:lnTo>
                <a:lnTo>
                  <a:pt x="47" y="326"/>
                </a:lnTo>
                <a:lnTo>
                  <a:pt x="45" y="325"/>
                </a:lnTo>
                <a:lnTo>
                  <a:pt x="42" y="323"/>
                </a:lnTo>
                <a:lnTo>
                  <a:pt x="40" y="322"/>
                </a:lnTo>
                <a:lnTo>
                  <a:pt x="39" y="322"/>
                </a:lnTo>
                <a:lnTo>
                  <a:pt x="38" y="320"/>
                </a:lnTo>
                <a:lnTo>
                  <a:pt x="38" y="319"/>
                </a:lnTo>
                <a:lnTo>
                  <a:pt x="37" y="318"/>
                </a:lnTo>
                <a:lnTo>
                  <a:pt x="34" y="313"/>
                </a:lnTo>
                <a:lnTo>
                  <a:pt x="30" y="306"/>
                </a:lnTo>
                <a:lnTo>
                  <a:pt x="30" y="305"/>
                </a:lnTo>
                <a:lnTo>
                  <a:pt x="29" y="303"/>
                </a:lnTo>
                <a:lnTo>
                  <a:pt x="26" y="295"/>
                </a:lnTo>
                <a:lnTo>
                  <a:pt x="25" y="293"/>
                </a:lnTo>
                <a:lnTo>
                  <a:pt x="24" y="291"/>
                </a:lnTo>
                <a:lnTo>
                  <a:pt x="23" y="288"/>
                </a:lnTo>
                <a:lnTo>
                  <a:pt x="21" y="285"/>
                </a:lnTo>
                <a:lnTo>
                  <a:pt x="21" y="284"/>
                </a:lnTo>
                <a:lnTo>
                  <a:pt x="19" y="282"/>
                </a:lnTo>
                <a:lnTo>
                  <a:pt x="18" y="280"/>
                </a:lnTo>
                <a:lnTo>
                  <a:pt x="16" y="278"/>
                </a:lnTo>
                <a:lnTo>
                  <a:pt x="15" y="276"/>
                </a:lnTo>
                <a:lnTo>
                  <a:pt x="14" y="274"/>
                </a:lnTo>
                <a:lnTo>
                  <a:pt x="12" y="268"/>
                </a:lnTo>
                <a:lnTo>
                  <a:pt x="9" y="263"/>
                </a:lnTo>
                <a:lnTo>
                  <a:pt x="8" y="261"/>
                </a:lnTo>
                <a:lnTo>
                  <a:pt x="7" y="258"/>
                </a:lnTo>
                <a:lnTo>
                  <a:pt x="7" y="257"/>
                </a:lnTo>
                <a:lnTo>
                  <a:pt x="6" y="255"/>
                </a:lnTo>
                <a:lnTo>
                  <a:pt x="6" y="251"/>
                </a:lnTo>
                <a:lnTo>
                  <a:pt x="5" y="249"/>
                </a:lnTo>
                <a:lnTo>
                  <a:pt x="5" y="247"/>
                </a:lnTo>
                <a:lnTo>
                  <a:pt x="4" y="243"/>
                </a:lnTo>
                <a:lnTo>
                  <a:pt x="3" y="241"/>
                </a:lnTo>
                <a:lnTo>
                  <a:pt x="2" y="241"/>
                </a:lnTo>
                <a:lnTo>
                  <a:pt x="1" y="238"/>
                </a:lnTo>
                <a:lnTo>
                  <a:pt x="1" y="237"/>
                </a:lnTo>
                <a:lnTo>
                  <a:pt x="0" y="236"/>
                </a:lnTo>
                <a:lnTo>
                  <a:pt x="0" y="235"/>
                </a:lnTo>
                <a:lnTo>
                  <a:pt x="0" y="234"/>
                </a:lnTo>
                <a:lnTo>
                  <a:pt x="0" y="233"/>
                </a:lnTo>
                <a:lnTo>
                  <a:pt x="1" y="231"/>
                </a:lnTo>
                <a:lnTo>
                  <a:pt x="1" y="230"/>
                </a:lnTo>
                <a:lnTo>
                  <a:pt x="1" y="229"/>
                </a:lnTo>
                <a:lnTo>
                  <a:pt x="2" y="228"/>
                </a:lnTo>
                <a:lnTo>
                  <a:pt x="2" y="227"/>
                </a:lnTo>
                <a:lnTo>
                  <a:pt x="3" y="225"/>
                </a:lnTo>
                <a:lnTo>
                  <a:pt x="7" y="220"/>
                </a:lnTo>
                <a:lnTo>
                  <a:pt x="8" y="219"/>
                </a:lnTo>
                <a:lnTo>
                  <a:pt x="8" y="217"/>
                </a:lnTo>
                <a:lnTo>
                  <a:pt x="8" y="216"/>
                </a:lnTo>
                <a:lnTo>
                  <a:pt x="9" y="215"/>
                </a:lnTo>
                <a:lnTo>
                  <a:pt x="9" y="210"/>
                </a:lnTo>
                <a:lnTo>
                  <a:pt x="10" y="209"/>
                </a:lnTo>
                <a:lnTo>
                  <a:pt x="10" y="207"/>
                </a:lnTo>
                <a:lnTo>
                  <a:pt x="11" y="205"/>
                </a:lnTo>
                <a:lnTo>
                  <a:pt x="12" y="203"/>
                </a:lnTo>
                <a:lnTo>
                  <a:pt x="12" y="202"/>
                </a:lnTo>
                <a:lnTo>
                  <a:pt x="13" y="201"/>
                </a:lnTo>
                <a:lnTo>
                  <a:pt x="14" y="200"/>
                </a:lnTo>
                <a:lnTo>
                  <a:pt x="15" y="199"/>
                </a:lnTo>
                <a:lnTo>
                  <a:pt x="16" y="198"/>
                </a:lnTo>
                <a:lnTo>
                  <a:pt x="17" y="197"/>
                </a:lnTo>
                <a:lnTo>
                  <a:pt x="22" y="193"/>
                </a:lnTo>
                <a:lnTo>
                  <a:pt x="25" y="190"/>
                </a:lnTo>
                <a:lnTo>
                  <a:pt x="26" y="189"/>
                </a:lnTo>
                <a:lnTo>
                  <a:pt x="27" y="189"/>
                </a:lnTo>
                <a:lnTo>
                  <a:pt x="29" y="188"/>
                </a:lnTo>
                <a:lnTo>
                  <a:pt x="29" y="188"/>
                </a:lnTo>
                <a:lnTo>
                  <a:pt x="29" y="187"/>
                </a:lnTo>
                <a:lnTo>
                  <a:pt x="30" y="187"/>
                </a:lnTo>
                <a:lnTo>
                  <a:pt x="30" y="186"/>
                </a:lnTo>
                <a:lnTo>
                  <a:pt x="31" y="186"/>
                </a:lnTo>
                <a:lnTo>
                  <a:pt x="31" y="185"/>
                </a:lnTo>
                <a:lnTo>
                  <a:pt x="31" y="182"/>
                </a:lnTo>
                <a:lnTo>
                  <a:pt x="31" y="181"/>
                </a:lnTo>
                <a:lnTo>
                  <a:pt x="31" y="180"/>
                </a:lnTo>
                <a:lnTo>
                  <a:pt x="31" y="178"/>
                </a:lnTo>
                <a:lnTo>
                  <a:pt x="32" y="176"/>
                </a:lnTo>
                <a:lnTo>
                  <a:pt x="33" y="174"/>
                </a:lnTo>
                <a:lnTo>
                  <a:pt x="33" y="172"/>
                </a:lnTo>
                <a:lnTo>
                  <a:pt x="34" y="171"/>
                </a:lnTo>
                <a:lnTo>
                  <a:pt x="35" y="169"/>
                </a:lnTo>
                <a:lnTo>
                  <a:pt x="35" y="168"/>
                </a:lnTo>
                <a:lnTo>
                  <a:pt x="36" y="167"/>
                </a:lnTo>
                <a:lnTo>
                  <a:pt x="37" y="166"/>
                </a:lnTo>
                <a:lnTo>
                  <a:pt x="38" y="165"/>
                </a:lnTo>
                <a:lnTo>
                  <a:pt x="40" y="162"/>
                </a:lnTo>
                <a:lnTo>
                  <a:pt x="41" y="161"/>
                </a:lnTo>
                <a:lnTo>
                  <a:pt x="42" y="160"/>
                </a:lnTo>
                <a:lnTo>
                  <a:pt x="42" y="159"/>
                </a:lnTo>
                <a:lnTo>
                  <a:pt x="43" y="158"/>
                </a:lnTo>
                <a:lnTo>
                  <a:pt x="43" y="157"/>
                </a:lnTo>
                <a:lnTo>
                  <a:pt x="44" y="153"/>
                </a:lnTo>
                <a:lnTo>
                  <a:pt x="44" y="152"/>
                </a:lnTo>
                <a:lnTo>
                  <a:pt x="44" y="150"/>
                </a:lnTo>
                <a:lnTo>
                  <a:pt x="43" y="148"/>
                </a:lnTo>
                <a:lnTo>
                  <a:pt x="43" y="143"/>
                </a:lnTo>
                <a:lnTo>
                  <a:pt x="43" y="141"/>
                </a:lnTo>
                <a:lnTo>
                  <a:pt x="43" y="141"/>
                </a:lnTo>
                <a:lnTo>
                  <a:pt x="43" y="140"/>
                </a:lnTo>
                <a:lnTo>
                  <a:pt x="43" y="139"/>
                </a:lnTo>
                <a:lnTo>
                  <a:pt x="44" y="139"/>
                </a:lnTo>
                <a:lnTo>
                  <a:pt x="44" y="139"/>
                </a:lnTo>
                <a:lnTo>
                  <a:pt x="45" y="138"/>
                </a:lnTo>
                <a:lnTo>
                  <a:pt x="46" y="138"/>
                </a:lnTo>
                <a:lnTo>
                  <a:pt x="49" y="137"/>
                </a:lnTo>
                <a:lnTo>
                  <a:pt x="50" y="137"/>
                </a:lnTo>
                <a:lnTo>
                  <a:pt x="51" y="137"/>
                </a:lnTo>
                <a:lnTo>
                  <a:pt x="52" y="137"/>
                </a:lnTo>
                <a:lnTo>
                  <a:pt x="53" y="137"/>
                </a:lnTo>
                <a:lnTo>
                  <a:pt x="54" y="138"/>
                </a:lnTo>
                <a:lnTo>
                  <a:pt x="57" y="139"/>
                </a:lnTo>
                <a:lnTo>
                  <a:pt x="60" y="140"/>
                </a:lnTo>
                <a:lnTo>
                  <a:pt x="61" y="140"/>
                </a:lnTo>
                <a:lnTo>
                  <a:pt x="64" y="142"/>
                </a:lnTo>
                <a:lnTo>
                  <a:pt x="68" y="144"/>
                </a:lnTo>
                <a:lnTo>
                  <a:pt x="69" y="145"/>
                </a:lnTo>
                <a:lnTo>
                  <a:pt x="71" y="146"/>
                </a:lnTo>
                <a:lnTo>
                  <a:pt x="73" y="147"/>
                </a:lnTo>
                <a:lnTo>
                  <a:pt x="75" y="147"/>
                </a:lnTo>
                <a:lnTo>
                  <a:pt x="76" y="147"/>
                </a:lnTo>
                <a:lnTo>
                  <a:pt x="78" y="147"/>
                </a:lnTo>
                <a:lnTo>
                  <a:pt x="79" y="148"/>
                </a:lnTo>
                <a:lnTo>
                  <a:pt x="80" y="147"/>
                </a:lnTo>
                <a:lnTo>
                  <a:pt x="81" y="147"/>
                </a:lnTo>
                <a:lnTo>
                  <a:pt x="82" y="147"/>
                </a:lnTo>
                <a:lnTo>
                  <a:pt x="83" y="147"/>
                </a:lnTo>
                <a:lnTo>
                  <a:pt x="84" y="146"/>
                </a:lnTo>
                <a:lnTo>
                  <a:pt x="84" y="146"/>
                </a:lnTo>
                <a:lnTo>
                  <a:pt x="85" y="145"/>
                </a:lnTo>
                <a:lnTo>
                  <a:pt x="86" y="145"/>
                </a:lnTo>
                <a:lnTo>
                  <a:pt x="87" y="144"/>
                </a:lnTo>
                <a:lnTo>
                  <a:pt x="87" y="143"/>
                </a:lnTo>
                <a:lnTo>
                  <a:pt x="88" y="142"/>
                </a:lnTo>
                <a:lnTo>
                  <a:pt x="88" y="141"/>
                </a:lnTo>
                <a:lnTo>
                  <a:pt x="89" y="139"/>
                </a:lnTo>
                <a:lnTo>
                  <a:pt x="91" y="132"/>
                </a:lnTo>
                <a:lnTo>
                  <a:pt x="92" y="130"/>
                </a:lnTo>
                <a:lnTo>
                  <a:pt x="93" y="127"/>
                </a:lnTo>
                <a:lnTo>
                  <a:pt x="93" y="126"/>
                </a:lnTo>
                <a:lnTo>
                  <a:pt x="94" y="125"/>
                </a:lnTo>
                <a:lnTo>
                  <a:pt x="94" y="124"/>
                </a:lnTo>
                <a:lnTo>
                  <a:pt x="95" y="123"/>
                </a:lnTo>
                <a:lnTo>
                  <a:pt x="96" y="123"/>
                </a:lnTo>
                <a:lnTo>
                  <a:pt x="97" y="122"/>
                </a:lnTo>
                <a:lnTo>
                  <a:pt x="99" y="121"/>
                </a:lnTo>
                <a:lnTo>
                  <a:pt x="103" y="118"/>
                </a:lnTo>
                <a:lnTo>
                  <a:pt x="104" y="117"/>
                </a:lnTo>
                <a:lnTo>
                  <a:pt x="107" y="115"/>
                </a:lnTo>
                <a:lnTo>
                  <a:pt x="108" y="114"/>
                </a:lnTo>
                <a:lnTo>
                  <a:pt x="110" y="112"/>
                </a:lnTo>
                <a:lnTo>
                  <a:pt x="112" y="111"/>
                </a:lnTo>
                <a:lnTo>
                  <a:pt x="112" y="110"/>
                </a:lnTo>
                <a:lnTo>
                  <a:pt x="113" y="109"/>
                </a:lnTo>
                <a:lnTo>
                  <a:pt x="113" y="109"/>
                </a:lnTo>
                <a:lnTo>
                  <a:pt x="113" y="108"/>
                </a:lnTo>
                <a:lnTo>
                  <a:pt x="114" y="109"/>
                </a:lnTo>
                <a:lnTo>
                  <a:pt x="121" y="111"/>
                </a:lnTo>
                <a:lnTo>
                  <a:pt x="128" y="114"/>
                </a:lnTo>
                <a:lnTo>
                  <a:pt x="131" y="115"/>
                </a:lnTo>
                <a:lnTo>
                  <a:pt x="134" y="116"/>
                </a:lnTo>
                <a:lnTo>
                  <a:pt x="141" y="120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50" y="124"/>
                </a:lnTo>
                <a:lnTo>
                  <a:pt x="152" y="125"/>
                </a:lnTo>
                <a:lnTo>
                  <a:pt x="154" y="127"/>
                </a:lnTo>
                <a:lnTo>
                  <a:pt x="155" y="128"/>
                </a:lnTo>
                <a:lnTo>
                  <a:pt x="156" y="128"/>
                </a:lnTo>
                <a:lnTo>
                  <a:pt x="157" y="129"/>
                </a:lnTo>
                <a:lnTo>
                  <a:pt x="158" y="129"/>
                </a:lnTo>
                <a:lnTo>
                  <a:pt x="160" y="130"/>
                </a:lnTo>
                <a:lnTo>
                  <a:pt x="164" y="130"/>
                </a:lnTo>
                <a:lnTo>
                  <a:pt x="165" y="130"/>
                </a:lnTo>
                <a:lnTo>
                  <a:pt x="172" y="131"/>
                </a:lnTo>
                <a:lnTo>
                  <a:pt x="174" y="132"/>
                </a:lnTo>
                <a:lnTo>
                  <a:pt x="176" y="132"/>
                </a:lnTo>
                <a:lnTo>
                  <a:pt x="178" y="132"/>
                </a:lnTo>
                <a:lnTo>
                  <a:pt x="179" y="132"/>
                </a:lnTo>
                <a:lnTo>
                  <a:pt x="181" y="132"/>
                </a:lnTo>
                <a:lnTo>
                  <a:pt x="182" y="131"/>
                </a:lnTo>
                <a:lnTo>
                  <a:pt x="183" y="131"/>
                </a:lnTo>
                <a:lnTo>
                  <a:pt x="184" y="130"/>
                </a:lnTo>
                <a:lnTo>
                  <a:pt x="185" y="130"/>
                </a:lnTo>
                <a:lnTo>
                  <a:pt x="186" y="129"/>
                </a:lnTo>
                <a:lnTo>
                  <a:pt x="187" y="128"/>
                </a:lnTo>
                <a:lnTo>
                  <a:pt x="188" y="127"/>
                </a:lnTo>
                <a:lnTo>
                  <a:pt x="189" y="125"/>
                </a:lnTo>
                <a:lnTo>
                  <a:pt x="190" y="123"/>
                </a:lnTo>
                <a:lnTo>
                  <a:pt x="192" y="116"/>
                </a:lnTo>
                <a:lnTo>
                  <a:pt x="193" y="114"/>
                </a:lnTo>
                <a:lnTo>
                  <a:pt x="195" y="111"/>
                </a:lnTo>
                <a:lnTo>
                  <a:pt x="197" y="107"/>
                </a:lnTo>
                <a:lnTo>
                  <a:pt x="198" y="105"/>
                </a:lnTo>
                <a:lnTo>
                  <a:pt x="199" y="104"/>
                </a:lnTo>
                <a:lnTo>
                  <a:pt x="200" y="103"/>
                </a:lnTo>
                <a:lnTo>
                  <a:pt x="201" y="103"/>
                </a:lnTo>
                <a:lnTo>
                  <a:pt x="201" y="102"/>
                </a:lnTo>
                <a:lnTo>
                  <a:pt x="202" y="102"/>
                </a:lnTo>
                <a:lnTo>
                  <a:pt x="203" y="101"/>
                </a:lnTo>
                <a:lnTo>
                  <a:pt x="204" y="101"/>
                </a:lnTo>
                <a:lnTo>
                  <a:pt x="205" y="101"/>
                </a:lnTo>
                <a:lnTo>
                  <a:pt x="211" y="100"/>
                </a:lnTo>
                <a:lnTo>
                  <a:pt x="217" y="98"/>
                </a:lnTo>
                <a:lnTo>
                  <a:pt x="219" y="98"/>
                </a:lnTo>
                <a:lnTo>
                  <a:pt x="220" y="98"/>
                </a:lnTo>
                <a:lnTo>
                  <a:pt x="222" y="98"/>
                </a:lnTo>
                <a:lnTo>
                  <a:pt x="226" y="99"/>
                </a:lnTo>
                <a:lnTo>
                  <a:pt x="227" y="99"/>
                </a:lnTo>
                <a:lnTo>
                  <a:pt x="228" y="99"/>
                </a:lnTo>
                <a:lnTo>
                  <a:pt x="232" y="99"/>
                </a:lnTo>
                <a:lnTo>
                  <a:pt x="233" y="99"/>
                </a:lnTo>
                <a:lnTo>
                  <a:pt x="235" y="99"/>
                </a:lnTo>
                <a:lnTo>
                  <a:pt x="237" y="100"/>
                </a:lnTo>
                <a:lnTo>
                  <a:pt x="240" y="100"/>
                </a:lnTo>
                <a:lnTo>
                  <a:pt x="248" y="103"/>
                </a:lnTo>
                <a:lnTo>
                  <a:pt x="250" y="103"/>
                </a:lnTo>
                <a:lnTo>
                  <a:pt x="252" y="103"/>
                </a:lnTo>
                <a:lnTo>
                  <a:pt x="253" y="103"/>
                </a:lnTo>
                <a:lnTo>
                  <a:pt x="255" y="104"/>
                </a:lnTo>
                <a:lnTo>
                  <a:pt x="256" y="103"/>
                </a:lnTo>
                <a:lnTo>
                  <a:pt x="258" y="103"/>
                </a:lnTo>
                <a:lnTo>
                  <a:pt x="259" y="103"/>
                </a:lnTo>
                <a:lnTo>
                  <a:pt x="261" y="103"/>
                </a:lnTo>
                <a:lnTo>
                  <a:pt x="263" y="102"/>
                </a:lnTo>
                <a:lnTo>
                  <a:pt x="264" y="102"/>
                </a:lnTo>
                <a:lnTo>
                  <a:pt x="266" y="101"/>
                </a:lnTo>
                <a:lnTo>
                  <a:pt x="267" y="100"/>
                </a:lnTo>
                <a:lnTo>
                  <a:pt x="267" y="100"/>
                </a:lnTo>
                <a:lnTo>
                  <a:pt x="268" y="99"/>
                </a:lnTo>
                <a:lnTo>
                  <a:pt x="269" y="98"/>
                </a:lnTo>
                <a:lnTo>
                  <a:pt x="269" y="98"/>
                </a:lnTo>
                <a:lnTo>
                  <a:pt x="269" y="97"/>
                </a:lnTo>
                <a:lnTo>
                  <a:pt x="270" y="96"/>
                </a:lnTo>
                <a:lnTo>
                  <a:pt x="270" y="95"/>
                </a:lnTo>
                <a:lnTo>
                  <a:pt x="270" y="94"/>
                </a:lnTo>
                <a:lnTo>
                  <a:pt x="270" y="93"/>
                </a:lnTo>
                <a:lnTo>
                  <a:pt x="271" y="91"/>
                </a:lnTo>
                <a:lnTo>
                  <a:pt x="271" y="85"/>
                </a:lnTo>
                <a:lnTo>
                  <a:pt x="271" y="78"/>
                </a:lnTo>
                <a:lnTo>
                  <a:pt x="271" y="77"/>
                </a:lnTo>
                <a:lnTo>
                  <a:pt x="271" y="73"/>
                </a:lnTo>
                <a:lnTo>
                  <a:pt x="271" y="70"/>
                </a:lnTo>
                <a:lnTo>
                  <a:pt x="270" y="69"/>
                </a:lnTo>
                <a:lnTo>
                  <a:pt x="271" y="67"/>
                </a:lnTo>
                <a:lnTo>
                  <a:pt x="271" y="65"/>
                </a:lnTo>
                <a:lnTo>
                  <a:pt x="271" y="64"/>
                </a:lnTo>
                <a:lnTo>
                  <a:pt x="275" y="56"/>
                </a:lnTo>
                <a:lnTo>
                  <a:pt x="275" y="54"/>
                </a:lnTo>
                <a:lnTo>
                  <a:pt x="276" y="52"/>
                </a:lnTo>
                <a:lnTo>
                  <a:pt x="276" y="49"/>
                </a:lnTo>
                <a:lnTo>
                  <a:pt x="277" y="46"/>
                </a:lnTo>
                <a:lnTo>
                  <a:pt x="277" y="39"/>
                </a:lnTo>
                <a:lnTo>
                  <a:pt x="277" y="37"/>
                </a:lnTo>
                <a:lnTo>
                  <a:pt x="277" y="36"/>
                </a:lnTo>
                <a:lnTo>
                  <a:pt x="277" y="35"/>
                </a:lnTo>
                <a:lnTo>
                  <a:pt x="277" y="34"/>
                </a:lnTo>
                <a:lnTo>
                  <a:pt x="276" y="33"/>
                </a:lnTo>
                <a:lnTo>
                  <a:pt x="276" y="32"/>
                </a:lnTo>
                <a:lnTo>
                  <a:pt x="275" y="31"/>
                </a:lnTo>
                <a:lnTo>
                  <a:pt x="275" y="30"/>
                </a:lnTo>
                <a:lnTo>
                  <a:pt x="274" y="29"/>
                </a:lnTo>
                <a:lnTo>
                  <a:pt x="274" y="29"/>
                </a:lnTo>
                <a:lnTo>
                  <a:pt x="273" y="28"/>
                </a:lnTo>
                <a:lnTo>
                  <a:pt x="272" y="28"/>
                </a:lnTo>
                <a:lnTo>
                  <a:pt x="271" y="27"/>
                </a:lnTo>
                <a:lnTo>
                  <a:pt x="268" y="26"/>
                </a:lnTo>
                <a:lnTo>
                  <a:pt x="267" y="26"/>
                </a:lnTo>
                <a:lnTo>
                  <a:pt x="266" y="25"/>
                </a:lnTo>
                <a:lnTo>
                  <a:pt x="265" y="25"/>
                </a:lnTo>
                <a:lnTo>
                  <a:pt x="264" y="24"/>
                </a:lnTo>
                <a:lnTo>
                  <a:pt x="263" y="23"/>
                </a:lnTo>
                <a:lnTo>
                  <a:pt x="263" y="22"/>
                </a:lnTo>
                <a:lnTo>
                  <a:pt x="262" y="22"/>
                </a:lnTo>
                <a:lnTo>
                  <a:pt x="262" y="21"/>
                </a:lnTo>
                <a:lnTo>
                  <a:pt x="262" y="20"/>
                </a:lnTo>
                <a:lnTo>
                  <a:pt x="262" y="19"/>
                </a:lnTo>
                <a:lnTo>
                  <a:pt x="262" y="19"/>
                </a:lnTo>
                <a:lnTo>
                  <a:pt x="262" y="18"/>
                </a:lnTo>
                <a:lnTo>
                  <a:pt x="263" y="17"/>
                </a:lnTo>
                <a:lnTo>
                  <a:pt x="263" y="15"/>
                </a:lnTo>
                <a:lnTo>
                  <a:pt x="264" y="14"/>
                </a:lnTo>
                <a:lnTo>
                  <a:pt x="265" y="13"/>
                </a:lnTo>
                <a:lnTo>
                  <a:pt x="265" y="12"/>
                </a:lnTo>
                <a:lnTo>
                  <a:pt x="266" y="11"/>
                </a:lnTo>
                <a:lnTo>
                  <a:pt x="268" y="10"/>
                </a:lnTo>
                <a:lnTo>
                  <a:pt x="269" y="8"/>
                </a:lnTo>
                <a:lnTo>
                  <a:pt x="275" y="4"/>
                </a:lnTo>
                <a:lnTo>
                  <a:pt x="278" y="2"/>
                </a:lnTo>
                <a:lnTo>
                  <a:pt x="279" y="1"/>
                </a:lnTo>
                <a:lnTo>
                  <a:pt x="280" y="0"/>
                </a:lnTo>
                <a:lnTo>
                  <a:pt x="280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 275">
            <a:extLst>
              <a:ext uri="{FF2B5EF4-FFF2-40B4-BE49-F238E27FC236}">
                <a16:creationId xmlns:a16="http://schemas.microsoft.com/office/drawing/2014/main" id="{9CF13C67-4633-4241-AA47-4298CC15437A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40 w 618"/>
              <a:gd name="T1" fmla="*/ 22 h 479"/>
              <a:gd name="T2" fmla="*/ 288 w 618"/>
              <a:gd name="T3" fmla="*/ 18 h 479"/>
              <a:gd name="T4" fmla="*/ 313 w 618"/>
              <a:gd name="T5" fmla="*/ 64 h 479"/>
              <a:gd name="T6" fmla="*/ 349 w 618"/>
              <a:gd name="T7" fmla="*/ 58 h 479"/>
              <a:gd name="T8" fmla="*/ 371 w 618"/>
              <a:gd name="T9" fmla="*/ 86 h 479"/>
              <a:gd name="T10" fmla="*/ 373 w 618"/>
              <a:gd name="T11" fmla="*/ 111 h 479"/>
              <a:gd name="T12" fmla="*/ 401 w 618"/>
              <a:gd name="T13" fmla="*/ 87 h 479"/>
              <a:gd name="T14" fmla="*/ 439 w 618"/>
              <a:gd name="T15" fmla="*/ 87 h 479"/>
              <a:gd name="T16" fmla="*/ 460 w 618"/>
              <a:gd name="T17" fmla="*/ 85 h 479"/>
              <a:gd name="T18" fmla="*/ 488 w 618"/>
              <a:gd name="T19" fmla="*/ 72 h 479"/>
              <a:gd name="T20" fmla="*/ 532 w 618"/>
              <a:gd name="T21" fmla="*/ 97 h 479"/>
              <a:gd name="T22" fmla="*/ 543 w 618"/>
              <a:gd name="T23" fmla="*/ 135 h 479"/>
              <a:gd name="T24" fmla="*/ 520 w 618"/>
              <a:gd name="T25" fmla="*/ 176 h 479"/>
              <a:gd name="T26" fmla="*/ 493 w 618"/>
              <a:gd name="T27" fmla="*/ 189 h 479"/>
              <a:gd name="T28" fmla="*/ 466 w 618"/>
              <a:gd name="T29" fmla="*/ 208 h 479"/>
              <a:gd name="T30" fmla="*/ 456 w 618"/>
              <a:gd name="T31" fmla="*/ 222 h 479"/>
              <a:gd name="T32" fmla="*/ 475 w 618"/>
              <a:gd name="T33" fmla="*/ 244 h 479"/>
              <a:gd name="T34" fmla="*/ 500 w 618"/>
              <a:gd name="T35" fmla="*/ 259 h 479"/>
              <a:gd name="T36" fmla="*/ 526 w 618"/>
              <a:gd name="T37" fmla="*/ 276 h 479"/>
              <a:gd name="T38" fmla="*/ 556 w 618"/>
              <a:gd name="T39" fmla="*/ 299 h 479"/>
              <a:gd name="T40" fmla="*/ 601 w 618"/>
              <a:gd name="T41" fmla="*/ 354 h 479"/>
              <a:gd name="T42" fmla="*/ 617 w 618"/>
              <a:gd name="T43" fmla="*/ 406 h 479"/>
              <a:gd name="T44" fmla="*/ 590 w 618"/>
              <a:gd name="T45" fmla="*/ 401 h 479"/>
              <a:gd name="T46" fmla="*/ 571 w 618"/>
              <a:gd name="T47" fmla="*/ 413 h 479"/>
              <a:gd name="T48" fmla="*/ 527 w 618"/>
              <a:gd name="T49" fmla="*/ 441 h 479"/>
              <a:gd name="T50" fmla="*/ 511 w 618"/>
              <a:gd name="T51" fmla="*/ 464 h 479"/>
              <a:gd name="T52" fmla="*/ 503 w 618"/>
              <a:gd name="T53" fmla="*/ 477 h 479"/>
              <a:gd name="T54" fmla="*/ 470 w 618"/>
              <a:gd name="T55" fmla="*/ 477 h 479"/>
              <a:gd name="T56" fmla="*/ 429 w 618"/>
              <a:gd name="T57" fmla="*/ 462 h 479"/>
              <a:gd name="T58" fmla="*/ 394 w 618"/>
              <a:gd name="T59" fmla="*/ 436 h 479"/>
              <a:gd name="T60" fmla="*/ 369 w 618"/>
              <a:gd name="T61" fmla="*/ 409 h 479"/>
              <a:gd name="T62" fmla="*/ 324 w 618"/>
              <a:gd name="T63" fmla="*/ 410 h 479"/>
              <a:gd name="T64" fmla="*/ 296 w 618"/>
              <a:gd name="T65" fmla="*/ 419 h 479"/>
              <a:gd name="T66" fmla="*/ 280 w 618"/>
              <a:gd name="T67" fmla="*/ 396 h 479"/>
              <a:gd name="T68" fmla="*/ 256 w 618"/>
              <a:gd name="T69" fmla="*/ 420 h 479"/>
              <a:gd name="T70" fmla="*/ 219 w 618"/>
              <a:gd name="T71" fmla="*/ 422 h 479"/>
              <a:gd name="T72" fmla="*/ 192 w 618"/>
              <a:gd name="T73" fmla="*/ 416 h 479"/>
              <a:gd name="T74" fmla="*/ 166 w 618"/>
              <a:gd name="T75" fmla="*/ 435 h 479"/>
              <a:gd name="T76" fmla="*/ 138 w 618"/>
              <a:gd name="T77" fmla="*/ 441 h 479"/>
              <a:gd name="T78" fmla="*/ 126 w 618"/>
              <a:gd name="T79" fmla="*/ 422 h 479"/>
              <a:gd name="T80" fmla="*/ 105 w 618"/>
              <a:gd name="T81" fmla="*/ 404 h 479"/>
              <a:gd name="T82" fmla="*/ 117 w 618"/>
              <a:gd name="T83" fmla="*/ 373 h 479"/>
              <a:gd name="T84" fmla="*/ 110 w 618"/>
              <a:gd name="T85" fmla="*/ 330 h 479"/>
              <a:gd name="T86" fmla="*/ 84 w 618"/>
              <a:gd name="T87" fmla="*/ 322 h 479"/>
              <a:gd name="T88" fmla="*/ 44 w 618"/>
              <a:gd name="T89" fmla="*/ 318 h 479"/>
              <a:gd name="T90" fmla="*/ 30 w 618"/>
              <a:gd name="T91" fmla="*/ 293 h 479"/>
              <a:gd name="T92" fmla="*/ 6 w 618"/>
              <a:gd name="T93" fmla="*/ 281 h 479"/>
              <a:gd name="T94" fmla="*/ 7 w 618"/>
              <a:gd name="T95" fmla="*/ 258 h 479"/>
              <a:gd name="T96" fmla="*/ 14 w 618"/>
              <a:gd name="T97" fmla="*/ 223 h 479"/>
              <a:gd name="T98" fmla="*/ 3 w 618"/>
              <a:gd name="T99" fmla="*/ 184 h 479"/>
              <a:gd name="T100" fmla="*/ 33 w 618"/>
              <a:gd name="T101" fmla="*/ 181 h 479"/>
              <a:gd name="T102" fmla="*/ 62 w 618"/>
              <a:gd name="T103" fmla="*/ 171 h 479"/>
              <a:gd name="T104" fmla="*/ 92 w 618"/>
              <a:gd name="T105" fmla="*/ 177 h 479"/>
              <a:gd name="T106" fmla="*/ 114 w 618"/>
              <a:gd name="T107" fmla="*/ 191 h 479"/>
              <a:gd name="T108" fmla="*/ 136 w 618"/>
              <a:gd name="T109" fmla="*/ 189 h 479"/>
              <a:gd name="T110" fmla="*/ 151 w 618"/>
              <a:gd name="T111" fmla="*/ 159 h 479"/>
              <a:gd name="T112" fmla="*/ 172 w 618"/>
              <a:gd name="T113" fmla="*/ 171 h 479"/>
              <a:gd name="T114" fmla="*/ 204 w 618"/>
              <a:gd name="T115" fmla="*/ 171 h 479"/>
              <a:gd name="T116" fmla="*/ 202 w 618"/>
              <a:gd name="T117" fmla="*/ 145 h 479"/>
              <a:gd name="T118" fmla="*/ 197 w 618"/>
              <a:gd name="T119" fmla="*/ 104 h 479"/>
              <a:gd name="T120" fmla="*/ 187 w 618"/>
              <a:gd name="T121" fmla="*/ 42 h 479"/>
              <a:gd name="T122" fmla="*/ 174 w 618"/>
              <a:gd name="T123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  <a:lnTo>
                  <a:pt x="43" y="185"/>
                </a:lnTo>
                <a:lnTo>
                  <a:pt x="44" y="185"/>
                </a:lnTo>
                <a:lnTo>
                  <a:pt x="45" y="185"/>
                </a:lnTo>
                <a:lnTo>
                  <a:pt x="46" y="185"/>
                </a:lnTo>
                <a:lnTo>
                  <a:pt x="47" y="185"/>
                </a:lnTo>
                <a:lnTo>
                  <a:pt x="49" y="184"/>
                </a:lnTo>
                <a:lnTo>
                  <a:pt x="50" y="184"/>
                </a:lnTo>
                <a:lnTo>
                  <a:pt x="50" y="184"/>
                </a:lnTo>
                <a:lnTo>
                  <a:pt x="51" y="183"/>
                </a:lnTo>
                <a:lnTo>
                  <a:pt x="52" y="182"/>
                </a:lnTo>
                <a:lnTo>
                  <a:pt x="54" y="180"/>
                </a:lnTo>
                <a:lnTo>
                  <a:pt x="56" y="177"/>
                </a:lnTo>
                <a:lnTo>
                  <a:pt x="59" y="174"/>
                </a:lnTo>
                <a:lnTo>
                  <a:pt x="60" y="173"/>
                </a:lnTo>
                <a:lnTo>
                  <a:pt x="61" y="172"/>
                </a:lnTo>
                <a:lnTo>
                  <a:pt x="62" y="171"/>
                </a:lnTo>
                <a:lnTo>
                  <a:pt x="63" y="171"/>
                </a:lnTo>
                <a:lnTo>
                  <a:pt x="64" y="170"/>
                </a:lnTo>
                <a:lnTo>
                  <a:pt x="65" y="170"/>
                </a:lnTo>
                <a:lnTo>
                  <a:pt x="66" y="170"/>
                </a:lnTo>
                <a:lnTo>
                  <a:pt x="67" y="170"/>
                </a:lnTo>
                <a:lnTo>
                  <a:pt x="68" y="170"/>
                </a:lnTo>
                <a:lnTo>
                  <a:pt x="69" y="170"/>
                </a:lnTo>
                <a:lnTo>
                  <a:pt x="70" y="170"/>
                </a:lnTo>
                <a:lnTo>
                  <a:pt x="71" y="170"/>
                </a:lnTo>
                <a:lnTo>
                  <a:pt x="73" y="171"/>
                </a:lnTo>
                <a:lnTo>
                  <a:pt x="75" y="171"/>
                </a:lnTo>
                <a:lnTo>
                  <a:pt x="76" y="172"/>
                </a:lnTo>
                <a:lnTo>
                  <a:pt x="80" y="173"/>
                </a:lnTo>
                <a:lnTo>
                  <a:pt x="82" y="174"/>
                </a:lnTo>
                <a:lnTo>
                  <a:pt x="84" y="175"/>
                </a:lnTo>
                <a:lnTo>
                  <a:pt x="86" y="175"/>
                </a:lnTo>
                <a:lnTo>
                  <a:pt x="87" y="176"/>
                </a:lnTo>
                <a:lnTo>
                  <a:pt x="90" y="176"/>
                </a:lnTo>
                <a:lnTo>
                  <a:pt x="91" y="177"/>
                </a:lnTo>
                <a:lnTo>
                  <a:pt x="92" y="177"/>
                </a:lnTo>
                <a:lnTo>
                  <a:pt x="93" y="178"/>
                </a:lnTo>
                <a:lnTo>
                  <a:pt x="96" y="179"/>
                </a:lnTo>
                <a:lnTo>
                  <a:pt x="98" y="180"/>
                </a:lnTo>
                <a:lnTo>
                  <a:pt x="101" y="181"/>
                </a:lnTo>
                <a:lnTo>
                  <a:pt x="103" y="182"/>
                </a:lnTo>
                <a:lnTo>
                  <a:pt x="104" y="183"/>
                </a:lnTo>
                <a:lnTo>
                  <a:pt x="105" y="183"/>
                </a:lnTo>
                <a:lnTo>
                  <a:pt x="106" y="183"/>
                </a:lnTo>
                <a:lnTo>
                  <a:pt x="109" y="182"/>
                </a:lnTo>
                <a:lnTo>
                  <a:pt x="110" y="182"/>
                </a:lnTo>
                <a:lnTo>
                  <a:pt x="110" y="183"/>
                </a:lnTo>
                <a:lnTo>
                  <a:pt x="111" y="183"/>
                </a:lnTo>
                <a:lnTo>
                  <a:pt x="111" y="183"/>
                </a:lnTo>
                <a:lnTo>
                  <a:pt x="112" y="184"/>
                </a:lnTo>
                <a:lnTo>
                  <a:pt x="112" y="185"/>
                </a:lnTo>
                <a:lnTo>
                  <a:pt x="113" y="186"/>
                </a:lnTo>
                <a:lnTo>
                  <a:pt x="114" y="188"/>
                </a:lnTo>
                <a:lnTo>
                  <a:pt x="114" y="189"/>
                </a:lnTo>
                <a:lnTo>
                  <a:pt x="114" y="190"/>
                </a:lnTo>
                <a:lnTo>
                  <a:pt x="114" y="191"/>
                </a:lnTo>
                <a:lnTo>
                  <a:pt x="115" y="192"/>
                </a:lnTo>
                <a:lnTo>
                  <a:pt x="116" y="193"/>
                </a:lnTo>
                <a:lnTo>
                  <a:pt x="117" y="193"/>
                </a:lnTo>
                <a:lnTo>
                  <a:pt x="117" y="194"/>
                </a:lnTo>
                <a:lnTo>
                  <a:pt x="118" y="194"/>
                </a:lnTo>
                <a:lnTo>
                  <a:pt x="118" y="195"/>
                </a:lnTo>
                <a:lnTo>
                  <a:pt x="119" y="195"/>
                </a:lnTo>
                <a:lnTo>
                  <a:pt x="120" y="195"/>
                </a:lnTo>
                <a:lnTo>
                  <a:pt x="121" y="195"/>
                </a:lnTo>
                <a:lnTo>
                  <a:pt x="122" y="195"/>
                </a:lnTo>
                <a:lnTo>
                  <a:pt x="124" y="195"/>
                </a:lnTo>
                <a:lnTo>
                  <a:pt x="126" y="195"/>
                </a:lnTo>
                <a:lnTo>
                  <a:pt x="127" y="194"/>
                </a:lnTo>
                <a:lnTo>
                  <a:pt x="129" y="194"/>
                </a:lnTo>
                <a:lnTo>
                  <a:pt x="130" y="193"/>
                </a:lnTo>
                <a:lnTo>
                  <a:pt x="131" y="192"/>
                </a:lnTo>
                <a:lnTo>
                  <a:pt x="132" y="191"/>
                </a:lnTo>
                <a:lnTo>
                  <a:pt x="135" y="190"/>
                </a:lnTo>
                <a:lnTo>
                  <a:pt x="135" y="189"/>
                </a:lnTo>
                <a:lnTo>
                  <a:pt x="136" y="189"/>
                </a:lnTo>
                <a:lnTo>
                  <a:pt x="137" y="188"/>
                </a:lnTo>
                <a:lnTo>
                  <a:pt x="137" y="186"/>
                </a:lnTo>
                <a:lnTo>
                  <a:pt x="138" y="185"/>
                </a:lnTo>
                <a:lnTo>
                  <a:pt x="138" y="184"/>
                </a:lnTo>
                <a:lnTo>
                  <a:pt x="138" y="183"/>
                </a:lnTo>
                <a:lnTo>
                  <a:pt x="138" y="182"/>
                </a:lnTo>
                <a:lnTo>
                  <a:pt x="137" y="178"/>
                </a:lnTo>
                <a:lnTo>
                  <a:pt x="137" y="176"/>
                </a:lnTo>
                <a:lnTo>
                  <a:pt x="137" y="175"/>
                </a:lnTo>
                <a:lnTo>
                  <a:pt x="137" y="174"/>
                </a:lnTo>
                <a:lnTo>
                  <a:pt x="137" y="173"/>
                </a:lnTo>
                <a:lnTo>
                  <a:pt x="138" y="172"/>
                </a:lnTo>
                <a:lnTo>
                  <a:pt x="138" y="171"/>
                </a:lnTo>
                <a:lnTo>
                  <a:pt x="139" y="170"/>
                </a:lnTo>
                <a:lnTo>
                  <a:pt x="140" y="169"/>
                </a:lnTo>
                <a:lnTo>
                  <a:pt x="141" y="168"/>
                </a:lnTo>
                <a:lnTo>
                  <a:pt x="144" y="165"/>
                </a:lnTo>
                <a:lnTo>
                  <a:pt x="147" y="162"/>
                </a:lnTo>
                <a:lnTo>
                  <a:pt x="150" y="160"/>
                </a:lnTo>
                <a:lnTo>
                  <a:pt x="151" y="159"/>
                </a:lnTo>
                <a:lnTo>
                  <a:pt x="152" y="158"/>
                </a:lnTo>
                <a:lnTo>
                  <a:pt x="153" y="157"/>
                </a:lnTo>
                <a:lnTo>
                  <a:pt x="153" y="157"/>
                </a:lnTo>
                <a:lnTo>
                  <a:pt x="154" y="157"/>
                </a:lnTo>
                <a:lnTo>
                  <a:pt x="154" y="156"/>
                </a:lnTo>
                <a:lnTo>
                  <a:pt x="155" y="156"/>
                </a:lnTo>
                <a:lnTo>
                  <a:pt x="156" y="157"/>
                </a:lnTo>
                <a:lnTo>
                  <a:pt x="157" y="157"/>
                </a:lnTo>
                <a:lnTo>
                  <a:pt x="158" y="158"/>
                </a:lnTo>
                <a:lnTo>
                  <a:pt x="158" y="158"/>
                </a:lnTo>
                <a:lnTo>
                  <a:pt x="159" y="159"/>
                </a:lnTo>
                <a:lnTo>
                  <a:pt x="161" y="162"/>
                </a:lnTo>
                <a:lnTo>
                  <a:pt x="163" y="165"/>
                </a:lnTo>
                <a:lnTo>
                  <a:pt x="164" y="166"/>
                </a:lnTo>
                <a:lnTo>
                  <a:pt x="165" y="167"/>
                </a:lnTo>
                <a:lnTo>
                  <a:pt x="166" y="168"/>
                </a:lnTo>
                <a:lnTo>
                  <a:pt x="168" y="169"/>
                </a:lnTo>
                <a:lnTo>
                  <a:pt x="169" y="170"/>
                </a:lnTo>
                <a:lnTo>
                  <a:pt x="171" y="171"/>
                </a:lnTo>
                <a:lnTo>
                  <a:pt x="172" y="171"/>
                </a:lnTo>
                <a:lnTo>
                  <a:pt x="174" y="172"/>
                </a:lnTo>
                <a:lnTo>
                  <a:pt x="175" y="172"/>
                </a:lnTo>
                <a:lnTo>
                  <a:pt x="176" y="172"/>
                </a:lnTo>
                <a:lnTo>
                  <a:pt x="177" y="172"/>
                </a:lnTo>
                <a:lnTo>
                  <a:pt x="178" y="172"/>
                </a:lnTo>
                <a:lnTo>
                  <a:pt x="179" y="171"/>
                </a:lnTo>
                <a:lnTo>
                  <a:pt x="183" y="170"/>
                </a:lnTo>
                <a:lnTo>
                  <a:pt x="186" y="169"/>
                </a:lnTo>
                <a:lnTo>
                  <a:pt x="187" y="169"/>
                </a:lnTo>
                <a:lnTo>
                  <a:pt x="188" y="169"/>
                </a:lnTo>
                <a:lnTo>
                  <a:pt x="190" y="169"/>
                </a:lnTo>
                <a:lnTo>
                  <a:pt x="192" y="169"/>
                </a:lnTo>
                <a:lnTo>
                  <a:pt x="194" y="170"/>
                </a:lnTo>
                <a:lnTo>
                  <a:pt x="196" y="171"/>
                </a:lnTo>
                <a:lnTo>
                  <a:pt x="197" y="171"/>
                </a:lnTo>
                <a:lnTo>
                  <a:pt x="198" y="171"/>
                </a:lnTo>
                <a:lnTo>
                  <a:pt x="199" y="171"/>
                </a:lnTo>
                <a:lnTo>
                  <a:pt x="201" y="171"/>
                </a:lnTo>
                <a:lnTo>
                  <a:pt x="202" y="171"/>
                </a:lnTo>
                <a:lnTo>
                  <a:pt x="204" y="171"/>
                </a:lnTo>
                <a:lnTo>
                  <a:pt x="206" y="170"/>
                </a:lnTo>
                <a:lnTo>
                  <a:pt x="208" y="169"/>
                </a:lnTo>
                <a:lnTo>
                  <a:pt x="209" y="168"/>
                </a:lnTo>
                <a:lnTo>
                  <a:pt x="210" y="168"/>
                </a:lnTo>
                <a:lnTo>
                  <a:pt x="211" y="167"/>
                </a:lnTo>
                <a:lnTo>
                  <a:pt x="212" y="167"/>
                </a:lnTo>
                <a:lnTo>
                  <a:pt x="212" y="166"/>
                </a:lnTo>
                <a:lnTo>
                  <a:pt x="213" y="165"/>
                </a:lnTo>
                <a:lnTo>
                  <a:pt x="213" y="164"/>
                </a:lnTo>
                <a:lnTo>
                  <a:pt x="213" y="163"/>
                </a:lnTo>
                <a:lnTo>
                  <a:pt x="213" y="162"/>
                </a:lnTo>
                <a:lnTo>
                  <a:pt x="213" y="161"/>
                </a:lnTo>
                <a:lnTo>
                  <a:pt x="212" y="160"/>
                </a:lnTo>
                <a:lnTo>
                  <a:pt x="212" y="159"/>
                </a:lnTo>
                <a:lnTo>
                  <a:pt x="212" y="158"/>
                </a:lnTo>
                <a:lnTo>
                  <a:pt x="211" y="157"/>
                </a:lnTo>
                <a:lnTo>
                  <a:pt x="209" y="153"/>
                </a:lnTo>
                <a:lnTo>
                  <a:pt x="205" y="149"/>
                </a:lnTo>
                <a:lnTo>
                  <a:pt x="203" y="146"/>
                </a:lnTo>
                <a:lnTo>
                  <a:pt x="202" y="145"/>
                </a:lnTo>
                <a:lnTo>
                  <a:pt x="199" y="139"/>
                </a:lnTo>
                <a:lnTo>
                  <a:pt x="198" y="136"/>
                </a:lnTo>
                <a:lnTo>
                  <a:pt x="196" y="132"/>
                </a:lnTo>
                <a:lnTo>
                  <a:pt x="195" y="131"/>
                </a:lnTo>
                <a:lnTo>
                  <a:pt x="195" y="129"/>
                </a:lnTo>
                <a:lnTo>
                  <a:pt x="195" y="128"/>
                </a:lnTo>
                <a:lnTo>
                  <a:pt x="195" y="127"/>
                </a:lnTo>
                <a:lnTo>
                  <a:pt x="195" y="125"/>
                </a:lnTo>
                <a:lnTo>
                  <a:pt x="195" y="124"/>
                </a:lnTo>
                <a:lnTo>
                  <a:pt x="195" y="121"/>
                </a:lnTo>
                <a:lnTo>
                  <a:pt x="196" y="118"/>
                </a:lnTo>
                <a:lnTo>
                  <a:pt x="198" y="113"/>
                </a:lnTo>
                <a:lnTo>
                  <a:pt x="198" y="111"/>
                </a:lnTo>
                <a:lnTo>
                  <a:pt x="199" y="110"/>
                </a:lnTo>
                <a:lnTo>
                  <a:pt x="199" y="109"/>
                </a:lnTo>
                <a:lnTo>
                  <a:pt x="199" y="108"/>
                </a:lnTo>
                <a:lnTo>
                  <a:pt x="199" y="107"/>
                </a:lnTo>
                <a:lnTo>
                  <a:pt x="198" y="106"/>
                </a:lnTo>
                <a:lnTo>
                  <a:pt x="198" y="105"/>
                </a:lnTo>
                <a:lnTo>
                  <a:pt x="197" y="104"/>
                </a:lnTo>
                <a:lnTo>
                  <a:pt x="196" y="100"/>
                </a:lnTo>
                <a:lnTo>
                  <a:pt x="193" y="95"/>
                </a:lnTo>
                <a:lnTo>
                  <a:pt x="192" y="93"/>
                </a:lnTo>
                <a:lnTo>
                  <a:pt x="192" y="92"/>
                </a:lnTo>
                <a:lnTo>
                  <a:pt x="192" y="91"/>
                </a:lnTo>
                <a:lnTo>
                  <a:pt x="192" y="90"/>
                </a:lnTo>
                <a:lnTo>
                  <a:pt x="192" y="88"/>
                </a:lnTo>
                <a:lnTo>
                  <a:pt x="192" y="85"/>
                </a:lnTo>
                <a:lnTo>
                  <a:pt x="192" y="83"/>
                </a:lnTo>
                <a:lnTo>
                  <a:pt x="192" y="82"/>
                </a:lnTo>
                <a:lnTo>
                  <a:pt x="191" y="80"/>
                </a:lnTo>
                <a:lnTo>
                  <a:pt x="190" y="75"/>
                </a:lnTo>
                <a:lnTo>
                  <a:pt x="189" y="72"/>
                </a:lnTo>
                <a:lnTo>
                  <a:pt x="188" y="68"/>
                </a:lnTo>
                <a:lnTo>
                  <a:pt x="188" y="65"/>
                </a:lnTo>
                <a:lnTo>
                  <a:pt x="188" y="63"/>
                </a:lnTo>
                <a:lnTo>
                  <a:pt x="187" y="61"/>
                </a:lnTo>
                <a:lnTo>
                  <a:pt x="187" y="51"/>
                </a:lnTo>
                <a:lnTo>
                  <a:pt x="187" y="44"/>
                </a:lnTo>
                <a:lnTo>
                  <a:pt x="187" y="42"/>
                </a:lnTo>
                <a:lnTo>
                  <a:pt x="187" y="40"/>
                </a:lnTo>
                <a:lnTo>
                  <a:pt x="188" y="34"/>
                </a:lnTo>
                <a:lnTo>
                  <a:pt x="188" y="32"/>
                </a:lnTo>
                <a:lnTo>
                  <a:pt x="188" y="30"/>
                </a:lnTo>
                <a:lnTo>
                  <a:pt x="188" y="28"/>
                </a:lnTo>
                <a:lnTo>
                  <a:pt x="187" y="27"/>
                </a:lnTo>
                <a:lnTo>
                  <a:pt x="187" y="26"/>
                </a:lnTo>
                <a:lnTo>
                  <a:pt x="186" y="24"/>
                </a:lnTo>
                <a:lnTo>
                  <a:pt x="186" y="23"/>
                </a:lnTo>
                <a:lnTo>
                  <a:pt x="184" y="20"/>
                </a:lnTo>
                <a:lnTo>
                  <a:pt x="181" y="15"/>
                </a:lnTo>
                <a:lnTo>
                  <a:pt x="179" y="13"/>
                </a:lnTo>
                <a:lnTo>
                  <a:pt x="178" y="10"/>
                </a:lnTo>
                <a:lnTo>
                  <a:pt x="177" y="8"/>
                </a:lnTo>
                <a:lnTo>
                  <a:pt x="176" y="6"/>
                </a:lnTo>
                <a:lnTo>
                  <a:pt x="175" y="4"/>
                </a:lnTo>
                <a:lnTo>
                  <a:pt x="175" y="3"/>
                </a:lnTo>
                <a:lnTo>
                  <a:pt x="175" y="2"/>
                </a:lnTo>
                <a:lnTo>
                  <a:pt x="174" y="1"/>
                </a:lnTo>
                <a:lnTo>
                  <a:pt x="174" y="0"/>
                </a:lnTo>
                <a:lnTo>
                  <a:pt x="175" y="0"/>
                </a:lnTo>
                <a:lnTo>
                  <a:pt x="176" y="0"/>
                </a:lnTo>
                <a:lnTo>
                  <a:pt x="177" y="0"/>
                </a:lnTo>
                <a:lnTo>
                  <a:pt x="180" y="0"/>
                </a:lnTo>
                <a:close/>
              </a:path>
            </a:pathLst>
          </a:custGeom>
          <a:solidFill>
            <a:srgbClr val="719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 276">
            <a:extLst>
              <a:ext uri="{FF2B5EF4-FFF2-40B4-BE49-F238E27FC236}">
                <a16:creationId xmlns:a16="http://schemas.microsoft.com/office/drawing/2014/main" id="{4A155FF8-F79B-47E2-9E26-92BA2E00F991}"/>
              </a:ext>
            </a:extLst>
          </p:cNvPr>
          <p:cNvSpPr>
            <a:spLocks/>
          </p:cNvSpPr>
          <p:nvPr/>
        </p:nvSpPr>
        <p:spPr bwMode="auto">
          <a:xfrm>
            <a:off x="8812137" y="3364857"/>
            <a:ext cx="1174646" cy="996104"/>
          </a:xfrm>
          <a:custGeom>
            <a:avLst/>
            <a:gdLst>
              <a:gd name="T0" fmla="*/ 232 w 618"/>
              <a:gd name="T1" fmla="*/ 17 h 479"/>
              <a:gd name="T2" fmla="*/ 274 w 618"/>
              <a:gd name="T3" fmla="*/ 22 h 479"/>
              <a:gd name="T4" fmla="*/ 299 w 618"/>
              <a:gd name="T5" fmla="*/ 34 h 479"/>
              <a:gd name="T6" fmla="*/ 319 w 618"/>
              <a:gd name="T7" fmla="*/ 67 h 479"/>
              <a:gd name="T8" fmla="*/ 357 w 618"/>
              <a:gd name="T9" fmla="*/ 59 h 479"/>
              <a:gd name="T10" fmla="*/ 373 w 618"/>
              <a:gd name="T11" fmla="*/ 93 h 479"/>
              <a:gd name="T12" fmla="*/ 372 w 618"/>
              <a:gd name="T13" fmla="*/ 111 h 479"/>
              <a:gd name="T14" fmla="*/ 394 w 618"/>
              <a:gd name="T15" fmla="*/ 101 h 479"/>
              <a:gd name="T16" fmla="*/ 422 w 618"/>
              <a:gd name="T17" fmla="*/ 78 h 479"/>
              <a:gd name="T18" fmla="*/ 452 w 618"/>
              <a:gd name="T19" fmla="*/ 93 h 479"/>
              <a:gd name="T20" fmla="*/ 467 w 618"/>
              <a:gd name="T21" fmla="*/ 72 h 479"/>
              <a:gd name="T22" fmla="*/ 495 w 618"/>
              <a:gd name="T23" fmla="*/ 73 h 479"/>
              <a:gd name="T24" fmla="*/ 534 w 618"/>
              <a:gd name="T25" fmla="*/ 99 h 479"/>
              <a:gd name="T26" fmla="*/ 547 w 618"/>
              <a:gd name="T27" fmla="*/ 131 h 479"/>
              <a:gd name="T28" fmla="*/ 530 w 618"/>
              <a:gd name="T29" fmla="*/ 166 h 479"/>
              <a:gd name="T30" fmla="*/ 504 w 618"/>
              <a:gd name="T31" fmla="*/ 179 h 479"/>
              <a:gd name="T32" fmla="*/ 478 w 618"/>
              <a:gd name="T33" fmla="*/ 196 h 479"/>
              <a:gd name="T34" fmla="*/ 464 w 618"/>
              <a:gd name="T35" fmla="*/ 214 h 479"/>
              <a:gd name="T36" fmla="*/ 456 w 618"/>
              <a:gd name="T37" fmla="*/ 225 h 479"/>
              <a:gd name="T38" fmla="*/ 475 w 618"/>
              <a:gd name="T39" fmla="*/ 244 h 479"/>
              <a:gd name="T40" fmla="*/ 494 w 618"/>
              <a:gd name="T41" fmla="*/ 262 h 479"/>
              <a:gd name="T42" fmla="*/ 521 w 618"/>
              <a:gd name="T43" fmla="*/ 262 h 479"/>
              <a:gd name="T44" fmla="*/ 539 w 618"/>
              <a:gd name="T45" fmla="*/ 293 h 479"/>
              <a:gd name="T46" fmla="*/ 575 w 618"/>
              <a:gd name="T47" fmla="*/ 327 h 479"/>
              <a:gd name="T48" fmla="*/ 606 w 618"/>
              <a:gd name="T49" fmla="*/ 363 h 479"/>
              <a:gd name="T50" fmla="*/ 618 w 618"/>
              <a:gd name="T51" fmla="*/ 409 h 479"/>
              <a:gd name="T52" fmla="*/ 591 w 618"/>
              <a:gd name="T53" fmla="*/ 401 h 479"/>
              <a:gd name="T54" fmla="*/ 576 w 618"/>
              <a:gd name="T55" fmla="*/ 404 h 479"/>
              <a:gd name="T56" fmla="*/ 544 w 618"/>
              <a:gd name="T57" fmla="*/ 430 h 479"/>
              <a:gd name="T58" fmla="*/ 520 w 618"/>
              <a:gd name="T59" fmla="*/ 454 h 479"/>
              <a:gd name="T60" fmla="*/ 510 w 618"/>
              <a:gd name="T61" fmla="*/ 470 h 479"/>
              <a:gd name="T62" fmla="*/ 495 w 618"/>
              <a:gd name="T63" fmla="*/ 475 h 479"/>
              <a:gd name="T64" fmla="*/ 466 w 618"/>
              <a:gd name="T65" fmla="*/ 478 h 479"/>
              <a:gd name="T66" fmla="*/ 432 w 618"/>
              <a:gd name="T67" fmla="*/ 464 h 479"/>
              <a:gd name="T68" fmla="*/ 400 w 618"/>
              <a:gd name="T69" fmla="*/ 440 h 479"/>
              <a:gd name="T70" fmla="*/ 377 w 618"/>
              <a:gd name="T71" fmla="*/ 421 h 479"/>
              <a:gd name="T72" fmla="*/ 344 w 618"/>
              <a:gd name="T73" fmla="*/ 401 h 479"/>
              <a:gd name="T74" fmla="*/ 314 w 618"/>
              <a:gd name="T75" fmla="*/ 415 h 479"/>
              <a:gd name="T76" fmla="*/ 294 w 618"/>
              <a:gd name="T77" fmla="*/ 416 h 479"/>
              <a:gd name="T78" fmla="*/ 280 w 618"/>
              <a:gd name="T79" fmla="*/ 396 h 479"/>
              <a:gd name="T80" fmla="*/ 260 w 618"/>
              <a:gd name="T81" fmla="*/ 417 h 479"/>
              <a:gd name="T82" fmla="*/ 228 w 618"/>
              <a:gd name="T83" fmla="*/ 422 h 479"/>
              <a:gd name="T84" fmla="*/ 200 w 618"/>
              <a:gd name="T85" fmla="*/ 420 h 479"/>
              <a:gd name="T86" fmla="*/ 177 w 618"/>
              <a:gd name="T87" fmla="*/ 422 h 479"/>
              <a:gd name="T88" fmla="*/ 157 w 618"/>
              <a:gd name="T89" fmla="*/ 440 h 479"/>
              <a:gd name="T90" fmla="*/ 137 w 618"/>
              <a:gd name="T91" fmla="*/ 440 h 479"/>
              <a:gd name="T92" fmla="*/ 127 w 618"/>
              <a:gd name="T93" fmla="*/ 422 h 479"/>
              <a:gd name="T94" fmla="*/ 106 w 618"/>
              <a:gd name="T95" fmla="*/ 409 h 479"/>
              <a:gd name="T96" fmla="*/ 118 w 618"/>
              <a:gd name="T97" fmla="*/ 382 h 479"/>
              <a:gd name="T98" fmla="*/ 110 w 618"/>
              <a:gd name="T99" fmla="*/ 354 h 479"/>
              <a:gd name="T100" fmla="*/ 105 w 618"/>
              <a:gd name="T101" fmla="*/ 322 h 479"/>
              <a:gd name="T102" fmla="*/ 78 w 618"/>
              <a:gd name="T103" fmla="*/ 323 h 479"/>
              <a:gd name="T104" fmla="*/ 43 w 618"/>
              <a:gd name="T105" fmla="*/ 317 h 479"/>
              <a:gd name="T106" fmla="*/ 32 w 618"/>
              <a:gd name="T107" fmla="*/ 295 h 479"/>
              <a:gd name="T108" fmla="*/ 11 w 618"/>
              <a:gd name="T109" fmla="*/ 285 h 479"/>
              <a:gd name="T110" fmla="*/ 0 w 618"/>
              <a:gd name="T111" fmla="*/ 265 h 479"/>
              <a:gd name="T112" fmla="*/ 15 w 618"/>
              <a:gd name="T113" fmla="*/ 244 h 479"/>
              <a:gd name="T114" fmla="*/ 10 w 618"/>
              <a:gd name="T115" fmla="*/ 215 h 479"/>
              <a:gd name="T116" fmla="*/ 4 w 618"/>
              <a:gd name="T117" fmla="*/ 181 h 479"/>
              <a:gd name="T118" fmla="*/ 33 w 618"/>
              <a:gd name="T119" fmla="*/ 181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18" h="479">
                <a:moveTo>
                  <a:pt x="180" y="0"/>
                </a:moveTo>
                <a:lnTo>
                  <a:pt x="182" y="0"/>
                </a:lnTo>
                <a:lnTo>
                  <a:pt x="190" y="1"/>
                </a:lnTo>
                <a:lnTo>
                  <a:pt x="194" y="1"/>
                </a:lnTo>
                <a:lnTo>
                  <a:pt x="197" y="2"/>
                </a:lnTo>
                <a:lnTo>
                  <a:pt x="200" y="3"/>
                </a:lnTo>
                <a:lnTo>
                  <a:pt x="203" y="4"/>
                </a:lnTo>
                <a:lnTo>
                  <a:pt x="204" y="4"/>
                </a:lnTo>
                <a:lnTo>
                  <a:pt x="206" y="5"/>
                </a:lnTo>
                <a:lnTo>
                  <a:pt x="207" y="5"/>
                </a:lnTo>
                <a:lnTo>
                  <a:pt x="212" y="8"/>
                </a:lnTo>
                <a:lnTo>
                  <a:pt x="216" y="10"/>
                </a:lnTo>
                <a:lnTo>
                  <a:pt x="219" y="11"/>
                </a:lnTo>
                <a:lnTo>
                  <a:pt x="226" y="14"/>
                </a:lnTo>
                <a:lnTo>
                  <a:pt x="228" y="15"/>
                </a:lnTo>
                <a:lnTo>
                  <a:pt x="230" y="16"/>
                </a:lnTo>
                <a:lnTo>
                  <a:pt x="232" y="17"/>
                </a:lnTo>
                <a:lnTo>
                  <a:pt x="234" y="18"/>
                </a:lnTo>
                <a:lnTo>
                  <a:pt x="235" y="19"/>
                </a:lnTo>
                <a:lnTo>
                  <a:pt x="240" y="22"/>
                </a:lnTo>
                <a:lnTo>
                  <a:pt x="241" y="23"/>
                </a:lnTo>
                <a:lnTo>
                  <a:pt x="242" y="24"/>
                </a:lnTo>
                <a:lnTo>
                  <a:pt x="244" y="24"/>
                </a:lnTo>
                <a:lnTo>
                  <a:pt x="245" y="25"/>
                </a:lnTo>
                <a:lnTo>
                  <a:pt x="247" y="25"/>
                </a:lnTo>
                <a:lnTo>
                  <a:pt x="248" y="25"/>
                </a:lnTo>
                <a:lnTo>
                  <a:pt x="250" y="26"/>
                </a:lnTo>
                <a:lnTo>
                  <a:pt x="251" y="26"/>
                </a:lnTo>
                <a:lnTo>
                  <a:pt x="256" y="26"/>
                </a:lnTo>
                <a:lnTo>
                  <a:pt x="258" y="26"/>
                </a:lnTo>
                <a:lnTo>
                  <a:pt x="260" y="26"/>
                </a:lnTo>
                <a:lnTo>
                  <a:pt x="261" y="25"/>
                </a:lnTo>
                <a:lnTo>
                  <a:pt x="264" y="25"/>
                </a:lnTo>
                <a:lnTo>
                  <a:pt x="274" y="22"/>
                </a:lnTo>
                <a:lnTo>
                  <a:pt x="277" y="21"/>
                </a:lnTo>
                <a:lnTo>
                  <a:pt x="282" y="19"/>
                </a:lnTo>
                <a:lnTo>
                  <a:pt x="284" y="19"/>
                </a:lnTo>
                <a:lnTo>
                  <a:pt x="285" y="18"/>
                </a:lnTo>
                <a:lnTo>
                  <a:pt x="287" y="18"/>
                </a:lnTo>
                <a:lnTo>
                  <a:pt x="288" y="18"/>
                </a:lnTo>
                <a:lnTo>
                  <a:pt x="289" y="18"/>
                </a:lnTo>
                <a:lnTo>
                  <a:pt x="290" y="19"/>
                </a:lnTo>
                <a:lnTo>
                  <a:pt x="291" y="19"/>
                </a:lnTo>
                <a:lnTo>
                  <a:pt x="292" y="20"/>
                </a:lnTo>
                <a:lnTo>
                  <a:pt x="293" y="20"/>
                </a:lnTo>
                <a:lnTo>
                  <a:pt x="294" y="22"/>
                </a:lnTo>
                <a:lnTo>
                  <a:pt x="295" y="23"/>
                </a:lnTo>
                <a:lnTo>
                  <a:pt x="296" y="25"/>
                </a:lnTo>
                <a:lnTo>
                  <a:pt x="297" y="26"/>
                </a:lnTo>
                <a:lnTo>
                  <a:pt x="297" y="27"/>
                </a:lnTo>
                <a:lnTo>
                  <a:pt x="299" y="34"/>
                </a:lnTo>
                <a:lnTo>
                  <a:pt x="300" y="36"/>
                </a:lnTo>
                <a:lnTo>
                  <a:pt x="302" y="40"/>
                </a:lnTo>
                <a:lnTo>
                  <a:pt x="306" y="48"/>
                </a:lnTo>
                <a:lnTo>
                  <a:pt x="308" y="52"/>
                </a:lnTo>
                <a:lnTo>
                  <a:pt x="310" y="58"/>
                </a:lnTo>
                <a:lnTo>
                  <a:pt x="311" y="60"/>
                </a:lnTo>
                <a:lnTo>
                  <a:pt x="312" y="62"/>
                </a:lnTo>
                <a:lnTo>
                  <a:pt x="313" y="64"/>
                </a:lnTo>
                <a:lnTo>
                  <a:pt x="313" y="64"/>
                </a:lnTo>
                <a:lnTo>
                  <a:pt x="314" y="65"/>
                </a:lnTo>
                <a:lnTo>
                  <a:pt x="314" y="65"/>
                </a:lnTo>
                <a:lnTo>
                  <a:pt x="315" y="66"/>
                </a:lnTo>
                <a:lnTo>
                  <a:pt x="316" y="66"/>
                </a:lnTo>
                <a:lnTo>
                  <a:pt x="317" y="66"/>
                </a:lnTo>
                <a:lnTo>
                  <a:pt x="317" y="67"/>
                </a:lnTo>
                <a:lnTo>
                  <a:pt x="318" y="67"/>
                </a:lnTo>
                <a:lnTo>
                  <a:pt x="319" y="67"/>
                </a:lnTo>
                <a:lnTo>
                  <a:pt x="320" y="67"/>
                </a:lnTo>
                <a:lnTo>
                  <a:pt x="321" y="67"/>
                </a:lnTo>
                <a:lnTo>
                  <a:pt x="322" y="67"/>
                </a:lnTo>
                <a:lnTo>
                  <a:pt x="324" y="66"/>
                </a:lnTo>
                <a:lnTo>
                  <a:pt x="327" y="65"/>
                </a:lnTo>
                <a:lnTo>
                  <a:pt x="334" y="63"/>
                </a:lnTo>
                <a:lnTo>
                  <a:pt x="337" y="62"/>
                </a:lnTo>
                <a:lnTo>
                  <a:pt x="341" y="60"/>
                </a:lnTo>
                <a:lnTo>
                  <a:pt x="343" y="60"/>
                </a:lnTo>
                <a:lnTo>
                  <a:pt x="345" y="59"/>
                </a:lnTo>
                <a:lnTo>
                  <a:pt x="347" y="58"/>
                </a:lnTo>
                <a:lnTo>
                  <a:pt x="349" y="58"/>
                </a:lnTo>
                <a:lnTo>
                  <a:pt x="350" y="58"/>
                </a:lnTo>
                <a:lnTo>
                  <a:pt x="352" y="58"/>
                </a:lnTo>
                <a:lnTo>
                  <a:pt x="354" y="58"/>
                </a:lnTo>
                <a:lnTo>
                  <a:pt x="355" y="58"/>
                </a:lnTo>
                <a:lnTo>
                  <a:pt x="357" y="59"/>
                </a:lnTo>
                <a:lnTo>
                  <a:pt x="359" y="60"/>
                </a:lnTo>
                <a:lnTo>
                  <a:pt x="360" y="61"/>
                </a:lnTo>
                <a:lnTo>
                  <a:pt x="362" y="62"/>
                </a:lnTo>
                <a:lnTo>
                  <a:pt x="363" y="63"/>
                </a:lnTo>
                <a:lnTo>
                  <a:pt x="364" y="64"/>
                </a:lnTo>
                <a:lnTo>
                  <a:pt x="364" y="65"/>
                </a:lnTo>
                <a:lnTo>
                  <a:pt x="365" y="66"/>
                </a:lnTo>
                <a:lnTo>
                  <a:pt x="366" y="68"/>
                </a:lnTo>
                <a:lnTo>
                  <a:pt x="367" y="69"/>
                </a:lnTo>
                <a:lnTo>
                  <a:pt x="367" y="71"/>
                </a:lnTo>
                <a:lnTo>
                  <a:pt x="369" y="74"/>
                </a:lnTo>
                <a:lnTo>
                  <a:pt x="369" y="76"/>
                </a:lnTo>
                <a:lnTo>
                  <a:pt x="370" y="79"/>
                </a:lnTo>
                <a:lnTo>
                  <a:pt x="371" y="82"/>
                </a:lnTo>
                <a:lnTo>
                  <a:pt x="371" y="86"/>
                </a:lnTo>
                <a:lnTo>
                  <a:pt x="373" y="91"/>
                </a:lnTo>
                <a:lnTo>
                  <a:pt x="373" y="93"/>
                </a:lnTo>
                <a:lnTo>
                  <a:pt x="373" y="94"/>
                </a:lnTo>
                <a:lnTo>
                  <a:pt x="373" y="95"/>
                </a:lnTo>
                <a:lnTo>
                  <a:pt x="373" y="96"/>
                </a:lnTo>
                <a:lnTo>
                  <a:pt x="373" y="96"/>
                </a:lnTo>
                <a:lnTo>
                  <a:pt x="372" y="97"/>
                </a:lnTo>
                <a:lnTo>
                  <a:pt x="372" y="98"/>
                </a:lnTo>
                <a:lnTo>
                  <a:pt x="370" y="102"/>
                </a:lnTo>
                <a:lnTo>
                  <a:pt x="369" y="104"/>
                </a:lnTo>
                <a:lnTo>
                  <a:pt x="369" y="105"/>
                </a:lnTo>
                <a:lnTo>
                  <a:pt x="369" y="106"/>
                </a:lnTo>
                <a:lnTo>
                  <a:pt x="369" y="106"/>
                </a:lnTo>
                <a:lnTo>
                  <a:pt x="369" y="107"/>
                </a:lnTo>
                <a:lnTo>
                  <a:pt x="369" y="108"/>
                </a:lnTo>
                <a:lnTo>
                  <a:pt x="370" y="109"/>
                </a:lnTo>
                <a:lnTo>
                  <a:pt x="370" y="110"/>
                </a:lnTo>
                <a:lnTo>
                  <a:pt x="371" y="110"/>
                </a:lnTo>
                <a:lnTo>
                  <a:pt x="372" y="111"/>
                </a:lnTo>
                <a:lnTo>
                  <a:pt x="373" y="111"/>
                </a:lnTo>
                <a:lnTo>
                  <a:pt x="375" y="112"/>
                </a:lnTo>
                <a:lnTo>
                  <a:pt x="376" y="112"/>
                </a:lnTo>
                <a:lnTo>
                  <a:pt x="377" y="113"/>
                </a:lnTo>
                <a:lnTo>
                  <a:pt x="379" y="113"/>
                </a:lnTo>
                <a:lnTo>
                  <a:pt x="380" y="112"/>
                </a:lnTo>
                <a:lnTo>
                  <a:pt x="381" y="112"/>
                </a:lnTo>
                <a:lnTo>
                  <a:pt x="383" y="111"/>
                </a:lnTo>
                <a:lnTo>
                  <a:pt x="385" y="110"/>
                </a:lnTo>
                <a:lnTo>
                  <a:pt x="388" y="107"/>
                </a:lnTo>
                <a:lnTo>
                  <a:pt x="389" y="107"/>
                </a:lnTo>
                <a:lnTo>
                  <a:pt x="390" y="106"/>
                </a:lnTo>
                <a:lnTo>
                  <a:pt x="391" y="105"/>
                </a:lnTo>
                <a:lnTo>
                  <a:pt x="391" y="105"/>
                </a:lnTo>
                <a:lnTo>
                  <a:pt x="392" y="104"/>
                </a:lnTo>
                <a:lnTo>
                  <a:pt x="392" y="103"/>
                </a:lnTo>
                <a:lnTo>
                  <a:pt x="394" y="101"/>
                </a:lnTo>
                <a:lnTo>
                  <a:pt x="396" y="95"/>
                </a:lnTo>
                <a:lnTo>
                  <a:pt x="398" y="92"/>
                </a:lnTo>
                <a:lnTo>
                  <a:pt x="399" y="90"/>
                </a:lnTo>
                <a:lnTo>
                  <a:pt x="401" y="87"/>
                </a:lnTo>
                <a:lnTo>
                  <a:pt x="403" y="85"/>
                </a:lnTo>
                <a:lnTo>
                  <a:pt x="405" y="83"/>
                </a:lnTo>
                <a:lnTo>
                  <a:pt x="407" y="81"/>
                </a:lnTo>
                <a:lnTo>
                  <a:pt x="409" y="80"/>
                </a:lnTo>
                <a:lnTo>
                  <a:pt x="410" y="79"/>
                </a:lnTo>
                <a:lnTo>
                  <a:pt x="411" y="78"/>
                </a:lnTo>
                <a:lnTo>
                  <a:pt x="413" y="77"/>
                </a:lnTo>
                <a:lnTo>
                  <a:pt x="414" y="77"/>
                </a:lnTo>
                <a:lnTo>
                  <a:pt x="415" y="77"/>
                </a:lnTo>
                <a:lnTo>
                  <a:pt x="417" y="77"/>
                </a:lnTo>
                <a:lnTo>
                  <a:pt x="419" y="77"/>
                </a:lnTo>
                <a:lnTo>
                  <a:pt x="421" y="77"/>
                </a:lnTo>
                <a:lnTo>
                  <a:pt x="422" y="78"/>
                </a:lnTo>
                <a:lnTo>
                  <a:pt x="424" y="78"/>
                </a:lnTo>
                <a:lnTo>
                  <a:pt x="430" y="81"/>
                </a:lnTo>
                <a:lnTo>
                  <a:pt x="432" y="82"/>
                </a:lnTo>
                <a:lnTo>
                  <a:pt x="433" y="83"/>
                </a:lnTo>
                <a:lnTo>
                  <a:pt x="435" y="84"/>
                </a:lnTo>
                <a:lnTo>
                  <a:pt x="437" y="86"/>
                </a:lnTo>
                <a:lnTo>
                  <a:pt x="439" y="87"/>
                </a:lnTo>
                <a:lnTo>
                  <a:pt x="443" y="91"/>
                </a:lnTo>
                <a:lnTo>
                  <a:pt x="444" y="91"/>
                </a:lnTo>
                <a:lnTo>
                  <a:pt x="445" y="92"/>
                </a:lnTo>
                <a:lnTo>
                  <a:pt x="446" y="93"/>
                </a:lnTo>
                <a:lnTo>
                  <a:pt x="447" y="93"/>
                </a:lnTo>
                <a:lnTo>
                  <a:pt x="448" y="93"/>
                </a:lnTo>
                <a:lnTo>
                  <a:pt x="449" y="93"/>
                </a:lnTo>
                <a:lnTo>
                  <a:pt x="450" y="93"/>
                </a:lnTo>
                <a:lnTo>
                  <a:pt x="451" y="93"/>
                </a:lnTo>
                <a:lnTo>
                  <a:pt x="452" y="93"/>
                </a:lnTo>
                <a:lnTo>
                  <a:pt x="453" y="92"/>
                </a:lnTo>
                <a:lnTo>
                  <a:pt x="454" y="92"/>
                </a:lnTo>
                <a:lnTo>
                  <a:pt x="455" y="91"/>
                </a:lnTo>
                <a:lnTo>
                  <a:pt x="456" y="91"/>
                </a:lnTo>
                <a:lnTo>
                  <a:pt x="457" y="90"/>
                </a:lnTo>
                <a:lnTo>
                  <a:pt x="458" y="89"/>
                </a:lnTo>
                <a:lnTo>
                  <a:pt x="458" y="89"/>
                </a:lnTo>
                <a:lnTo>
                  <a:pt x="459" y="88"/>
                </a:lnTo>
                <a:lnTo>
                  <a:pt x="459" y="87"/>
                </a:lnTo>
                <a:lnTo>
                  <a:pt x="460" y="85"/>
                </a:lnTo>
                <a:lnTo>
                  <a:pt x="462" y="81"/>
                </a:lnTo>
                <a:lnTo>
                  <a:pt x="463" y="78"/>
                </a:lnTo>
                <a:lnTo>
                  <a:pt x="464" y="76"/>
                </a:lnTo>
                <a:lnTo>
                  <a:pt x="465" y="75"/>
                </a:lnTo>
                <a:lnTo>
                  <a:pt x="466" y="74"/>
                </a:lnTo>
                <a:lnTo>
                  <a:pt x="466" y="73"/>
                </a:lnTo>
                <a:lnTo>
                  <a:pt x="467" y="72"/>
                </a:lnTo>
                <a:lnTo>
                  <a:pt x="468" y="72"/>
                </a:lnTo>
                <a:lnTo>
                  <a:pt x="469" y="71"/>
                </a:lnTo>
                <a:lnTo>
                  <a:pt x="469" y="71"/>
                </a:lnTo>
                <a:lnTo>
                  <a:pt x="470" y="71"/>
                </a:lnTo>
                <a:lnTo>
                  <a:pt x="471" y="70"/>
                </a:lnTo>
                <a:lnTo>
                  <a:pt x="473" y="70"/>
                </a:lnTo>
                <a:lnTo>
                  <a:pt x="474" y="70"/>
                </a:lnTo>
                <a:lnTo>
                  <a:pt x="476" y="70"/>
                </a:lnTo>
                <a:lnTo>
                  <a:pt x="478" y="70"/>
                </a:lnTo>
                <a:lnTo>
                  <a:pt x="480" y="70"/>
                </a:lnTo>
                <a:lnTo>
                  <a:pt x="482" y="70"/>
                </a:lnTo>
                <a:lnTo>
                  <a:pt x="483" y="71"/>
                </a:lnTo>
                <a:lnTo>
                  <a:pt x="488" y="72"/>
                </a:lnTo>
                <a:lnTo>
                  <a:pt x="490" y="72"/>
                </a:lnTo>
                <a:lnTo>
                  <a:pt x="491" y="72"/>
                </a:lnTo>
                <a:lnTo>
                  <a:pt x="493" y="72"/>
                </a:lnTo>
                <a:lnTo>
                  <a:pt x="495" y="73"/>
                </a:lnTo>
                <a:lnTo>
                  <a:pt x="500" y="73"/>
                </a:lnTo>
                <a:lnTo>
                  <a:pt x="502" y="73"/>
                </a:lnTo>
                <a:lnTo>
                  <a:pt x="504" y="73"/>
                </a:lnTo>
                <a:lnTo>
                  <a:pt x="505" y="73"/>
                </a:lnTo>
                <a:lnTo>
                  <a:pt x="507" y="74"/>
                </a:lnTo>
                <a:lnTo>
                  <a:pt x="508" y="74"/>
                </a:lnTo>
                <a:lnTo>
                  <a:pt x="510" y="75"/>
                </a:lnTo>
                <a:lnTo>
                  <a:pt x="511" y="76"/>
                </a:lnTo>
                <a:lnTo>
                  <a:pt x="513" y="77"/>
                </a:lnTo>
                <a:lnTo>
                  <a:pt x="516" y="80"/>
                </a:lnTo>
                <a:lnTo>
                  <a:pt x="519" y="83"/>
                </a:lnTo>
                <a:lnTo>
                  <a:pt x="520" y="84"/>
                </a:lnTo>
                <a:lnTo>
                  <a:pt x="523" y="86"/>
                </a:lnTo>
                <a:lnTo>
                  <a:pt x="526" y="89"/>
                </a:lnTo>
                <a:lnTo>
                  <a:pt x="530" y="94"/>
                </a:lnTo>
                <a:lnTo>
                  <a:pt x="532" y="97"/>
                </a:lnTo>
                <a:lnTo>
                  <a:pt x="534" y="99"/>
                </a:lnTo>
                <a:lnTo>
                  <a:pt x="539" y="103"/>
                </a:lnTo>
                <a:lnTo>
                  <a:pt x="543" y="107"/>
                </a:lnTo>
                <a:lnTo>
                  <a:pt x="545" y="109"/>
                </a:lnTo>
                <a:lnTo>
                  <a:pt x="547" y="112"/>
                </a:lnTo>
                <a:lnTo>
                  <a:pt x="548" y="114"/>
                </a:lnTo>
                <a:lnTo>
                  <a:pt x="550" y="116"/>
                </a:lnTo>
                <a:lnTo>
                  <a:pt x="550" y="118"/>
                </a:lnTo>
                <a:lnTo>
                  <a:pt x="551" y="120"/>
                </a:lnTo>
                <a:lnTo>
                  <a:pt x="551" y="122"/>
                </a:lnTo>
                <a:lnTo>
                  <a:pt x="551" y="123"/>
                </a:lnTo>
                <a:lnTo>
                  <a:pt x="551" y="123"/>
                </a:lnTo>
                <a:lnTo>
                  <a:pt x="551" y="125"/>
                </a:lnTo>
                <a:lnTo>
                  <a:pt x="551" y="126"/>
                </a:lnTo>
                <a:lnTo>
                  <a:pt x="550" y="127"/>
                </a:lnTo>
                <a:lnTo>
                  <a:pt x="550" y="128"/>
                </a:lnTo>
                <a:lnTo>
                  <a:pt x="549" y="129"/>
                </a:lnTo>
                <a:lnTo>
                  <a:pt x="547" y="131"/>
                </a:lnTo>
                <a:lnTo>
                  <a:pt x="544" y="134"/>
                </a:lnTo>
                <a:lnTo>
                  <a:pt x="543" y="135"/>
                </a:lnTo>
                <a:lnTo>
                  <a:pt x="543" y="136"/>
                </a:lnTo>
                <a:lnTo>
                  <a:pt x="542" y="137"/>
                </a:lnTo>
                <a:lnTo>
                  <a:pt x="541" y="139"/>
                </a:lnTo>
                <a:lnTo>
                  <a:pt x="540" y="143"/>
                </a:lnTo>
                <a:lnTo>
                  <a:pt x="539" y="145"/>
                </a:lnTo>
                <a:lnTo>
                  <a:pt x="538" y="147"/>
                </a:lnTo>
                <a:lnTo>
                  <a:pt x="536" y="150"/>
                </a:lnTo>
                <a:lnTo>
                  <a:pt x="536" y="152"/>
                </a:lnTo>
                <a:lnTo>
                  <a:pt x="535" y="153"/>
                </a:lnTo>
                <a:lnTo>
                  <a:pt x="535" y="157"/>
                </a:lnTo>
                <a:lnTo>
                  <a:pt x="534" y="158"/>
                </a:lnTo>
                <a:lnTo>
                  <a:pt x="534" y="160"/>
                </a:lnTo>
                <a:lnTo>
                  <a:pt x="533" y="162"/>
                </a:lnTo>
                <a:lnTo>
                  <a:pt x="532" y="164"/>
                </a:lnTo>
                <a:lnTo>
                  <a:pt x="530" y="166"/>
                </a:lnTo>
                <a:lnTo>
                  <a:pt x="529" y="167"/>
                </a:lnTo>
                <a:lnTo>
                  <a:pt x="524" y="173"/>
                </a:lnTo>
                <a:lnTo>
                  <a:pt x="522" y="175"/>
                </a:lnTo>
                <a:lnTo>
                  <a:pt x="521" y="176"/>
                </a:lnTo>
                <a:lnTo>
                  <a:pt x="520" y="176"/>
                </a:lnTo>
                <a:lnTo>
                  <a:pt x="519" y="177"/>
                </a:lnTo>
                <a:lnTo>
                  <a:pt x="518" y="178"/>
                </a:lnTo>
                <a:lnTo>
                  <a:pt x="517" y="178"/>
                </a:lnTo>
                <a:lnTo>
                  <a:pt x="516" y="178"/>
                </a:lnTo>
                <a:lnTo>
                  <a:pt x="514" y="179"/>
                </a:lnTo>
                <a:lnTo>
                  <a:pt x="513" y="179"/>
                </a:lnTo>
                <a:lnTo>
                  <a:pt x="511" y="179"/>
                </a:lnTo>
                <a:lnTo>
                  <a:pt x="508" y="178"/>
                </a:lnTo>
                <a:lnTo>
                  <a:pt x="506" y="178"/>
                </a:lnTo>
                <a:lnTo>
                  <a:pt x="505" y="178"/>
                </a:lnTo>
                <a:lnTo>
                  <a:pt x="505" y="178"/>
                </a:lnTo>
                <a:lnTo>
                  <a:pt x="504" y="179"/>
                </a:lnTo>
                <a:lnTo>
                  <a:pt x="503" y="179"/>
                </a:lnTo>
                <a:lnTo>
                  <a:pt x="502" y="179"/>
                </a:lnTo>
                <a:lnTo>
                  <a:pt x="501" y="180"/>
                </a:lnTo>
                <a:lnTo>
                  <a:pt x="501" y="181"/>
                </a:lnTo>
                <a:lnTo>
                  <a:pt x="499" y="183"/>
                </a:lnTo>
                <a:lnTo>
                  <a:pt x="495" y="187"/>
                </a:lnTo>
                <a:lnTo>
                  <a:pt x="494" y="188"/>
                </a:lnTo>
                <a:lnTo>
                  <a:pt x="493" y="189"/>
                </a:lnTo>
                <a:lnTo>
                  <a:pt x="491" y="190"/>
                </a:lnTo>
                <a:lnTo>
                  <a:pt x="490" y="190"/>
                </a:lnTo>
                <a:lnTo>
                  <a:pt x="489" y="191"/>
                </a:lnTo>
                <a:lnTo>
                  <a:pt x="486" y="192"/>
                </a:lnTo>
                <a:lnTo>
                  <a:pt x="485" y="192"/>
                </a:lnTo>
                <a:lnTo>
                  <a:pt x="484" y="192"/>
                </a:lnTo>
                <a:lnTo>
                  <a:pt x="482" y="194"/>
                </a:lnTo>
                <a:lnTo>
                  <a:pt x="479" y="195"/>
                </a:lnTo>
                <a:lnTo>
                  <a:pt x="478" y="196"/>
                </a:lnTo>
                <a:lnTo>
                  <a:pt x="477" y="197"/>
                </a:lnTo>
                <a:lnTo>
                  <a:pt x="477" y="197"/>
                </a:lnTo>
                <a:lnTo>
                  <a:pt x="475" y="199"/>
                </a:lnTo>
                <a:lnTo>
                  <a:pt x="474" y="200"/>
                </a:lnTo>
                <a:lnTo>
                  <a:pt x="473" y="201"/>
                </a:lnTo>
                <a:lnTo>
                  <a:pt x="470" y="203"/>
                </a:lnTo>
                <a:lnTo>
                  <a:pt x="470" y="203"/>
                </a:lnTo>
                <a:lnTo>
                  <a:pt x="469" y="204"/>
                </a:lnTo>
                <a:lnTo>
                  <a:pt x="467" y="206"/>
                </a:lnTo>
                <a:lnTo>
                  <a:pt x="466" y="207"/>
                </a:lnTo>
                <a:lnTo>
                  <a:pt x="466" y="208"/>
                </a:lnTo>
                <a:lnTo>
                  <a:pt x="466" y="209"/>
                </a:lnTo>
                <a:lnTo>
                  <a:pt x="466" y="211"/>
                </a:lnTo>
                <a:lnTo>
                  <a:pt x="465" y="212"/>
                </a:lnTo>
                <a:lnTo>
                  <a:pt x="465" y="213"/>
                </a:lnTo>
                <a:lnTo>
                  <a:pt x="465" y="213"/>
                </a:lnTo>
                <a:lnTo>
                  <a:pt x="464" y="214"/>
                </a:lnTo>
                <a:lnTo>
                  <a:pt x="463" y="214"/>
                </a:lnTo>
                <a:lnTo>
                  <a:pt x="463" y="214"/>
                </a:lnTo>
                <a:lnTo>
                  <a:pt x="461" y="215"/>
                </a:lnTo>
                <a:lnTo>
                  <a:pt x="460" y="215"/>
                </a:lnTo>
                <a:lnTo>
                  <a:pt x="460" y="215"/>
                </a:lnTo>
                <a:lnTo>
                  <a:pt x="459" y="215"/>
                </a:lnTo>
                <a:lnTo>
                  <a:pt x="458" y="216"/>
                </a:lnTo>
                <a:lnTo>
                  <a:pt x="458" y="216"/>
                </a:lnTo>
                <a:lnTo>
                  <a:pt x="457" y="217"/>
                </a:lnTo>
                <a:lnTo>
                  <a:pt x="457" y="218"/>
                </a:lnTo>
                <a:lnTo>
                  <a:pt x="456" y="219"/>
                </a:lnTo>
                <a:lnTo>
                  <a:pt x="456" y="220"/>
                </a:lnTo>
                <a:lnTo>
                  <a:pt x="456" y="221"/>
                </a:lnTo>
                <a:lnTo>
                  <a:pt x="456" y="222"/>
                </a:lnTo>
                <a:lnTo>
                  <a:pt x="456" y="223"/>
                </a:lnTo>
                <a:lnTo>
                  <a:pt x="456" y="224"/>
                </a:lnTo>
                <a:lnTo>
                  <a:pt x="456" y="225"/>
                </a:lnTo>
                <a:lnTo>
                  <a:pt x="456" y="226"/>
                </a:lnTo>
                <a:lnTo>
                  <a:pt x="457" y="228"/>
                </a:lnTo>
                <a:lnTo>
                  <a:pt x="459" y="232"/>
                </a:lnTo>
                <a:lnTo>
                  <a:pt x="460" y="234"/>
                </a:lnTo>
                <a:lnTo>
                  <a:pt x="461" y="236"/>
                </a:lnTo>
                <a:lnTo>
                  <a:pt x="462" y="236"/>
                </a:lnTo>
                <a:lnTo>
                  <a:pt x="463" y="237"/>
                </a:lnTo>
                <a:lnTo>
                  <a:pt x="463" y="237"/>
                </a:lnTo>
                <a:lnTo>
                  <a:pt x="464" y="238"/>
                </a:lnTo>
                <a:lnTo>
                  <a:pt x="465" y="238"/>
                </a:lnTo>
                <a:lnTo>
                  <a:pt x="468" y="239"/>
                </a:lnTo>
                <a:lnTo>
                  <a:pt x="469" y="239"/>
                </a:lnTo>
                <a:lnTo>
                  <a:pt x="470" y="240"/>
                </a:lnTo>
                <a:lnTo>
                  <a:pt x="471" y="241"/>
                </a:lnTo>
                <a:lnTo>
                  <a:pt x="473" y="242"/>
                </a:lnTo>
                <a:lnTo>
                  <a:pt x="474" y="243"/>
                </a:lnTo>
                <a:lnTo>
                  <a:pt x="475" y="244"/>
                </a:lnTo>
                <a:lnTo>
                  <a:pt x="477" y="248"/>
                </a:lnTo>
                <a:lnTo>
                  <a:pt x="478" y="249"/>
                </a:lnTo>
                <a:lnTo>
                  <a:pt x="480" y="251"/>
                </a:lnTo>
                <a:lnTo>
                  <a:pt x="481" y="252"/>
                </a:lnTo>
                <a:lnTo>
                  <a:pt x="482" y="254"/>
                </a:lnTo>
                <a:lnTo>
                  <a:pt x="484" y="257"/>
                </a:lnTo>
                <a:lnTo>
                  <a:pt x="485" y="258"/>
                </a:lnTo>
                <a:lnTo>
                  <a:pt x="486" y="259"/>
                </a:lnTo>
                <a:lnTo>
                  <a:pt x="487" y="260"/>
                </a:lnTo>
                <a:lnTo>
                  <a:pt x="488" y="261"/>
                </a:lnTo>
                <a:lnTo>
                  <a:pt x="489" y="262"/>
                </a:lnTo>
                <a:lnTo>
                  <a:pt x="489" y="262"/>
                </a:lnTo>
                <a:lnTo>
                  <a:pt x="490" y="262"/>
                </a:lnTo>
                <a:lnTo>
                  <a:pt x="491" y="262"/>
                </a:lnTo>
                <a:lnTo>
                  <a:pt x="492" y="262"/>
                </a:lnTo>
                <a:lnTo>
                  <a:pt x="493" y="262"/>
                </a:lnTo>
                <a:lnTo>
                  <a:pt x="494" y="262"/>
                </a:lnTo>
                <a:lnTo>
                  <a:pt x="498" y="260"/>
                </a:lnTo>
                <a:lnTo>
                  <a:pt x="499" y="259"/>
                </a:lnTo>
                <a:lnTo>
                  <a:pt x="500" y="259"/>
                </a:lnTo>
                <a:lnTo>
                  <a:pt x="502" y="259"/>
                </a:lnTo>
                <a:lnTo>
                  <a:pt x="503" y="258"/>
                </a:lnTo>
                <a:lnTo>
                  <a:pt x="505" y="258"/>
                </a:lnTo>
                <a:lnTo>
                  <a:pt x="507" y="258"/>
                </a:lnTo>
                <a:lnTo>
                  <a:pt x="509" y="258"/>
                </a:lnTo>
                <a:lnTo>
                  <a:pt x="511" y="258"/>
                </a:lnTo>
                <a:lnTo>
                  <a:pt x="513" y="258"/>
                </a:lnTo>
                <a:lnTo>
                  <a:pt x="515" y="259"/>
                </a:lnTo>
                <a:lnTo>
                  <a:pt x="516" y="259"/>
                </a:lnTo>
                <a:lnTo>
                  <a:pt x="517" y="260"/>
                </a:lnTo>
                <a:lnTo>
                  <a:pt x="519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2"/>
                </a:lnTo>
                <a:lnTo>
                  <a:pt x="522" y="263"/>
                </a:lnTo>
                <a:lnTo>
                  <a:pt x="523" y="265"/>
                </a:lnTo>
                <a:lnTo>
                  <a:pt x="524" y="267"/>
                </a:lnTo>
                <a:lnTo>
                  <a:pt x="524" y="269"/>
                </a:lnTo>
                <a:lnTo>
                  <a:pt x="525" y="274"/>
                </a:lnTo>
                <a:lnTo>
                  <a:pt x="526" y="276"/>
                </a:lnTo>
                <a:lnTo>
                  <a:pt x="527" y="278"/>
                </a:lnTo>
                <a:lnTo>
                  <a:pt x="528" y="280"/>
                </a:lnTo>
                <a:lnTo>
                  <a:pt x="529" y="282"/>
                </a:lnTo>
                <a:lnTo>
                  <a:pt x="530" y="284"/>
                </a:lnTo>
                <a:lnTo>
                  <a:pt x="531" y="286"/>
                </a:lnTo>
                <a:lnTo>
                  <a:pt x="532" y="287"/>
                </a:lnTo>
                <a:lnTo>
                  <a:pt x="533" y="289"/>
                </a:lnTo>
                <a:lnTo>
                  <a:pt x="535" y="290"/>
                </a:lnTo>
                <a:lnTo>
                  <a:pt x="536" y="291"/>
                </a:lnTo>
                <a:lnTo>
                  <a:pt x="538" y="292"/>
                </a:lnTo>
                <a:lnTo>
                  <a:pt x="539" y="293"/>
                </a:lnTo>
                <a:lnTo>
                  <a:pt x="541" y="293"/>
                </a:lnTo>
                <a:lnTo>
                  <a:pt x="542" y="294"/>
                </a:lnTo>
                <a:lnTo>
                  <a:pt x="546" y="294"/>
                </a:lnTo>
                <a:lnTo>
                  <a:pt x="548" y="295"/>
                </a:lnTo>
                <a:lnTo>
                  <a:pt x="550" y="295"/>
                </a:lnTo>
                <a:lnTo>
                  <a:pt x="551" y="296"/>
                </a:lnTo>
                <a:lnTo>
                  <a:pt x="553" y="297"/>
                </a:lnTo>
                <a:lnTo>
                  <a:pt x="554" y="298"/>
                </a:lnTo>
                <a:lnTo>
                  <a:pt x="556" y="299"/>
                </a:lnTo>
                <a:lnTo>
                  <a:pt x="557" y="301"/>
                </a:lnTo>
                <a:lnTo>
                  <a:pt x="559" y="304"/>
                </a:lnTo>
                <a:lnTo>
                  <a:pt x="563" y="308"/>
                </a:lnTo>
                <a:lnTo>
                  <a:pt x="565" y="311"/>
                </a:lnTo>
                <a:lnTo>
                  <a:pt x="567" y="313"/>
                </a:lnTo>
                <a:lnTo>
                  <a:pt x="570" y="318"/>
                </a:lnTo>
                <a:lnTo>
                  <a:pt x="573" y="323"/>
                </a:lnTo>
                <a:lnTo>
                  <a:pt x="575" y="327"/>
                </a:lnTo>
                <a:lnTo>
                  <a:pt x="578" y="330"/>
                </a:lnTo>
                <a:lnTo>
                  <a:pt x="579" y="331"/>
                </a:lnTo>
                <a:lnTo>
                  <a:pt x="580" y="333"/>
                </a:lnTo>
                <a:lnTo>
                  <a:pt x="584" y="337"/>
                </a:lnTo>
                <a:lnTo>
                  <a:pt x="589" y="343"/>
                </a:lnTo>
                <a:lnTo>
                  <a:pt x="591" y="345"/>
                </a:lnTo>
                <a:lnTo>
                  <a:pt x="592" y="346"/>
                </a:lnTo>
                <a:lnTo>
                  <a:pt x="594" y="347"/>
                </a:lnTo>
                <a:lnTo>
                  <a:pt x="598" y="351"/>
                </a:lnTo>
                <a:lnTo>
                  <a:pt x="599" y="352"/>
                </a:lnTo>
                <a:lnTo>
                  <a:pt x="600" y="353"/>
                </a:lnTo>
                <a:lnTo>
                  <a:pt x="601" y="354"/>
                </a:lnTo>
                <a:lnTo>
                  <a:pt x="602" y="356"/>
                </a:lnTo>
                <a:lnTo>
                  <a:pt x="603" y="357"/>
                </a:lnTo>
                <a:lnTo>
                  <a:pt x="604" y="359"/>
                </a:lnTo>
                <a:lnTo>
                  <a:pt x="605" y="361"/>
                </a:lnTo>
                <a:lnTo>
                  <a:pt x="606" y="363"/>
                </a:lnTo>
                <a:lnTo>
                  <a:pt x="607" y="365"/>
                </a:lnTo>
                <a:lnTo>
                  <a:pt x="607" y="368"/>
                </a:lnTo>
                <a:lnTo>
                  <a:pt x="607" y="370"/>
                </a:lnTo>
                <a:lnTo>
                  <a:pt x="608" y="376"/>
                </a:lnTo>
                <a:lnTo>
                  <a:pt x="608" y="380"/>
                </a:lnTo>
                <a:lnTo>
                  <a:pt x="609" y="383"/>
                </a:lnTo>
                <a:lnTo>
                  <a:pt x="609" y="387"/>
                </a:lnTo>
                <a:lnTo>
                  <a:pt x="610" y="390"/>
                </a:lnTo>
                <a:lnTo>
                  <a:pt x="610" y="392"/>
                </a:lnTo>
                <a:lnTo>
                  <a:pt x="611" y="394"/>
                </a:lnTo>
                <a:lnTo>
                  <a:pt x="611" y="395"/>
                </a:lnTo>
                <a:lnTo>
                  <a:pt x="612" y="397"/>
                </a:lnTo>
                <a:lnTo>
                  <a:pt x="613" y="400"/>
                </a:lnTo>
                <a:lnTo>
                  <a:pt x="616" y="405"/>
                </a:lnTo>
                <a:lnTo>
                  <a:pt x="617" y="406"/>
                </a:lnTo>
                <a:lnTo>
                  <a:pt x="617" y="407"/>
                </a:lnTo>
                <a:lnTo>
                  <a:pt x="618" y="409"/>
                </a:lnTo>
                <a:lnTo>
                  <a:pt x="618" y="410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8" y="411"/>
                </a:lnTo>
                <a:lnTo>
                  <a:pt x="617" y="412"/>
                </a:lnTo>
                <a:lnTo>
                  <a:pt x="617" y="412"/>
                </a:lnTo>
                <a:lnTo>
                  <a:pt x="616" y="412"/>
                </a:lnTo>
                <a:lnTo>
                  <a:pt x="615" y="412"/>
                </a:lnTo>
                <a:lnTo>
                  <a:pt x="613" y="411"/>
                </a:lnTo>
                <a:lnTo>
                  <a:pt x="611" y="411"/>
                </a:lnTo>
                <a:lnTo>
                  <a:pt x="609" y="410"/>
                </a:lnTo>
                <a:lnTo>
                  <a:pt x="602" y="407"/>
                </a:lnTo>
                <a:lnTo>
                  <a:pt x="599" y="406"/>
                </a:lnTo>
                <a:lnTo>
                  <a:pt x="597" y="405"/>
                </a:lnTo>
                <a:lnTo>
                  <a:pt x="594" y="403"/>
                </a:lnTo>
                <a:lnTo>
                  <a:pt x="591" y="401"/>
                </a:lnTo>
                <a:lnTo>
                  <a:pt x="590" y="401"/>
                </a:lnTo>
                <a:lnTo>
                  <a:pt x="588" y="400"/>
                </a:lnTo>
                <a:lnTo>
                  <a:pt x="587" y="399"/>
                </a:lnTo>
                <a:lnTo>
                  <a:pt x="586" y="399"/>
                </a:lnTo>
                <a:lnTo>
                  <a:pt x="585" y="398"/>
                </a:lnTo>
                <a:lnTo>
                  <a:pt x="584" y="398"/>
                </a:lnTo>
                <a:lnTo>
                  <a:pt x="583" y="398"/>
                </a:lnTo>
                <a:lnTo>
                  <a:pt x="582" y="398"/>
                </a:lnTo>
                <a:lnTo>
                  <a:pt x="581" y="398"/>
                </a:lnTo>
                <a:lnTo>
                  <a:pt x="581" y="399"/>
                </a:lnTo>
                <a:lnTo>
                  <a:pt x="580" y="399"/>
                </a:lnTo>
                <a:lnTo>
                  <a:pt x="579" y="399"/>
                </a:lnTo>
                <a:lnTo>
                  <a:pt x="578" y="400"/>
                </a:lnTo>
                <a:lnTo>
                  <a:pt x="578" y="401"/>
                </a:lnTo>
                <a:lnTo>
                  <a:pt x="577" y="402"/>
                </a:lnTo>
                <a:lnTo>
                  <a:pt x="576" y="402"/>
                </a:lnTo>
                <a:lnTo>
                  <a:pt x="576" y="404"/>
                </a:lnTo>
                <a:lnTo>
                  <a:pt x="573" y="409"/>
                </a:lnTo>
                <a:lnTo>
                  <a:pt x="572" y="411"/>
                </a:lnTo>
                <a:lnTo>
                  <a:pt x="572" y="412"/>
                </a:lnTo>
                <a:lnTo>
                  <a:pt x="571" y="413"/>
                </a:lnTo>
                <a:lnTo>
                  <a:pt x="570" y="415"/>
                </a:lnTo>
                <a:lnTo>
                  <a:pt x="568" y="416"/>
                </a:lnTo>
                <a:lnTo>
                  <a:pt x="567" y="417"/>
                </a:lnTo>
                <a:lnTo>
                  <a:pt x="565" y="419"/>
                </a:lnTo>
                <a:lnTo>
                  <a:pt x="563" y="420"/>
                </a:lnTo>
                <a:lnTo>
                  <a:pt x="561" y="421"/>
                </a:lnTo>
                <a:lnTo>
                  <a:pt x="558" y="422"/>
                </a:lnTo>
                <a:lnTo>
                  <a:pt x="555" y="424"/>
                </a:lnTo>
                <a:lnTo>
                  <a:pt x="554" y="424"/>
                </a:lnTo>
                <a:lnTo>
                  <a:pt x="553" y="426"/>
                </a:lnTo>
                <a:lnTo>
                  <a:pt x="552" y="426"/>
                </a:lnTo>
                <a:lnTo>
                  <a:pt x="548" y="428"/>
                </a:lnTo>
                <a:lnTo>
                  <a:pt x="544" y="430"/>
                </a:lnTo>
                <a:lnTo>
                  <a:pt x="541" y="431"/>
                </a:lnTo>
                <a:lnTo>
                  <a:pt x="540" y="432"/>
                </a:lnTo>
                <a:lnTo>
                  <a:pt x="538" y="433"/>
                </a:lnTo>
                <a:lnTo>
                  <a:pt x="534" y="436"/>
                </a:lnTo>
                <a:lnTo>
                  <a:pt x="532" y="438"/>
                </a:lnTo>
                <a:lnTo>
                  <a:pt x="530" y="439"/>
                </a:lnTo>
                <a:lnTo>
                  <a:pt x="527" y="441"/>
                </a:lnTo>
                <a:lnTo>
                  <a:pt x="525" y="442"/>
                </a:lnTo>
                <a:lnTo>
                  <a:pt x="524" y="443"/>
                </a:lnTo>
                <a:lnTo>
                  <a:pt x="523" y="444"/>
                </a:lnTo>
                <a:lnTo>
                  <a:pt x="522" y="445"/>
                </a:lnTo>
                <a:lnTo>
                  <a:pt x="521" y="446"/>
                </a:lnTo>
                <a:lnTo>
                  <a:pt x="521" y="447"/>
                </a:lnTo>
                <a:lnTo>
                  <a:pt x="520" y="448"/>
                </a:lnTo>
                <a:lnTo>
                  <a:pt x="520" y="449"/>
                </a:lnTo>
                <a:lnTo>
                  <a:pt x="520" y="450"/>
                </a:lnTo>
                <a:lnTo>
                  <a:pt x="520" y="454"/>
                </a:lnTo>
                <a:lnTo>
                  <a:pt x="520" y="455"/>
                </a:lnTo>
                <a:lnTo>
                  <a:pt x="519" y="456"/>
                </a:lnTo>
                <a:lnTo>
                  <a:pt x="519" y="456"/>
                </a:lnTo>
                <a:lnTo>
                  <a:pt x="519" y="457"/>
                </a:lnTo>
                <a:lnTo>
                  <a:pt x="518" y="458"/>
                </a:lnTo>
                <a:lnTo>
                  <a:pt x="517" y="459"/>
                </a:lnTo>
                <a:lnTo>
                  <a:pt x="515" y="460"/>
                </a:lnTo>
                <a:lnTo>
                  <a:pt x="513" y="462"/>
                </a:lnTo>
                <a:lnTo>
                  <a:pt x="512" y="463"/>
                </a:lnTo>
                <a:lnTo>
                  <a:pt x="511" y="464"/>
                </a:lnTo>
                <a:lnTo>
                  <a:pt x="511" y="464"/>
                </a:lnTo>
                <a:lnTo>
                  <a:pt x="510" y="465"/>
                </a:lnTo>
                <a:lnTo>
                  <a:pt x="510" y="466"/>
                </a:lnTo>
                <a:lnTo>
                  <a:pt x="510" y="467"/>
                </a:lnTo>
                <a:lnTo>
                  <a:pt x="510" y="468"/>
                </a:lnTo>
                <a:lnTo>
                  <a:pt x="510" y="468"/>
                </a:lnTo>
                <a:lnTo>
                  <a:pt x="510" y="470"/>
                </a:lnTo>
                <a:lnTo>
                  <a:pt x="511" y="473"/>
                </a:lnTo>
                <a:lnTo>
                  <a:pt x="511" y="474"/>
                </a:lnTo>
                <a:lnTo>
                  <a:pt x="511" y="475"/>
                </a:lnTo>
                <a:lnTo>
                  <a:pt x="511" y="475"/>
                </a:lnTo>
                <a:lnTo>
                  <a:pt x="511" y="476"/>
                </a:lnTo>
                <a:lnTo>
                  <a:pt x="510" y="477"/>
                </a:lnTo>
                <a:lnTo>
                  <a:pt x="510" y="477"/>
                </a:lnTo>
                <a:lnTo>
                  <a:pt x="509" y="477"/>
                </a:lnTo>
                <a:lnTo>
                  <a:pt x="508" y="477"/>
                </a:lnTo>
                <a:lnTo>
                  <a:pt x="507" y="477"/>
                </a:lnTo>
                <a:lnTo>
                  <a:pt x="506" y="477"/>
                </a:lnTo>
                <a:lnTo>
                  <a:pt x="505" y="477"/>
                </a:lnTo>
                <a:lnTo>
                  <a:pt x="503" y="477"/>
                </a:lnTo>
                <a:lnTo>
                  <a:pt x="500" y="476"/>
                </a:lnTo>
                <a:lnTo>
                  <a:pt x="498" y="476"/>
                </a:lnTo>
                <a:lnTo>
                  <a:pt x="496" y="476"/>
                </a:lnTo>
                <a:lnTo>
                  <a:pt x="495" y="475"/>
                </a:lnTo>
                <a:lnTo>
                  <a:pt x="494" y="476"/>
                </a:lnTo>
                <a:lnTo>
                  <a:pt x="491" y="476"/>
                </a:lnTo>
                <a:lnTo>
                  <a:pt x="487" y="476"/>
                </a:lnTo>
                <a:lnTo>
                  <a:pt x="485" y="477"/>
                </a:lnTo>
                <a:lnTo>
                  <a:pt x="483" y="477"/>
                </a:lnTo>
                <a:lnTo>
                  <a:pt x="482" y="476"/>
                </a:lnTo>
                <a:lnTo>
                  <a:pt x="482" y="476"/>
                </a:lnTo>
                <a:lnTo>
                  <a:pt x="481" y="476"/>
                </a:lnTo>
                <a:lnTo>
                  <a:pt x="479" y="475"/>
                </a:lnTo>
                <a:lnTo>
                  <a:pt x="478" y="475"/>
                </a:lnTo>
                <a:lnTo>
                  <a:pt x="477" y="475"/>
                </a:lnTo>
                <a:lnTo>
                  <a:pt x="477" y="475"/>
                </a:lnTo>
                <a:lnTo>
                  <a:pt x="476" y="475"/>
                </a:lnTo>
                <a:lnTo>
                  <a:pt x="473" y="477"/>
                </a:lnTo>
                <a:lnTo>
                  <a:pt x="471" y="477"/>
                </a:lnTo>
                <a:lnTo>
                  <a:pt x="470" y="477"/>
                </a:lnTo>
                <a:lnTo>
                  <a:pt x="466" y="478"/>
                </a:lnTo>
                <a:lnTo>
                  <a:pt x="464" y="479"/>
                </a:lnTo>
                <a:lnTo>
                  <a:pt x="462" y="479"/>
                </a:lnTo>
                <a:lnTo>
                  <a:pt x="460" y="479"/>
                </a:lnTo>
                <a:lnTo>
                  <a:pt x="459" y="479"/>
                </a:lnTo>
                <a:lnTo>
                  <a:pt x="458" y="479"/>
                </a:lnTo>
                <a:lnTo>
                  <a:pt x="457" y="478"/>
                </a:lnTo>
                <a:lnTo>
                  <a:pt x="456" y="478"/>
                </a:lnTo>
                <a:lnTo>
                  <a:pt x="455" y="477"/>
                </a:lnTo>
                <a:lnTo>
                  <a:pt x="453" y="476"/>
                </a:lnTo>
                <a:lnTo>
                  <a:pt x="448" y="472"/>
                </a:lnTo>
                <a:lnTo>
                  <a:pt x="446" y="470"/>
                </a:lnTo>
                <a:lnTo>
                  <a:pt x="445" y="470"/>
                </a:lnTo>
                <a:lnTo>
                  <a:pt x="443" y="469"/>
                </a:lnTo>
                <a:lnTo>
                  <a:pt x="440" y="467"/>
                </a:lnTo>
                <a:lnTo>
                  <a:pt x="437" y="466"/>
                </a:lnTo>
                <a:lnTo>
                  <a:pt x="434" y="465"/>
                </a:lnTo>
                <a:lnTo>
                  <a:pt x="432" y="464"/>
                </a:lnTo>
                <a:lnTo>
                  <a:pt x="431" y="463"/>
                </a:lnTo>
                <a:lnTo>
                  <a:pt x="429" y="462"/>
                </a:lnTo>
                <a:lnTo>
                  <a:pt x="428" y="461"/>
                </a:lnTo>
                <a:lnTo>
                  <a:pt x="424" y="458"/>
                </a:lnTo>
                <a:lnTo>
                  <a:pt x="423" y="457"/>
                </a:lnTo>
                <a:lnTo>
                  <a:pt x="422" y="456"/>
                </a:lnTo>
                <a:lnTo>
                  <a:pt x="420" y="456"/>
                </a:lnTo>
                <a:lnTo>
                  <a:pt x="419" y="455"/>
                </a:lnTo>
                <a:lnTo>
                  <a:pt x="415" y="453"/>
                </a:lnTo>
                <a:lnTo>
                  <a:pt x="412" y="452"/>
                </a:lnTo>
                <a:lnTo>
                  <a:pt x="410" y="451"/>
                </a:lnTo>
                <a:lnTo>
                  <a:pt x="409" y="450"/>
                </a:lnTo>
                <a:lnTo>
                  <a:pt x="407" y="449"/>
                </a:lnTo>
                <a:lnTo>
                  <a:pt x="406" y="447"/>
                </a:lnTo>
                <a:lnTo>
                  <a:pt x="405" y="446"/>
                </a:lnTo>
                <a:lnTo>
                  <a:pt x="402" y="442"/>
                </a:lnTo>
                <a:lnTo>
                  <a:pt x="400" y="440"/>
                </a:lnTo>
                <a:lnTo>
                  <a:pt x="399" y="439"/>
                </a:lnTo>
                <a:lnTo>
                  <a:pt x="398" y="438"/>
                </a:lnTo>
                <a:lnTo>
                  <a:pt x="397" y="438"/>
                </a:lnTo>
                <a:lnTo>
                  <a:pt x="396" y="437"/>
                </a:lnTo>
                <a:lnTo>
                  <a:pt x="394" y="436"/>
                </a:lnTo>
                <a:lnTo>
                  <a:pt x="392" y="436"/>
                </a:lnTo>
                <a:lnTo>
                  <a:pt x="387" y="434"/>
                </a:lnTo>
                <a:lnTo>
                  <a:pt x="385" y="434"/>
                </a:lnTo>
                <a:lnTo>
                  <a:pt x="384" y="433"/>
                </a:lnTo>
                <a:lnTo>
                  <a:pt x="383" y="432"/>
                </a:lnTo>
                <a:lnTo>
                  <a:pt x="382" y="432"/>
                </a:lnTo>
                <a:lnTo>
                  <a:pt x="381" y="431"/>
                </a:lnTo>
                <a:lnTo>
                  <a:pt x="380" y="430"/>
                </a:lnTo>
                <a:lnTo>
                  <a:pt x="380" y="429"/>
                </a:lnTo>
                <a:lnTo>
                  <a:pt x="379" y="428"/>
                </a:lnTo>
                <a:lnTo>
                  <a:pt x="378" y="425"/>
                </a:lnTo>
                <a:lnTo>
                  <a:pt x="377" y="421"/>
                </a:lnTo>
                <a:lnTo>
                  <a:pt x="376" y="419"/>
                </a:lnTo>
                <a:lnTo>
                  <a:pt x="375" y="417"/>
                </a:lnTo>
                <a:lnTo>
                  <a:pt x="375" y="416"/>
                </a:lnTo>
                <a:lnTo>
                  <a:pt x="374" y="415"/>
                </a:lnTo>
                <a:lnTo>
                  <a:pt x="374" y="415"/>
                </a:lnTo>
                <a:lnTo>
                  <a:pt x="373" y="413"/>
                </a:lnTo>
                <a:lnTo>
                  <a:pt x="370" y="410"/>
                </a:lnTo>
                <a:lnTo>
                  <a:pt x="369" y="409"/>
                </a:lnTo>
                <a:lnTo>
                  <a:pt x="368" y="408"/>
                </a:lnTo>
                <a:lnTo>
                  <a:pt x="367" y="408"/>
                </a:lnTo>
                <a:lnTo>
                  <a:pt x="365" y="407"/>
                </a:lnTo>
                <a:lnTo>
                  <a:pt x="363" y="406"/>
                </a:lnTo>
                <a:lnTo>
                  <a:pt x="361" y="405"/>
                </a:lnTo>
                <a:lnTo>
                  <a:pt x="356" y="404"/>
                </a:lnTo>
                <a:lnTo>
                  <a:pt x="351" y="402"/>
                </a:lnTo>
                <a:lnTo>
                  <a:pt x="348" y="402"/>
                </a:lnTo>
                <a:lnTo>
                  <a:pt x="344" y="401"/>
                </a:lnTo>
                <a:lnTo>
                  <a:pt x="343" y="401"/>
                </a:lnTo>
                <a:lnTo>
                  <a:pt x="341" y="401"/>
                </a:lnTo>
                <a:lnTo>
                  <a:pt x="340" y="401"/>
                </a:lnTo>
                <a:lnTo>
                  <a:pt x="339" y="401"/>
                </a:lnTo>
                <a:lnTo>
                  <a:pt x="337" y="401"/>
                </a:lnTo>
                <a:lnTo>
                  <a:pt x="333" y="403"/>
                </a:lnTo>
                <a:lnTo>
                  <a:pt x="331" y="403"/>
                </a:lnTo>
                <a:lnTo>
                  <a:pt x="330" y="404"/>
                </a:lnTo>
                <a:lnTo>
                  <a:pt x="328" y="405"/>
                </a:lnTo>
                <a:lnTo>
                  <a:pt x="327" y="406"/>
                </a:lnTo>
                <a:lnTo>
                  <a:pt x="324" y="410"/>
                </a:lnTo>
                <a:lnTo>
                  <a:pt x="323" y="410"/>
                </a:lnTo>
                <a:lnTo>
                  <a:pt x="322" y="411"/>
                </a:lnTo>
                <a:lnTo>
                  <a:pt x="321" y="412"/>
                </a:lnTo>
                <a:lnTo>
                  <a:pt x="320" y="412"/>
                </a:lnTo>
                <a:lnTo>
                  <a:pt x="316" y="414"/>
                </a:lnTo>
                <a:lnTo>
                  <a:pt x="314" y="415"/>
                </a:lnTo>
                <a:lnTo>
                  <a:pt x="313" y="416"/>
                </a:lnTo>
                <a:lnTo>
                  <a:pt x="310" y="418"/>
                </a:lnTo>
                <a:lnTo>
                  <a:pt x="307" y="419"/>
                </a:lnTo>
                <a:lnTo>
                  <a:pt x="306" y="420"/>
                </a:lnTo>
                <a:lnTo>
                  <a:pt x="305" y="420"/>
                </a:lnTo>
                <a:lnTo>
                  <a:pt x="304" y="420"/>
                </a:lnTo>
                <a:lnTo>
                  <a:pt x="304" y="421"/>
                </a:lnTo>
                <a:lnTo>
                  <a:pt x="303" y="421"/>
                </a:lnTo>
                <a:lnTo>
                  <a:pt x="301" y="420"/>
                </a:lnTo>
                <a:lnTo>
                  <a:pt x="300" y="420"/>
                </a:lnTo>
                <a:lnTo>
                  <a:pt x="299" y="420"/>
                </a:lnTo>
                <a:lnTo>
                  <a:pt x="298" y="420"/>
                </a:lnTo>
                <a:lnTo>
                  <a:pt x="297" y="419"/>
                </a:lnTo>
                <a:lnTo>
                  <a:pt x="296" y="419"/>
                </a:lnTo>
                <a:lnTo>
                  <a:pt x="295" y="418"/>
                </a:lnTo>
                <a:lnTo>
                  <a:pt x="294" y="417"/>
                </a:lnTo>
                <a:lnTo>
                  <a:pt x="294" y="416"/>
                </a:lnTo>
                <a:lnTo>
                  <a:pt x="293" y="415"/>
                </a:lnTo>
                <a:lnTo>
                  <a:pt x="292" y="414"/>
                </a:lnTo>
                <a:lnTo>
                  <a:pt x="291" y="412"/>
                </a:lnTo>
                <a:lnTo>
                  <a:pt x="290" y="408"/>
                </a:lnTo>
                <a:lnTo>
                  <a:pt x="289" y="406"/>
                </a:lnTo>
                <a:lnTo>
                  <a:pt x="288" y="404"/>
                </a:lnTo>
                <a:lnTo>
                  <a:pt x="287" y="402"/>
                </a:lnTo>
                <a:lnTo>
                  <a:pt x="286" y="400"/>
                </a:lnTo>
                <a:lnTo>
                  <a:pt x="285" y="399"/>
                </a:lnTo>
                <a:lnTo>
                  <a:pt x="284" y="399"/>
                </a:lnTo>
                <a:lnTo>
                  <a:pt x="284" y="398"/>
                </a:lnTo>
                <a:lnTo>
                  <a:pt x="283" y="397"/>
                </a:lnTo>
                <a:lnTo>
                  <a:pt x="281" y="396"/>
                </a:lnTo>
                <a:lnTo>
                  <a:pt x="281" y="396"/>
                </a:lnTo>
                <a:lnTo>
                  <a:pt x="281" y="396"/>
                </a:lnTo>
                <a:lnTo>
                  <a:pt x="280" y="396"/>
                </a:lnTo>
                <a:lnTo>
                  <a:pt x="280" y="396"/>
                </a:lnTo>
                <a:lnTo>
                  <a:pt x="277" y="398"/>
                </a:lnTo>
                <a:lnTo>
                  <a:pt x="275" y="399"/>
                </a:lnTo>
                <a:lnTo>
                  <a:pt x="273" y="400"/>
                </a:lnTo>
                <a:lnTo>
                  <a:pt x="271" y="401"/>
                </a:lnTo>
                <a:lnTo>
                  <a:pt x="270" y="402"/>
                </a:lnTo>
                <a:lnTo>
                  <a:pt x="269" y="404"/>
                </a:lnTo>
                <a:lnTo>
                  <a:pt x="268" y="405"/>
                </a:lnTo>
                <a:lnTo>
                  <a:pt x="267" y="406"/>
                </a:lnTo>
                <a:lnTo>
                  <a:pt x="267" y="406"/>
                </a:lnTo>
                <a:lnTo>
                  <a:pt x="266" y="407"/>
                </a:lnTo>
                <a:lnTo>
                  <a:pt x="265" y="409"/>
                </a:lnTo>
                <a:lnTo>
                  <a:pt x="264" y="413"/>
                </a:lnTo>
                <a:lnTo>
                  <a:pt x="263" y="414"/>
                </a:lnTo>
                <a:lnTo>
                  <a:pt x="262" y="415"/>
                </a:lnTo>
                <a:lnTo>
                  <a:pt x="262" y="416"/>
                </a:lnTo>
                <a:lnTo>
                  <a:pt x="261" y="416"/>
                </a:lnTo>
                <a:lnTo>
                  <a:pt x="260" y="417"/>
                </a:lnTo>
                <a:lnTo>
                  <a:pt x="259" y="418"/>
                </a:lnTo>
                <a:lnTo>
                  <a:pt x="258" y="419"/>
                </a:lnTo>
                <a:lnTo>
                  <a:pt x="256" y="420"/>
                </a:lnTo>
                <a:lnTo>
                  <a:pt x="255" y="420"/>
                </a:lnTo>
                <a:lnTo>
                  <a:pt x="251" y="421"/>
                </a:lnTo>
                <a:lnTo>
                  <a:pt x="249" y="422"/>
                </a:lnTo>
                <a:lnTo>
                  <a:pt x="247" y="423"/>
                </a:lnTo>
                <a:lnTo>
                  <a:pt x="244" y="425"/>
                </a:lnTo>
                <a:lnTo>
                  <a:pt x="242" y="425"/>
                </a:lnTo>
                <a:lnTo>
                  <a:pt x="241" y="425"/>
                </a:lnTo>
                <a:lnTo>
                  <a:pt x="240" y="425"/>
                </a:lnTo>
                <a:lnTo>
                  <a:pt x="238" y="425"/>
                </a:lnTo>
                <a:lnTo>
                  <a:pt x="237" y="425"/>
                </a:lnTo>
                <a:lnTo>
                  <a:pt x="236" y="425"/>
                </a:lnTo>
                <a:lnTo>
                  <a:pt x="234" y="425"/>
                </a:lnTo>
                <a:lnTo>
                  <a:pt x="230" y="423"/>
                </a:lnTo>
                <a:lnTo>
                  <a:pt x="228" y="422"/>
                </a:lnTo>
                <a:lnTo>
                  <a:pt x="227" y="422"/>
                </a:lnTo>
                <a:lnTo>
                  <a:pt x="226" y="422"/>
                </a:lnTo>
                <a:lnTo>
                  <a:pt x="225" y="422"/>
                </a:lnTo>
                <a:lnTo>
                  <a:pt x="223" y="422"/>
                </a:lnTo>
                <a:lnTo>
                  <a:pt x="221" y="422"/>
                </a:lnTo>
                <a:lnTo>
                  <a:pt x="219" y="422"/>
                </a:lnTo>
                <a:lnTo>
                  <a:pt x="217" y="421"/>
                </a:lnTo>
                <a:lnTo>
                  <a:pt x="215" y="421"/>
                </a:lnTo>
                <a:lnTo>
                  <a:pt x="213" y="421"/>
                </a:lnTo>
                <a:lnTo>
                  <a:pt x="209" y="421"/>
                </a:lnTo>
                <a:lnTo>
                  <a:pt x="208" y="421"/>
                </a:lnTo>
                <a:lnTo>
                  <a:pt x="206" y="421"/>
                </a:lnTo>
                <a:lnTo>
                  <a:pt x="204" y="421"/>
                </a:lnTo>
                <a:lnTo>
                  <a:pt x="203" y="421"/>
                </a:lnTo>
                <a:lnTo>
                  <a:pt x="202" y="421"/>
                </a:lnTo>
                <a:lnTo>
                  <a:pt x="201" y="421"/>
                </a:lnTo>
                <a:lnTo>
                  <a:pt x="200" y="420"/>
                </a:lnTo>
                <a:lnTo>
                  <a:pt x="198" y="419"/>
                </a:lnTo>
                <a:lnTo>
                  <a:pt x="196" y="417"/>
                </a:lnTo>
                <a:lnTo>
                  <a:pt x="195" y="417"/>
                </a:lnTo>
                <a:lnTo>
                  <a:pt x="195" y="416"/>
                </a:lnTo>
                <a:lnTo>
                  <a:pt x="194" y="416"/>
                </a:lnTo>
                <a:lnTo>
                  <a:pt x="194" y="416"/>
                </a:lnTo>
                <a:lnTo>
                  <a:pt x="193" y="416"/>
                </a:lnTo>
                <a:lnTo>
                  <a:pt x="192" y="416"/>
                </a:lnTo>
                <a:lnTo>
                  <a:pt x="192" y="416"/>
                </a:lnTo>
                <a:lnTo>
                  <a:pt x="191" y="416"/>
                </a:lnTo>
                <a:lnTo>
                  <a:pt x="186" y="419"/>
                </a:lnTo>
                <a:lnTo>
                  <a:pt x="185" y="419"/>
                </a:lnTo>
                <a:lnTo>
                  <a:pt x="184" y="420"/>
                </a:lnTo>
                <a:lnTo>
                  <a:pt x="181" y="420"/>
                </a:lnTo>
                <a:lnTo>
                  <a:pt x="180" y="421"/>
                </a:lnTo>
                <a:lnTo>
                  <a:pt x="178" y="421"/>
                </a:lnTo>
                <a:lnTo>
                  <a:pt x="177" y="422"/>
                </a:lnTo>
                <a:lnTo>
                  <a:pt x="176" y="423"/>
                </a:lnTo>
                <a:lnTo>
                  <a:pt x="175" y="423"/>
                </a:lnTo>
                <a:lnTo>
                  <a:pt x="175" y="424"/>
                </a:lnTo>
                <a:lnTo>
                  <a:pt x="174" y="425"/>
                </a:lnTo>
                <a:lnTo>
                  <a:pt x="173" y="426"/>
                </a:lnTo>
                <a:lnTo>
                  <a:pt x="173" y="427"/>
                </a:lnTo>
                <a:lnTo>
                  <a:pt x="171" y="430"/>
                </a:lnTo>
                <a:lnTo>
                  <a:pt x="171" y="431"/>
                </a:lnTo>
                <a:lnTo>
                  <a:pt x="170" y="431"/>
                </a:lnTo>
                <a:lnTo>
                  <a:pt x="169" y="432"/>
                </a:lnTo>
                <a:lnTo>
                  <a:pt x="167" y="434"/>
                </a:lnTo>
                <a:lnTo>
                  <a:pt x="166" y="435"/>
                </a:lnTo>
                <a:lnTo>
                  <a:pt x="164" y="436"/>
                </a:lnTo>
                <a:lnTo>
                  <a:pt x="162" y="437"/>
                </a:lnTo>
                <a:lnTo>
                  <a:pt x="161" y="437"/>
                </a:lnTo>
                <a:lnTo>
                  <a:pt x="159" y="439"/>
                </a:lnTo>
                <a:lnTo>
                  <a:pt x="157" y="440"/>
                </a:lnTo>
                <a:lnTo>
                  <a:pt x="155" y="441"/>
                </a:lnTo>
                <a:lnTo>
                  <a:pt x="154" y="442"/>
                </a:lnTo>
                <a:lnTo>
                  <a:pt x="153" y="442"/>
                </a:lnTo>
                <a:lnTo>
                  <a:pt x="151" y="443"/>
                </a:lnTo>
                <a:lnTo>
                  <a:pt x="150" y="443"/>
                </a:lnTo>
                <a:lnTo>
                  <a:pt x="148" y="443"/>
                </a:lnTo>
                <a:lnTo>
                  <a:pt x="147" y="444"/>
                </a:lnTo>
                <a:lnTo>
                  <a:pt x="146" y="444"/>
                </a:lnTo>
                <a:lnTo>
                  <a:pt x="145" y="444"/>
                </a:lnTo>
                <a:lnTo>
                  <a:pt x="143" y="444"/>
                </a:lnTo>
                <a:lnTo>
                  <a:pt x="142" y="443"/>
                </a:lnTo>
                <a:lnTo>
                  <a:pt x="141" y="443"/>
                </a:lnTo>
                <a:lnTo>
                  <a:pt x="140" y="443"/>
                </a:lnTo>
                <a:lnTo>
                  <a:pt x="139" y="442"/>
                </a:lnTo>
                <a:lnTo>
                  <a:pt x="138" y="441"/>
                </a:lnTo>
                <a:lnTo>
                  <a:pt x="137" y="441"/>
                </a:lnTo>
                <a:lnTo>
                  <a:pt x="137" y="440"/>
                </a:lnTo>
                <a:lnTo>
                  <a:pt x="136" y="439"/>
                </a:lnTo>
                <a:lnTo>
                  <a:pt x="137" y="439"/>
                </a:lnTo>
                <a:lnTo>
                  <a:pt x="137" y="437"/>
                </a:lnTo>
                <a:lnTo>
                  <a:pt x="137" y="435"/>
                </a:lnTo>
                <a:lnTo>
                  <a:pt x="138" y="433"/>
                </a:lnTo>
                <a:lnTo>
                  <a:pt x="137" y="433"/>
                </a:lnTo>
                <a:lnTo>
                  <a:pt x="137" y="432"/>
                </a:lnTo>
                <a:lnTo>
                  <a:pt x="137" y="431"/>
                </a:lnTo>
                <a:lnTo>
                  <a:pt x="137" y="430"/>
                </a:lnTo>
                <a:lnTo>
                  <a:pt x="136" y="430"/>
                </a:lnTo>
                <a:lnTo>
                  <a:pt x="136" y="429"/>
                </a:lnTo>
                <a:lnTo>
                  <a:pt x="135" y="428"/>
                </a:lnTo>
                <a:lnTo>
                  <a:pt x="135" y="428"/>
                </a:lnTo>
                <a:lnTo>
                  <a:pt x="133" y="426"/>
                </a:lnTo>
                <a:lnTo>
                  <a:pt x="132" y="425"/>
                </a:lnTo>
                <a:lnTo>
                  <a:pt x="128" y="423"/>
                </a:lnTo>
                <a:lnTo>
                  <a:pt x="127" y="422"/>
                </a:lnTo>
                <a:lnTo>
                  <a:pt x="126" y="422"/>
                </a:lnTo>
                <a:lnTo>
                  <a:pt x="125" y="421"/>
                </a:lnTo>
                <a:lnTo>
                  <a:pt x="123" y="421"/>
                </a:lnTo>
                <a:lnTo>
                  <a:pt x="120" y="421"/>
                </a:lnTo>
                <a:lnTo>
                  <a:pt x="118" y="420"/>
                </a:lnTo>
                <a:lnTo>
                  <a:pt x="117" y="419"/>
                </a:lnTo>
                <a:lnTo>
                  <a:pt x="112" y="418"/>
                </a:lnTo>
                <a:lnTo>
                  <a:pt x="107" y="416"/>
                </a:lnTo>
                <a:lnTo>
                  <a:pt x="106" y="416"/>
                </a:lnTo>
                <a:lnTo>
                  <a:pt x="105" y="415"/>
                </a:lnTo>
                <a:lnTo>
                  <a:pt x="105" y="415"/>
                </a:lnTo>
                <a:lnTo>
                  <a:pt x="104" y="415"/>
                </a:lnTo>
                <a:lnTo>
                  <a:pt x="104" y="414"/>
                </a:lnTo>
                <a:lnTo>
                  <a:pt x="104" y="414"/>
                </a:lnTo>
                <a:lnTo>
                  <a:pt x="106" y="410"/>
                </a:lnTo>
                <a:lnTo>
                  <a:pt x="106" y="409"/>
                </a:lnTo>
                <a:lnTo>
                  <a:pt x="106" y="409"/>
                </a:lnTo>
                <a:lnTo>
                  <a:pt x="106" y="407"/>
                </a:lnTo>
                <a:lnTo>
                  <a:pt x="105" y="405"/>
                </a:lnTo>
                <a:lnTo>
                  <a:pt x="105" y="405"/>
                </a:lnTo>
                <a:lnTo>
                  <a:pt x="105" y="404"/>
                </a:lnTo>
                <a:lnTo>
                  <a:pt x="105" y="403"/>
                </a:lnTo>
                <a:lnTo>
                  <a:pt x="106" y="402"/>
                </a:lnTo>
                <a:lnTo>
                  <a:pt x="107" y="400"/>
                </a:lnTo>
                <a:lnTo>
                  <a:pt x="109" y="398"/>
                </a:lnTo>
                <a:lnTo>
                  <a:pt x="111" y="396"/>
                </a:lnTo>
                <a:lnTo>
                  <a:pt x="112" y="395"/>
                </a:lnTo>
                <a:lnTo>
                  <a:pt x="114" y="392"/>
                </a:lnTo>
                <a:lnTo>
                  <a:pt x="115" y="390"/>
                </a:lnTo>
                <a:lnTo>
                  <a:pt x="116" y="389"/>
                </a:lnTo>
                <a:lnTo>
                  <a:pt x="116" y="387"/>
                </a:lnTo>
                <a:lnTo>
                  <a:pt x="117" y="385"/>
                </a:lnTo>
                <a:lnTo>
                  <a:pt x="118" y="383"/>
                </a:lnTo>
                <a:lnTo>
                  <a:pt x="118" y="382"/>
                </a:lnTo>
                <a:lnTo>
                  <a:pt x="118" y="381"/>
                </a:lnTo>
                <a:lnTo>
                  <a:pt x="118" y="379"/>
                </a:lnTo>
                <a:lnTo>
                  <a:pt x="118" y="378"/>
                </a:lnTo>
                <a:lnTo>
                  <a:pt x="118" y="377"/>
                </a:lnTo>
                <a:lnTo>
                  <a:pt x="118" y="377"/>
                </a:lnTo>
                <a:lnTo>
                  <a:pt x="117" y="374"/>
                </a:lnTo>
                <a:lnTo>
                  <a:pt x="117" y="373"/>
                </a:lnTo>
                <a:lnTo>
                  <a:pt x="116" y="371"/>
                </a:lnTo>
                <a:lnTo>
                  <a:pt x="115" y="369"/>
                </a:lnTo>
                <a:lnTo>
                  <a:pt x="113" y="366"/>
                </a:lnTo>
                <a:lnTo>
                  <a:pt x="112" y="364"/>
                </a:lnTo>
                <a:lnTo>
                  <a:pt x="111" y="362"/>
                </a:lnTo>
                <a:lnTo>
                  <a:pt x="111" y="361"/>
                </a:lnTo>
                <a:lnTo>
                  <a:pt x="111" y="360"/>
                </a:lnTo>
                <a:lnTo>
                  <a:pt x="110" y="358"/>
                </a:lnTo>
                <a:lnTo>
                  <a:pt x="110" y="356"/>
                </a:lnTo>
                <a:lnTo>
                  <a:pt x="110" y="354"/>
                </a:lnTo>
                <a:lnTo>
                  <a:pt x="110" y="351"/>
                </a:lnTo>
                <a:lnTo>
                  <a:pt x="110" y="350"/>
                </a:lnTo>
                <a:lnTo>
                  <a:pt x="110" y="349"/>
                </a:lnTo>
                <a:lnTo>
                  <a:pt x="111" y="345"/>
                </a:lnTo>
                <a:lnTo>
                  <a:pt x="111" y="343"/>
                </a:lnTo>
                <a:lnTo>
                  <a:pt x="111" y="340"/>
                </a:lnTo>
                <a:lnTo>
                  <a:pt x="111" y="336"/>
                </a:lnTo>
                <a:lnTo>
                  <a:pt x="111" y="333"/>
                </a:lnTo>
                <a:lnTo>
                  <a:pt x="111" y="331"/>
                </a:lnTo>
                <a:lnTo>
                  <a:pt x="110" y="330"/>
                </a:lnTo>
                <a:lnTo>
                  <a:pt x="110" y="328"/>
                </a:lnTo>
                <a:lnTo>
                  <a:pt x="109" y="327"/>
                </a:lnTo>
                <a:lnTo>
                  <a:pt x="109" y="326"/>
                </a:lnTo>
                <a:lnTo>
                  <a:pt x="108" y="325"/>
                </a:lnTo>
                <a:lnTo>
                  <a:pt x="107" y="324"/>
                </a:lnTo>
                <a:lnTo>
                  <a:pt x="107" y="323"/>
                </a:lnTo>
                <a:lnTo>
                  <a:pt x="105" y="322"/>
                </a:lnTo>
                <a:lnTo>
                  <a:pt x="104" y="321"/>
                </a:lnTo>
                <a:lnTo>
                  <a:pt x="102" y="319"/>
                </a:lnTo>
                <a:lnTo>
                  <a:pt x="101" y="319"/>
                </a:lnTo>
                <a:lnTo>
                  <a:pt x="100" y="318"/>
                </a:lnTo>
                <a:lnTo>
                  <a:pt x="99" y="318"/>
                </a:lnTo>
                <a:lnTo>
                  <a:pt x="99" y="318"/>
                </a:lnTo>
                <a:lnTo>
                  <a:pt x="98" y="318"/>
                </a:lnTo>
                <a:lnTo>
                  <a:pt x="97" y="318"/>
                </a:lnTo>
                <a:lnTo>
                  <a:pt x="95" y="318"/>
                </a:lnTo>
                <a:lnTo>
                  <a:pt x="94" y="319"/>
                </a:lnTo>
                <a:lnTo>
                  <a:pt x="92" y="319"/>
                </a:lnTo>
                <a:lnTo>
                  <a:pt x="89" y="321"/>
                </a:lnTo>
                <a:lnTo>
                  <a:pt x="84" y="322"/>
                </a:lnTo>
                <a:lnTo>
                  <a:pt x="82" y="323"/>
                </a:lnTo>
                <a:lnTo>
                  <a:pt x="81" y="323"/>
                </a:lnTo>
                <a:lnTo>
                  <a:pt x="79" y="323"/>
                </a:lnTo>
                <a:lnTo>
                  <a:pt x="78" y="323"/>
                </a:lnTo>
                <a:lnTo>
                  <a:pt x="73" y="322"/>
                </a:lnTo>
                <a:lnTo>
                  <a:pt x="70" y="322"/>
                </a:lnTo>
                <a:lnTo>
                  <a:pt x="64" y="321"/>
                </a:lnTo>
                <a:lnTo>
                  <a:pt x="62" y="321"/>
                </a:lnTo>
                <a:lnTo>
                  <a:pt x="61" y="321"/>
                </a:lnTo>
                <a:lnTo>
                  <a:pt x="54" y="322"/>
                </a:lnTo>
                <a:lnTo>
                  <a:pt x="53" y="322"/>
                </a:lnTo>
                <a:lnTo>
                  <a:pt x="52" y="322"/>
                </a:lnTo>
                <a:lnTo>
                  <a:pt x="51" y="322"/>
                </a:lnTo>
                <a:lnTo>
                  <a:pt x="50" y="322"/>
                </a:lnTo>
                <a:lnTo>
                  <a:pt x="49" y="321"/>
                </a:lnTo>
                <a:lnTo>
                  <a:pt x="48" y="321"/>
                </a:lnTo>
                <a:lnTo>
                  <a:pt x="47" y="320"/>
                </a:lnTo>
                <a:lnTo>
                  <a:pt x="46" y="320"/>
                </a:lnTo>
                <a:lnTo>
                  <a:pt x="45" y="319"/>
                </a:lnTo>
                <a:lnTo>
                  <a:pt x="44" y="318"/>
                </a:lnTo>
                <a:lnTo>
                  <a:pt x="43" y="317"/>
                </a:lnTo>
                <a:lnTo>
                  <a:pt x="42" y="317"/>
                </a:lnTo>
                <a:lnTo>
                  <a:pt x="42" y="316"/>
                </a:lnTo>
                <a:lnTo>
                  <a:pt x="42" y="315"/>
                </a:lnTo>
                <a:lnTo>
                  <a:pt x="41" y="314"/>
                </a:lnTo>
                <a:lnTo>
                  <a:pt x="41" y="313"/>
                </a:lnTo>
                <a:lnTo>
                  <a:pt x="40" y="311"/>
                </a:lnTo>
                <a:lnTo>
                  <a:pt x="40" y="310"/>
                </a:lnTo>
                <a:lnTo>
                  <a:pt x="40" y="308"/>
                </a:lnTo>
                <a:lnTo>
                  <a:pt x="40" y="305"/>
                </a:lnTo>
                <a:lnTo>
                  <a:pt x="40" y="304"/>
                </a:lnTo>
                <a:lnTo>
                  <a:pt x="40" y="303"/>
                </a:lnTo>
                <a:lnTo>
                  <a:pt x="39" y="302"/>
                </a:lnTo>
                <a:lnTo>
                  <a:pt x="38" y="301"/>
                </a:lnTo>
                <a:lnTo>
                  <a:pt x="38" y="300"/>
                </a:lnTo>
                <a:lnTo>
                  <a:pt x="36" y="298"/>
                </a:lnTo>
                <a:lnTo>
                  <a:pt x="34" y="297"/>
                </a:lnTo>
                <a:lnTo>
                  <a:pt x="32" y="295"/>
                </a:lnTo>
                <a:lnTo>
                  <a:pt x="31" y="294"/>
                </a:lnTo>
                <a:lnTo>
                  <a:pt x="30" y="293"/>
                </a:lnTo>
                <a:lnTo>
                  <a:pt x="29" y="291"/>
                </a:lnTo>
                <a:lnTo>
                  <a:pt x="28" y="290"/>
                </a:lnTo>
                <a:lnTo>
                  <a:pt x="27" y="290"/>
                </a:lnTo>
                <a:lnTo>
                  <a:pt x="26" y="289"/>
                </a:lnTo>
                <a:lnTo>
                  <a:pt x="25" y="288"/>
                </a:lnTo>
                <a:lnTo>
                  <a:pt x="23" y="288"/>
                </a:lnTo>
                <a:lnTo>
                  <a:pt x="22" y="287"/>
                </a:lnTo>
                <a:lnTo>
                  <a:pt x="21" y="287"/>
                </a:lnTo>
                <a:lnTo>
                  <a:pt x="17" y="287"/>
                </a:lnTo>
                <a:lnTo>
                  <a:pt x="16" y="287"/>
                </a:lnTo>
                <a:lnTo>
                  <a:pt x="15" y="286"/>
                </a:lnTo>
                <a:lnTo>
                  <a:pt x="14" y="286"/>
                </a:lnTo>
                <a:lnTo>
                  <a:pt x="13" y="286"/>
                </a:lnTo>
                <a:lnTo>
                  <a:pt x="12" y="285"/>
                </a:lnTo>
                <a:lnTo>
                  <a:pt x="11" y="285"/>
                </a:lnTo>
                <a:lnTo>
                  <a:pt x="10" y="284"/>
                </a:lnTo>
                <a:lnTo>
                  <a:pt x="9" y="283"/>
                </a:lnTo>
                <a:lnTo>
                  <a:pt x="8" y="283"/>
                </a:lnTo>
                <a:lnTo>
                  <a:pt x="7" y="282"/>
                </a:lnTo>
                <a:lnTo>
                  <a:pt x="6" y="281"/>
                </a:lnTo>
                <a:lnTo>
                  <a:pt x="6" y="280"/>
                </a:lnTo>
                <a:lnTo>
                  <a:pt x="5" y="279"/>
                </a:lnTo>
                <a:lnTo>
                  <a:pt x="5" y="277"/>
                </a:lnTo>
                <a:lnTo>
                  <a:pt x="4" y="275"/>
                </a:lnTo>
                <a:lnTo>
                  <a:pt x="4" y="274"/>
                </a:lnTo>
                <a:lnTo>
                  <a:pt x="3" y="273"/>
                </a:lnTo>
                <a:lnTo>
                  <a:pt x="1" y="270"/>
                </a:lnTo>
                <a:lnTo>
                  <a:pt x="1" y="269"/>
                </a:lnTo>
                <a:lnTo>
                  <a:pt x="0" y="268"/>
                </a:lnTo>
                <a:lnTo>
                  <a:pt x="0" y="267"/>
                </a:lnTo>
                <a:lnTo>
                  <a:pt x="0" y="266"/>
                </a:lnTo>
                <a:lnTo>
                  <a:pt x="0" y="265"/>
                </a:lnTo>
                <a:lnTo>
                  <a:pt x="0" y="264"/>
                </a:lnTo>
                <a:lnTo>
                  <a:pt x="0" y="263"/>
                </a:lnTo>
                <a:lnTo>
                  <a:pt x="1" y="262"/>
                </a:lnTo>
                <a:lnTo>
                  <a:pt x="2" y="261"/>
                </a:lnTo>
                <a:lnTo>
                  <a:pt x="2" y="260"/>
                </a:lnTo>
                <a:lnTo>
                  <a:pt x="3" y="260"/>
                </a:lnTo>
                <a:lnTo>
                  <a:pt x="4" y="259"/>
                </a:lnTo>
                <a:lnTo>
                  <a:pt x="7" y="258"/>
                </a:lnTo>
                <a:lnTo>
                  <a:pt x="8" y="257"/>
                </a:lnTo>
                <a:lnTo>
                  <a:pt x="9" y="256"/>
                </a:lnTo>
                <a:lnTo>
                  <a:pt x="9" y="256"/>
                </a:lnTo>
                <a:lnTo>
                  <a:pt x="10" y="255"/>
                </a:lnTo>
                <a:lnTo>
                  <a:pt x="10" y="254"/>
                </a:lnTo>
                <a:lnTo>
                  <a:pt x="12" y="250"/>
                </a:lnTo>
                <a:lnTo>
                  <a:pt x="12" y="249"/>
                </a:lnTo>
                <a:lnTo>
                  <a:pt x="13" y="248"/>
                </a:lnTo>
                <a:lnTo>
                  <a:pt x="15" y="244"/>
                </a:lnTo>
                <a:lnTo>
                  <a:pt x="16" y="243"/>
                </a:lnTo>
                <a:lnTo>
                  <a:pt x="16" y="242"/>
                </a:lnTo>
                <a:lnTo>
                  <a:pt x="17" y="240"/>
                </a:lnTo>
                <a:lnTo>
                  <a:pt x="17" y="238"/>
                </a:lnTo>
                <a:lnTo>
                  <a:pt x="17" y="236"/>
                </a:lnTo>
                <a:lnTo>
                  <a:pt x="17" y="234"/>
                </a:lnTo>
                <a:lnTo>
                  <a:pt x="17" y="233"/>
                </a:lnTo>
                <a:lnTo>
                  <a:pt x="17" y="231"/>
                </a:lnTo>
                <a:lnTo>
                  <a:pt x="16" y="225"/>
                </a:lnTo>
                <a:lnTo>
                  <a:pt x="15" y="224"/>
                </a:lnTo>
                <a:lnTo>
                  <a:pt x="14" y="223"/>
                </a:lnTo>
                <a:lnTo>
                  <a:pt x="14" y="221"/>
                </a:lnTo>
                <a:lnTo>
                  <a:pt x="13" y="220"/>
                </a:lnTo>
                <a:lnTo>
                  <a:pt x="12" y="218"/>
                </a:lnTo>
                <a:lnTo>
                  <a:pt x="11" y="217"/>
                </a:lnTo>
                <a:lnTo>
                  <a:pt x="10" y="216"/>
                </a:lnTo>
                <a:lnTo>
                  <a:pt x="10" y="215"/>
                </a:lnTo>
                <a:lnTo>
                  <a:pt x="10" y="213"/>
                </a:lnTo>
                <a:lnTo>
                  <a:pt x="10" y="211"/>
                </a:lnTo>
                <a:lnTo>
                  <a:pt x="10" y="205"/>
                </a:lnTo>
                <a:lnTo>
                  <a:pt x="10" y="202"/>
                </a:lnTo>
                <a:lnTo>
                  <a:pt x="10" y="201"/>
                </a:lnTo>
                <a:lnTo>
                  <a:pt x="10" y="200"/>
                </a:lnTo>
                <a:lnTo>
                  <a:pt x="9" y="199"/>
                </a:lnTo>
                <a:lnTo>
                  <a:pt x="8" y="196"/>
                </a:lnTo>
                <a:lnTo>
                  <a:pt x="7" y="193"/>
                </a:lnTo>
                <a:lnTo>
                  <a:pt x="7" y="191"/>
                </a:lnTo>
                <a:lnTo>
                  <a:pt x="6" y="189"/>
                </a:lnTo>
                <a:lnTo>
                  <a:pt x="4" y="186"/>
                </a:lnTo>
                <a:lnTo>
                  <a:pt x="4" y="185"/>
                </a:lnTo>
                <a:lnTo>
                  <a:pt x="3" y="184"/>
                </a:lnTo>
                <a:lnTo>
                  <a:pt x="3" y="183"/>
                </a:lnTo>
                <a:lnTo>
                  <a:pt x="3" y="182"/>
                </a:lnTo>
                <a:lnTo>
                  <a:pt x="4" y="181"/>
                </a:lnTo>
                <a:lnTo>
                  <a:pt x="4" y="180"/>
                </a:lnTo>
                <a:lnTo>
                  <a:pt x="4" y="179"/>
                </a:lnTo>
                <a:lnTo>
                  <a:pt x="5" y="178"/>
                </a:lnTo>
                <a:lnTo>
                  <a:pt x="6" y="177"/>
                </a:lnTo>
                <a:lnTo>
                  <a:pt x="8" y="175"/>
                </a:lnTo>
                <a:lnTo>
                  <a:pt x="11" y="172"/>
                </a:lnTo>
                <a:lnTo>
                  <a:pt x="13" y="170"/>
                </a:lnTo>
                <a:lnTo>
                  <a:pt x="14" y="169"/>
                </a:lnTo>
                <a:lnTo>
                  <a:pt x="14" y="170"/>
                </a:lnTo>
                <a:lnTo>
                  <a:pt x="15" y="171"/>
                </a:lnTo>
                <a:lnTo>
                  <a:pt x="16" y="172"/>
                </a:lnTo>
                <a:lnTo>
                  <a:pt x="18" y="173"/>
                </a:lnTo>
                <a:lnTo>
                  <a:pt x="21" y="175"/>
                </a:lnTo>
                <a:lnTo>
                  <a:pt x="23" y="176"/>
                </a:lnTo>
                <a:lnTo>
                  <a:pt x="29" y="179"/>
                </a:lnTo>
                <a:lnTo>
                  <a:pt x="31" y="180"/>
                </a:lnTo>
                <a:lnTo>
                  <a:pt x="33" y="181"/>
                </a:lnTo>
                <a:lnTo>
                  <a:pt x="35" y="182"/>
                </a:lnTo>
                <a:lnTo>
                  <a:pt x="37" y="183"/>
                </a:lnTo>
                <a:lnTo>
                  <a:pt x="40" y="184"/>
                </a:lnTo>
                <a:lnTo>
                  <a:pt x="41" y="18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 277">
            <a:extLst>
              <a:ext uri="{FF2B5EF4-FFF2-40B4-BE49-F238E27FC236}">
                <a16:creationId xmlns:a16="http://schemas.microsoft.com/office/drawing/2014/main" id="{1F8935AB-3A30-41C8-96CC-C7D71B9DD30F}"/>
              </a:ext>
            </a:extLst>
          </p:cNvPr>
          <p:cNvSpPr>
            <a:spLocks/>
          </p:cNvSpPr>
          <p:nvPr/>
        </p:nvSpPr>
        <p:spPr bwMode="auto">
          <a:xfrm>
            <a:off x="8890065" y="3364857"/>
            <a:ext cx="326924" cy="405512"/>
          </a:xfrm>
          <a:custGeom>
            <a:avLst/>
            <a:gdLst>
              <a:gd name="T0" fmla="*/ 4 w 172"/>
              <a:gd name="T1" fmla="*/ 185 h 195"/>
              <a:gd name="T2" fmla="*/ 9 w 172"/>
              <a:gd name="T3" fmla="*/ 184 h 195"/>
              <a:gd name="T4" fmla="*/ 13 w 172"/>
              <a:gd name="T5" fmla="*/ 180 h 195"/>
              <a:gd name="T6" fmla="*/ 20 w 172"/>
              <a:gd name="T7" fmla="*/ 172 h 195"/>
              <a:gd name="T8" fmla="*/ 24 w 172"/>
              <a:gd name="T9" fmla="*/ 170 h 195"/>
              <a:gd name="T10" fmla="*/ 28 w 172"/>
              <a:gd name="T11" fmla="*/ 170 h 195"/>
              <a:gd name="T12" fmla="*/ 34 w 172"/>
              <a:gd name="T13" fmla="*/ 171 h 195"/>
              <a:gd name="T14" fmla="*/ 43 w 172"/>
              <a:gd name="T15" fmla="*/ 175 h 195"/>
              <a:gd name="T16" fmla="*/ 50 w 172"/>
              <a:gd name="T17" fmla="*/ 177 h 195"/>
              <a:gd name="T18" fmla="*/ 57 w 172"/>
              <a:gd name="T19" fmla="*/ 180 h 195"/>
              <a:gd name="T20" fmla="*/ 64 w 172"/>
              <a:gd name="T21" fmla="*/ 183 h 195"/>
              <a:gd name="T22" fmla="*/ 69 w 172"/>
              <a:gd name="T23" fmla="*/ 183 h 195"/>
              <a:gd name="T24" fmla="*/ 71 w 172"/>
              <a:gd name="T25" fmla="*/ 185 h 195"/>
              <a:gd name="T26" fmla="*/ 73 w 172"/>
              <a:gd name="T27" fmla="*/ 190 h 195"/>
              <a:gd name="T28" fmla="*/ 76 w 172"/>
              <a:gd name="T29" fmla="*/ 193 h 195"/>
              <a:gd name="T30" fmla="*/ 78 w 172"/>
              <a:gd name="T31" fmla="*/ 195 h 195"/>
              <a:gd name="T32" fmla="*/ 83 w 172"/>
              <a:gd name="T33" fmla="*/ 195 h 195"/>
              <a:gd name="T34" fmla="*/ 89 w 172"/>
              <a:gd name="T35" fmla="*/ 193 h 195"/>
              <a:gd name="T36" fmla="*/ 94 w 172"/>
              <a:gd name="T37" fmla="*/ 189 h 195"/>
              <a:gd name="T38" fmla="*/ 97 w 172"/>
              <a:gd name="T39" fmla="*/ 185 h 195"/>
              <a:gd name="T40" fmla="*/ 96 w 172"/>
              <a:gd name="T41" fmla="*/ 178 h 195"/>
              <a:gd name="T42" fmla="*/ 96 w 172"/>
              <a:gd name="T43" fmla="*/ 173 h 195"/>
              <a:gd name="T44" fmla="*/ 99 w 172"/>
              <a:gd name="T45" fmla="*/ 169 h 195"/>
              <a:gd name="T46" fmla="*/ 109 w 172"/>
              <a:gd name="T47" fmla="*/ 160 h 195"/>
              <a:gd name="T48" fmla="*/ 112 w 172"/>
              <a:gd name="T49" fmla="*/ 157 h 195"/>
              <a:gd name="T50" fmla="*/ 115 w 172"/>
              <a:gd name="T51" fmla="*/ 157 h 195"/>
              <a:gd name="T52" fmla="*/ 118 w 172"/>
              <a:gd name="T53" fmla="*/ 159 h 195"/>
              <a:gd name="T54" fmla="*/ 124 w 172"/>
              <a:gd name="T55" fmla="*/ 167 h 195"/>
              <a:gd name="T56" fmla="*/ 130 w 172"/>
              <a:gd name="T57" fmla="*/ 171 h 195"/>
              <a:gd name="T58" fmla="*/ 135 w 172"/>
              <a:gd name="T59" fmla="*/ 172 h 195"/>
              <a:gd name="T60" fmla="*/ 142 w 172"/>
              <a:gd name="T61" fmla="*/ 170 h 195"/>
              <a:gd name="T62" fmla="*/ 149 w 172"/>
              <a:gd name="T63" fmla="*/ 169 h 195"/>
              <a:gd name="T64" fmla="*/ 156 w 172"/>
              <a:gd name="T65" fmla="*/ 171 h 195"/>
              <a:gd name="T66" fmla="*/ 161 w 172"/>
              <a:gd name="T67" fmla="*/ 171 h 195"/>
              <a:gd name="T68" fmla="*/ 168 w 172"/>
              <a:gd name="T69" fmla="*/ 168 h 195"/>
              <a:gd name="T70" fmla="*/ 171 w 172"/>
              <a:gd name="T71" fmla="*/ 166 h 195"/>
              <a:gd name="T72" fmla="*/ 172 w 172"/>
              <a:gd name="T73" fmla="*/ 162 h 195"/>
              <a:gd name="T74" fmla="*/ 171 w 172"/>
              <a:gd name="T75" fmla="*/ 158 h 195"/>
              <a:gd name="T76" fmla="*/ 162 w 172"/>
              <a:gd name="T77" fmla="*/ 146 h 195"/>
              <a:gd name="T78" fmla="*/ 155 w 172"/>
              <a:gd name="T79" fmla="*/ 132 h 195"/>
              <a:gd name="T80" fmla="*/ 154 w 172"/>
              <a:gd name="T81" fmla="*/ 127 h 195"/>
              <a:gd name="T82" fmla="*/ 155 w 172"/>
              <a:gd name="T83" fmla="*/ 118 h 195"/>
              <a:gd name="T84" fmla="*/ 158 w 172"/>
              <a:gd name="T85" fmla="*/ 109 h 195"/>
              <a:gd name="T86" fmla="*/ 157 w 172"/>
              <a:gd name="T87" fmla="*/ 105 h 195"/>
              <a:gd name="T88" fmla="*/ 151 w 172"/>
              <a:gd name="T89" fmla="*/ 93 h 195"/>
              <a:gd name="T90" fmla="*/ 151 w 172"/>
              <a:gd name="T91" fmla="*/ 88 h 195"/>
              <a:gd name="T92" fmla="*/ 150 w 172"/>
              <a:gd name="T93" fmla="*/ 80 h 195"/>
              <a:gd name="T94" fmla="*/ 147 w 172"/>
              <a:gd name="T95" fmla="*/ 65 h 195"/>
              <a:gd name="T96" fmla="*/ 146 w 172"/>
              <a:gd name="T97" fmla="*/ 44 h 195"/>
              <a:gd name="T98" fmla="*/ 147 w 172"/>
              <a:gd name="T99" fmla="*/ 32 h 195"/>
              <a:gd name="T100" fmla="*/ 146 w 172"/>
              <a:gd name="T101" fmla="*/ 26 h 195"/>
              <a:gd name="T102" fmla="*/ 140 w 172"/>
              <a:gd name="T103" fmla="*/ 15 h 195"/>
              <a:gd name="T104" fmla="*/ 135 w 172"/>
              <a:gd name="T105" fmla="*/ 6 h 195"/>
              <a:gd name="T106" fmla="*/ 133 w 172"/>
              <a:gd name="T107" fmla="*/ 1 h 195"/>
              <a:gd name="T108" fmla="*/ 136 w 172"/>
              <a:gd name="T109" fmla="*/ 0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72" h="195">
                <a:moveTo>
                  <a:pt x="0" y="184"/>
                </a:moveTo>
                <a:lnTo>
                  <a:pt x="2" y="185"/>
                </a:lnTo>
                <a:lnTo>
                  <a:pt x="3" y="185"/>
                </a:lnTo>
                <a:lnTo>
                  <a:pt x="4" y="185"/>
                </a:lnTo>
                <a:lnTo>
                  <a:pt x="5" y="185"/>
                </a:lnTo>
                <a:lnTo>
                  <a:pt x="6" y="185"/>
                </a:lnTo>
                <a:lnTo>
                  <a:pt x="8" y="184"/>
                </a:lnTo>
                <a:lnTo>
                  <a:pt x="9" y="184"/>
                </a:lnTo>
                <a:lnTo>
                  <a:pt x="9" y="184"/>
                </a:lnTo>
                <a:lnTo>
                  <a:pt x="10" y="183"/>
                </a:lnTo>
                <a:lnTo>
                  <a:pt x="11" y="182"/>
                </a:lnTo>
                <a:lnTo>
                  <a:pt x="13" y="180"/>
                </a:lnTo>
                <a:lnTo>
                  <a:pt x="15" y="177"/>
                </a:lnTo>
                <a:lnTo>
                  <a:pt x="18" y="174"/>
                </a:lnTo>
                <a:lnTo>
                  <a:pt x="19" y="173"/>
                </a:lnTo>
                <a:lnTo>
                  <a:pt x="20" y="172"/>
                </a:lnTo>
                <a:lnTo>
                  <a:pt x="21" y="171"/>
                </a:lnTo>
                <a:lnTo>
                  <a:pt x="22" y="171"/>
                </a:lnTo>
                <a:lnTo>
                  <a:pt x="23" y="170"/>
                </a:lnTo>
                <a:lnTo>
                  <a:pt x="24" y="170"/>
                </a:lnTo>
                <a:lnTo>
                  <a:pt x="25" y="170"/>
                </a:lnTo>
                <a:lnTo>
                  <a:pt x="26" y="170"/>
                </a:lnTo>
                <a:lnTo>
                  <a:pt x="27" y="170"/>
                </a:lnTo>
                <a:lnTo>
                  <a:pt x="28" y="170"/>
                </a:lnTo>
                <a:lnTo>
                  <a:pt x="29" y="170"/>
                </a:lnTo>
                <a:lnTo>
                  <a:pt x="30" y="170"/>
                </a:lnTo>
                <a:lnTo>
                  <a:pt x="32" y="171"/>
                </a:lnTo>
                <a:lnTo>
                  <a:pt x="34" y="171"/>
                </a:lnTo>
                <a:lnTo>
                  <a:pt x="35" y="172"/>
                </a:lnTo>
                <a:lnTo>
                  <a:pt x="39" y="173"/>
                </a:lnTo>
                <a:lnTo>
                  <a:pt x="41" y="174"/>
                </a:lnTo>
                <a:lnTo>
                  <a:pt x="43" y="175"/>
                </a:lnTo>
                <a:lnTo>
                  <a:pt x="45" y="175"/>
                </a:lnTo>
                <a:lnTo>
                  <a:pt x="46" y="176"/>
                </a:lnTo>
                <a:lnTo>
                  <a:pt x="49" y="176"/>
                </a:lnTo>
                <a:lnTo>
                  <a:pt x="50" y="177"/>
                </a:lnTo>
                <a:lnTo>
                  <a:pt x="51" y="177"/>
                </a:lnTo>
                <a:lnTo>
                  <a:pt x="52" y="178"/>
                </a:lnTo>
                <a:lnTo>
                  <a:pt x="55" y="179"/>
                </a:lnTo>
                <a:lnTo>
                  <a:pt x="57" y="180"/>
                </a:lnTo>
                <a:lnTo>
                  <a:pt x="60" y="181"/>
                </a:lnTo>
                <a:lnTo>
                  <a:pt x="62" y="182"/>
                </a:lnTo>
                <a:lnTo>
                  <a:pt x="63" y="183"/>
                </a:lnTo>
                <a:lnTo>
                  <a:pt x="64" y="183"/>
                </a:lnTo>
                <a:lnTo>
                  <a:pt x="65" y="183"/>
                </a:lnTo>
                <a:lnTo>
                  <a:pt x="68" y="182"/>
                </a:lnTo>
                <a:lnTo>
                  <a:pt x="69" y="182"/>
                </a:lnTo>
                <a:lnTo>
                  <a:pt x="69" y="183"/>
                </a:lnTo>
                <a:lnTo>
                  <a:pt x="70" y="183"/>
                </a:lnTo>
                <a:lnTo>
                  <a:pt x="70" y="183"/>
                </a:lnTo>
                <a:lnTo>
                  <a:pt x="71" y="184"/>
                </a:lnTo>
                <a:lnTo>
                  <a:pt x="71" y="185"/>
                </a:lnTo>
                <a:lnTo>
                  <a:pt x="72" y="186"/>
                </a:lnTo>
                <a:lnTo>
                  <a:pt x="73" y="188"/>
                </a:lnTo>
                <a:lnTo>
                  <a:pt x="73" y="189"/>
                </a:lnTo>
                <a:lnTo>
                  <a:pt x="73" y="190"/>
                </a:lnTo>
                <a:lnTo>
                  <a:pt x="73" y="191"/>
                </a:lnTo>
                <a:lnTo>
                  <a:pt x="74" y="192"/>
                </a:lnTo>
                <a:lnTo>
                  <a:pt x="75" y="193"/>
                </a:lnTo>
                <a:lnTo>
                  <a:pt x="76" y="193"/>
                </a:lnTo>
                <a:lnTo>
                  <a:pt x="76" y="194"/>
                </a:lnTo>
                <a:lnTo>
                  <a:pt x="77" y="194"/>
                </a:lnTo>
                <a:lnTo>
                  <a:pt x="77" y="195"/>
                </a:lnTo>
                <a:lnTo>
                  <a:pt x="78" y="195"/>
                </a:lnTo>
                <a:lnTo>
                  <a:pt x="79" y="195"/>
                </a:lnTo>
                <a:lnTo>
                  <a:pt x="80" y="195"/>
                </a:lnTo>
                <a:lnTo>
                  <a:pt x="81" y="195"/>
                </a:lnTo>
                <a:lnTo>
                  <a:pt x="83" y="195"/>
                </a:lnTo>
                <a:lnTo>
                  <a:pt x="85" y="195"/>
                </a:lnTo>
                <a:lnTo>
                  <a:pt x="86" y="194"/>
                </a:lnTo>
                <a:lnTo>
                  <a:pt x="88" y="194"/>
                </a:lnTo>
                <a:lnTo>
                  <a:pt x="89" y="193"/>
                </a:lnTo>
                <a:lnTo>
                  <a:pt x="90" y="192"/>
                </a:lnTo>
                <a:lnTo>
                  <a:pt x="91" y="191"/>
                </a:lnTo>
                <a:lnTo>
                  <a:pt x="94" y="190"/>
                </a:lnTo>
                <a:lnTo>
                  <a:pt x="94" y="189"/>
                </a:lnTo>
                <a:lnTo>
                  <a:pt x="95" y="189"/>
                </a:lnTo>
                <a:lnTo>
                  <a:pt x="96" y="188"/>
                </a:lnTo>
                <a:lnTo>
                  <a:pt x="96" y="186"/>
                </a:lnTo>
                <a:lnTo>
                  <a:pt x="97" y="185"/>
                </a:lnTo>
                <a:lnTo>
                  <a:pt x="97" y="184"/>
                </a:lnTo>
                <a:lnTo>
                  <a:pt x="97" y="183"/>
                </a:lnTo>
                <a:lnTo>
                  <a:pt x="97" y="182"/>
                </a:lnTo>
                <a:lnTo>
                  <a:pt x="96" y="178"/>
                </a:lnTo>
                <a:lnTo>
                  <a:pt x="96" y="176"/>
                </a:lnTo>
                <a:lnTo>
                  <a:pt x="96" y="175"/>
                </a:lnTo>
                <a:lnTo>
                  <a:pt x="96" y="174"/>
                </a:lnTo>
                <a:lnTo>
                  <a:pt x="96" y="173"/>
                </a:lnTo>
                <a:lnTo>
                  <a:pt x="97" y="172"/>
                </a:lnTo>
                <a:lnTo>
                  <a:pt x="97" y="171"/>
                </a:lnTo>
                <a:lnTo>
                  <a:pt x="98" y="170"/>
                </a:lnTo>
                <a:lnTo>
                  <a:pt x="99" y="169"/>
                </a:lnTo>
                <a:lnTo>
                  <a:pt x="100" y="168"/>
                </a:lnTo>
                <a:lnTo>
                  <a:pt x="103" y="165"/>
                </a:lnTo>
                <a:lnTo>
                  <a:pt x="106" y="162"/>
                </a:lnTo>
                <a:lnTo>
                  <a:pt x="109" y="160"/>
                </a:lnTo>
                <a:lnTo>
                  <a:pt x="110" y="159"/>
                </a:lnTo>
                <a:lnTo>
                  <a:pt x="111" y="158"/>
                </a:lnTo>
                <a:lnTo>
                  <a:pt x="112" y="157"/>
                </a:lnTo>
                <a:lnTo>
                  <a:pt x="112" y="157"/>
                </a:lnTo>
                <a:lnTo>
                  <a:pt x="113" y="157"/>
                </a:lnTo>
                <a:lnTo>
                  <a:pt x="113" y="156"/>
                </a:lnTo>
                <a:lnTo>
                  <a:pt x="114" y="156"/>
                </a:lnTo>
                <a:lnTo>
                  <a:pt x="115" y="157"/>
                </a:lnTo>
                <a:lnTo>
                  <a:pt x="116" y="157"/>
                </a:lnTo>
                <a:lnTo>
                  <a:pt x="117" y="158"/>
                </a:lnTo>
                <a:lnTo>
                  <a:pt x="117" y="158"/>
                </a:lnTo>
                <a:lnTo>
                  <a:pt x="118" y="159"/>
                </a:lnTo>
                <a:lnTo>
                  <a:pt x="120" y="162"/>
                </a:lnTo>
                <a:lnTo>
                  <a:pt x="122" y="165"/>
                </a:lnTo>
                <a:lnTo>
                  <a:pt x="123" y="166"/>
                </a:lnTo>
                <a:lnTo>
                  <a:pt x="124" y="167"/>
                </a:lnTo>
                <a:lnTo>
                  <a:pt x="125" y="168"/>
                </a:lnTo>
                <a:lnTo>
                  <a:pt x="127" y="169"/>
                </a:lnTo>
                <a:lnTo>
                  <a:pt x="128" y="170"/>
                </a:lnTo>
                <a:lnTo>
                  <a:pt x="130" y="171"/>
                </a:lnTo>
                <a:lnTo>
                  <a:pt x="131" y="171"/>
                </a:lnTo>
                <a:lnTo>
                  <a:pt x="133" y="172"/>
                </a:lnTo>
                <a:lnTo>
                  <a:pt x="134" y="172"/>
                </a:lnTo>
                <a:lnTo>
                  <a:pt x="135" y="172"/>
                </a:lnTo>
                <a:lnTo>
                  <a:pt x="136" y="172"/>
                </a:lnTo>
                <a:lnTo>
                  <a:pt x="137" y="172"/>
                </a:lnTo>
                <a:lnTo>
                  <a:pt x="138" y="171"/>
                </a:lnTo>
                <a:lnTo>
                  <a:pt x="142" y="170"/>
                </a:lnTo>
                <a:lnTo>
                  <a:pt x="145" y="169"/>
                </a:lnTo>
                <a:lnTo>
                  <a:pt x="146" y="169"/>
                </a:lnTo>
                <a:lnTo>
                  <a:pt x="147" y="169"/>
                </a:lnTo>
                <a:lnTo>
                  <a:pt x="149" y="169"/>
                </a:lnTo>
                <a:lnTo>
                  <a:pt x="151" y="169"/>
                </a:lnTo>
                <a:lnTo>
                  <a:pt x="153" y="170"/>
                </a:lnTo>
                <a:lnTo>
                  <a:pt x="155" y="171"/>
                </a:lnTo>
                <a:lnTo>
                  <a:pt x="156" y="171"/>
                </a:lnTo>
                <a:lnTo>
                  <a:pt x="157" y="171"/>
                </a:lnTo>
                <a:lnTo>
                  <a:pt x="158" y="171"/>
                </a:lnTo>
                <a:lnTo>
                  <a:pt x="160" y="171"/>
                </a:lnTo>
                <a:lnTo>
                  <a:pt x="161" y="171"/>
                </a:lnTo>
                <a:lnTo>
                  <a:pt x="163" y="171"/>
                </a:lnTo>
                <a:lnTo>
                  <a:pt x="165" y="170"/>
                </a:lnTo>
                <a:lnTo>
                  <a:pt x="167" y="169"/>
                </a:lnTo>
                <a:lnTo>
                  <a:pt x="168" y="168"/>
                </a:lnTo>
                <a:lnTo>
                  <a:pt x="169" y="168"/>
                </a:lnTo>
                <a:lnTo>
                  <a:pt x="170" y="167"/>
                </a:lnTo>
                <a:lnTo>
                  <a:pt x="171" y="167"/>
                </a:lnTo>
                <a:lnTo>
                  <a:pt x="171" y="166"/>
                </a:lnTo>
                <a:lnTo>
                  <a:pt x="172" y="165"/>
                </a:lnTo>
                <a:lnTo>
                  <a:pt x="172" y="164"/>
                </a:lnTo>
                <a:lnTo>
                  <a:pt x="172" y="163"/>
                </a:lnTo>
                <a:lnTo>
                  <a:pt x="172" y="162"/>
                </a:lnTo>
                <a:lnTo>
                  <a:pt x="172" y="161"/>
                </a:lnTo>
                <a:lnTo>
                  <a:pt x="171" y="160"/>
                </a:lnTo>
                <a:lnTo>
                  <a:pt x="171" y="159"/>
                </a:lnTo>
                <a:lnTo>
                  <a:pt x="171" y="158"/>
                </a:lnTo>
                <a:lnTo>
                  <a:pt x="170" y="157"/>
                </a:lnTo>
                <a:lnTo>
                  <a:pt x="168" y="153"/>
                </a:lnTo>
                <a:lnTo>
                  <a:pt x="164" y="149"/>
                </a:lnTo>
                <a:lnTo>
                  <a:pt x="162" y="146"/>
                </a:lnTo>
                <a:lnTo>
                  <a:pt x="161" y="145"/>
                </a:lnTo>
                <a:lnTo>
                  <a:pt x="158" y="139"/>
                </a:lnTo>
                <a:lnTo>
                  <a:pt x="157" y="136"/>
                </a:lnTo>
                <a:lnTo>
                  <a:pt x="155" y="132"/>
                </a:lnTo>
                <a:lnTo>
                  <a:pt x="154" y="131"/>
                </a:lnTo>
                <a:lnTo>
                  <a:pt x="154" y="129"/>
                </a:lnTo>
                <a:lnTo>
                  <a:pt x="154" y="128"/>
                </a:lnTo>
                <a:lnTo>
                  <a:pt x="154" y="127"/>
                </a:lnTo>
                <a:lnTo>
                  <a:pt x="154" y="125"/>
                </a:lnTo>
                <a:lnTo>
                  <a:pt x="154" y="124"/>
                </a:lnTo>
                <a:lnTo>
                  <a:pt x="154" y="121"/>
                </a:lnTo>
                <a:lnTo>
                  <a:pt x="155" y="118"/>
                </a:lnTo>
                <a:lnTo>
                  <a:pt x="157" y="113"/>
                </a:lnTo>
                <a:lnTo>
                  <a:pt x="157" y="111"/>
                </a:lnTo>
                <a:lnTo>
                  <a:pt x="158" y="110"/>
                </a:lnTo>
                <a:lnTo>
                  <a:pt x="158" y="109"/>
                </a:lnTo>
                <a:lnTo>
                  <a:pt x="158" y="108"/>
                </a:lnTo>
                <a:lnTo>
                  <a:pt x="158" y="107"/>
                </a:lnTo>
                <a:lnTo>
                  <a:pt x="157" y="106"/>
                </a:lnTo>
                <a:lnTo>
                  <a:pt x="157" y="105"/>
                </a:lnTo>
                <a:lnTo>
                  <a:pt x="156" y="104"/>
                </a:lnTo>
                <a:lnTo>
                  <a:pt x="155" y="100"/>
                </a:lnTo>
                <a:lnTo>
                  <a:pt x="152" y="95"/>
                </a:lnTo>
                <a:lnTo>
                  <a:pt x="151" y="93"/>
                </a:lnTo>
                <a:lnTo>
                  <a:pt x="151" y="92"/>
                </a:lnTo>
                <a:lnTo>
                  <a:pt x="151" y="91"/>
                </a:lnTo>
                <a:lnTo>
                  <a:pt x="151" y="90"/>
                </a:lnTo>
                <a:lnTo>
                  <a:pt x="151" y="88"/>
                </a:lnTo>
                <a:lnTo>
                  <a:pt x="151" y="85"/>
                </a:lnTo>
                <a:lnTo>
                  <a:pt x="151" y="83"/>
                </a:lnTo>
                <a:lnTo>
                  <a:pt x="151" y="82"/>
                </a:lnTo>
                <a:lnTo>
                  <a:pt x="150" y="80"/>
                </a:lnTo>
                <a:lnTo>
                  <a:pt x="149" y="75"/>
                </a:lnTo>
                <a:lnTo>
                  <a:pt x="148" y="72"/>
                </a:lnTo>
                <a:lnTo>
                  <a:pt x="147" y="68"/>
                </a:lnTo>
                <a:lnTo>
                  <a:pt x="147" y="65"/>
                </a:lnTo>
                <a:lnTo>
                  <a:pt x="147" y="63"/>
                </a:lnTo>
                <a:lnTo>
                  <a:pt x="146" y="61"/>
                </a:lnTo>
                <a:lnTo>
                  <a:pt x="146" y="51"/>
                </a:lnTo>
                <a:lnTo>
                  <a:pt x="146" y="44"/>
                </a:lnTo>
                <a:lnTo>
                  <a:pt x="146" y="42"/>
                </a:lnTo>
                <a:lnTo>
                  <a:pt x="146" y="40"/>
                </a:lnTo>
                <a:lnTo>
                  <a:pt x="147" y="34"/>
                </a:lnTo>
                <a:lnTo>
                  <a:pt x="147" y="32"/>
                </a:lnTo>
                <a:lnTo>
                  <a:pt x="147" y="30"/>
                </a:lnTo>
                <a:lnTo>
                  <a:pt x="147" y="28"/>
                </a:lnTo>
                <a:lnTo>
                  <a:pt x="146" y="27"/>
                </a:lnTo>
                <a:lnTo>
                  <a:pt x="146" y="26"/>
                </a:lnTo>
                <a:lnTo>
                  <a:pt x="145" y="24"/>
                </a:lnTo>
                <a:lnTo>
                  <a:pt x="145" y="23"/>
                </a:lnTo>
                <a:lnTo>
                  <a:pt x="143" y="20"/>
                </a:lnTo>
                <a:lnTo>
                  <a:pt x="140" y="15"/>
                </a:lnTo>
                <a:lnTo>
                  <a:pt x="138" y="13"/>
                </a:lnTo>
                <a:lnTo>
                  <a:pt x="137" y="10"/>
                </a:lnTo>
                <a:lnTo>
                  <a:pt x="136" y="8"/>
                </a:lnTo>
                <a:lnTo>
                  <a:pt x="135" y="6"/>
                </a:lnTo>
                <a:lnTo>
                  <a:pt x="134" y="4"/>
                </a:lnTo>
                <a:lnTo>
                  <a:pt x="134" y="3"/>
                </a:lnTo>
                <a:lnTo>
                  <a:pt x="134" y="2"/>
                </a:lnTo>
                <a:lnTo>
                  <a:pt x="133" y="1"/>
                </a:lnTo>
                <a:lnTo>
                  <a:pt x="133" y="0"/>
                </a:lnTo>
                <a:lnTo>
                  <a:pt x="134" y="0"/>
                </a:lnTo>
                <a:lnTo>
                  <a:pt x="135" y="0"/>
                </a:lnTo>
                <a:lnTo>
                  <a:pt x="136" y="0"/>
                </a:lnTo>
                <a:lnTo>
                  <a:pt x="139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 278">
            <a:extLst>
              <a:ext uri="{FF2B5EF4-FFF2-40B4-BE49-F238E27FC236}">
                <a16:creationId xmlns:a16="http://schemas.microsoft.com/office/drawing/2014/main" id="{F86E65A0-0A2C-4CC7-B2F3-947E0D4242C2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6 w 626"/>
              <a:gd name="T1" fmla="*/ 49 h 412"/>
              <a:gd name="T2" fmla="*/ 212 w 626"/>
              <a:gd name="T3" fmla="*/ 41 h 412"/>
              <a:gd name="T4" fmla="*/ 253 w 626"/>
              <a:gd name="T5" fmla="*/ 36 h 412"/>
              <a:gd name="T6" fmla="*/ 272 w 626"/>
              <a:gd name="T7" fmla="*/ 62 h 412"/>
              <a:gd name="T8" fmla="*/ 302 w 626"/>
              <a:gd name="T9" fmla="*/ 82 h 412"/>
              <a:gd name="T10" fmla="*/ 343 w 626"/>
              <a:gd name="T11" fmla="*/ 106 h 412"/>
              <a:gd name="T12" fmla="*/ 371 w 626"/>
              <a:gd name="T13" fmla="*/ 106 h 412"/>
              <a:gd name="T14" fmla="*/ 400 w 626"/>
              <a:gd name="T15" fmla="*/ 107 h 412"/>
              <a:gd name="T16" fmla="*/ 407 w 626"/>
              <a:gd name="T17" fmla="*/ 89 h 412"/>
              <a:gd name="T18" fmla="*/ 422 w 626"/>
              <a:gd name="T19" fmla="*/ 68 h 412"/>
              <a:gd name="T20" fmla="*/ 461 w 626"/>
              <a:gd name="T21" fmla="*/ 43 h 412"/>
              <a:gd name="T22" fmla="*/ 477 w 626"/>
              <a:gd name="T23" fmla="*/ 29 h 412"/>
              <a:gd name="T24" fmla="*/ 510 w 626"/>
              <a:gd name="T25" fmla="*/ 42 h 412"/>
              <a:gd name="T26" fmla="*/ 552 w 626"/>
              <a:gd name="T27" fmla="*/ 67 h 412"/>
              <a:gd name="T28" fmla="*/ 578 w 626"/>
              <a:gd name="T29" fmla="*/ 49 h 412"/>
              <a:gd name="T30" fmla="*/ 605 w 626"/>
              <a:gd name="T31" fmla="*/ 10 h 412"/>
              <a:gd name="T32" fmla="*/ 626 w 626"/>
              <a:gd name="T33" fmla="*/ 2 h 412"/>
              <a:gd name="T34" fmla="*/ 607 w 626"/>
              <a:gd name="T35" fmla="*/ 60 h 412"/>
              <a:gd name="T36" fmla="*/ 605 w 626"/>
              <a:gd name="T37" fmla="*/ 90 h 412"/>
              <a:gd name="T38" fmla="*/ 589 w 626"/>
              <a:gd name="T39" fmla="*/ 124 h 412"/>
              <a:gd name="T40" fmla="*/ 570 w 626"/>
              <a:gd name="T41" fmla="*/ 137 h 412"/>
              <a:gd name="T42" fmla="*/ 585 w 626"/>
              <a:gd name="T43" fmla="*/ 191 h 412"/>
              <a:gd name="T44" fmla="*/ 580 w 626"/>
              <a:gd name="T45" fmla="*/ 230 h 412"/>
              <a:gd name="T46" fmla="*/ 590 w 626"/>
              <a:gd name="T47" fmla="*/ 265 h 412"/>
              <a:gd name="T48" fmla="*/ 608 w 626"/>
              <a:gd name="T49" fmla="*/ 299 h 412"/>
              <a:gd name="T50" fmla="*/ 619 w 626"/>
              <a:gd name="T51" fmla="*/ 312 h 412"/>
              <a:gd name="T52" fmla="*/ 624 w 626"/>
              <a:gd name="T53" fmla="*/ 342 h 412"/>
              <a:gd name="T54" fmla="*/ 614 w 626"/>
              <a:gd name="T55" fmla="*/ 377 h 412"/>
              <a:gd name="T56" fmla="*/ 598 w 626"/>
              <a:gd name="T57" fmla="*/ 394 h 412"/>
              <a:gd name="T58" fmla="*/ 550 w 626"/>
              <a:gd name="T59" fmla="*/ 379 h 412"/>
              <a:gd name="T60" fmla="*/ 513 w 626"/>
              <a:gd name="T61" fmla="*/ 379 h 412"/>
              <a:gd name="T62" fmla="*/ 496 w 626"/>
              <a:gd name="T63" fmla="*/ 402 h 412"/>
              <a:gd name="T64" fmla="*/ 459 w 626"/>
              <a:gd name="T65" fmla="*/ 402 h 412"/>
              <a:gd name="T66" fmla="*/ 439 w 626"/>
              <a:gd name="T67" fmla="*/ 412 h 412"/>
              <a:gd name="T68" fmla="*/ 404 w 626"/>
              <a:gd name="T69" fmla="*/ 387 h 412"/>
              <a:gd name="T70" fmla="*/ 366 w 626"/>
              <a:gd name="T71" fmla="*/ 359 h 412"/>
              <a:gd name="T72" fmla="*/ 314 w 626"/>
              <a:gd name="T73" fmla="*/ 342 h 412"/>
              <a:gd name="T74" fmla="*/ 287 w 626"/>
              <a:gd name="T75" fmla="*/ 325 h 412"/>
              <a:gd name="T76" fmla="*/ 265 w 626"/>
              <a:gd name="T77" fmla="*/ 314 h 412"/>
              <a:gd name="T78" fmla="*/ 243 w 626"/>
              <a:gd name="T79" fmla="*/ 343 h 412"/>
              <a:gd name="T80" fmla="*/ 208 w 626"/>
              <a:gd name="T81" fmla="*/ 327 h 412"/>
              <a:gd name="T82" fmla="*/ 200 w 626"/>
              <a:gd name="T83" fmla="*/ 308 h 412"/>
              <a:gd name="T84" fmla="*/ 173 w 626"/>
              <a:gd name="T85" fmla="*/ 295 h 412"/>
              <a:gd name="T86" fmla="*/ 152 w 626"/>
              <a:gd name="T87" fmla="*/ 280 h 412"/>
              <a:gd name="T88" fmla="*/ 124 w 626"/>
              <a:gd name="T89" fmla="*/ 264 h 412"/>
              <a:gd name="T90" fmla="*/ 95 w 626"/>
              <a:gd name="T91" fmla="*/ 263 h 412"/>
              <a:gd name="T92" fmla="*/ 55 w 626"/>
              <a:gd name="T93" fmla="*/ 213 h 412"/>
              <a:gd name="T94" fmla="*/ 64 w 626"/>
              <a:gd name="T95" fmla="*/ 181 h 412"/>
              <a:gd name="T96" fmla="*/ 53 w 626"/>
              <a:gd name="T97" fmla="*/ 160 h 412"/>
              <a:gd name="T98" fmla="*/ 39 w 626"/>
              <a:gd name="T99" fmla="*/ 140 h 412"/>
              <a:gd name="T100" fmla="*/ 19 w 626"/>
              <a:gd name="T101" fmla="*/ 130 h 412"/>
              <a:gd name="T102" fmla="*/ 0 w 626"/>
              <a:gd name="T103" fmla="*/ 115 h 412"/>
              <a:gd name="T104" fmla="*/ 6 w 626"/>
              <a:gd name="T105" fmla="*/ 105 h 412"/>
              <a:gd name="T106" fmla="*/ 16 w 626"/>
              <a:gd name="T107" fmla="*/ 86 h 412"/>
              <a:gd name="T108" fmla="*/ 17 w 626"/>
              <a:gd name="T109" fmla="*/ 74 h 412"/>
              <a:gd name="T110" fmla="*/ 35 w 626"/>
              <a:gd name="T111" fmla="*/ 74 h 412"/>
              <a:gd name="T112" fmla="*/ 61 w 626"/>
              <a:gd name="T113" fmla="*/ 61 h 412"/>
              <a:gd name="T114" fmla="*/ 83 w 626"/>
              <a:gd name="T115" fmla="*/ 46 h 412"/>
              <a:gd name="T116" fmla="*/ 109 w 626"/>
              <a:gd name="T117" fmla="*/ 52 h 412"/>
              <a:gd name="T118" fmla="*/ 141 w 626"/>
              <a:gd name="T119" fmla="*/ 51 h 412"/>
              <a:gd name="T120" fmla="*/ 161 w 626"/>
              <a:gd name="T121" fmla="*/ 31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  <a:lnTo>
                  <a:pt x="60" y="61"/>
                </a:lnTo>
                <a:lnTo>
                  <a:pt x="61" y="61"/>
                </a:lnTo>
                <a:lnTo>
                  <a:pt x="61" y="60"/>
                </a:lnTo>
                <a:lnTo>
                  <a:pt x="63" y="57"/>
                </a:lnTo>
                <a:lnTo>
                  <a:pt x="63" y="56"/>
                </a:lnTo>
                <a:lnTo>
                  <a:pt x="64" y="55"/>
                </a:lnTo>
                <a:lnTo>
                  <a:pt x="65" y="54"/>
                </a:lnTo>
                <a:lnTo>
                  <a:pt x="65" y="53"/>
                </a:lnTo>
                <a:lnTo>
                  <a:pt x="66" y="53"/>
                </a:lnTo>
                <a:lnTo>
                  <a:pt x="67" y="52"/>
                </a:lnTo>
                <a:lnTo>
                  <a:pt x="68" y="51"/>
                </a:lnTo>
                <a:lnTo>
                  <a:pt x="70" y="51"/>
                </a:lnTo>
                <a:lnTo>
                  <a:pt x="71" y="50"/>
                </a:lnTo>
                <a:lnTo>
                  <a:pt x="74" y="50"/>
                </a:lnTo>
                <a:lnTo>
                  <a:pt x="75" y="49"/>
                </a:lnTo>
                <a:lnTo>
                  <a:pt x="76" y="49"/>
                </a:lnTo>
                <a:lnTo>
                  <a:pt x="81" y="46"/>
                </a:lnTo>
                <a:lnTo>
                  <a:pt x="82" y="46"/>
                </a:lnTo>
                <a:lnTo>
                  <a:pt x="82" y="46"/>
                </a:lnTo>
                <a:lnTo>
                  <a:pt x="83" y="46"/>
                </a:lnTo>
                <a:lnTo>
                  <a:pt x="84" y="46"/>
                </a:lnTo>
                <a:lnTo>
                  <a:pt x="84" y="46"/>
                </a:lnTo>
                <a:lnTo>
                  <a:pt x="85" y="46"/>
                </a:lnTo>
                <a:lnTo>
                  <a:pt x="85" y="47"/>
                </a:lnTo>
                <a:lnTo>
                  <a:pt x="86" y="47"/>
                </a:lnTo>
                <a:lnTo>
                  <a:pt x="88" y="49"/>
                </a:lnTo>
                <a:lnTo>
                  <a:pt x="90" y="50"/>
                </a:lnTo>
                <a:lnTo>
                  <a:pt x="91" y="51"/>
                </a:lnTo>
                <a:lnTo>
                  <a:pt x="92" y="51"/>
                </a:lnTo>
                <a:lnTo>
                  <a:pt x="93" y="51"/>
                </a:lnTo>
                <a:lnTo>
                  <a:pt x="94" y="51"/>
                </a:lnTo>
                <a:lnTo>
                  <a:pt x="96" y="51"/>
                </a:lnTo>
                <a:lnTo>
                  <a:pt x="98" y="51"/>
                </a:lnTo>
                <a:lnTo>
                  <a:pt x="99" y="51"/>
                </a:lnTo>
                <a:lnTo>
                  <a:pt x="103" y="51"/>
                </a:lnTo>
                <a:lnTo>
                  <a:pt x="105" y="51"/>
                </a:lnTo>
                <a:lnTo>
                  <a:pt x="107" y="51"/>
                </a:lnTo>
                <a:lnTo>
                  <a:pt x="109" y="52"/>
                </a:lnTo>
                <a:lnTo>
                  <a:pt x="111" y="52"/>
                </a:lnTo>
                <a:lnTo>
                  <a:pt x="113" y="52"/>
                </a:lnTo>
                <a:lnTo>
                  <a:pt x="115" y="52"/>
                </a:lnTo>
                <a:lnTo>
                  <a:pt x="116" y="52"/>
                </a:lnTo>
                <a:lnTo>
                  <a:pt x="117" y="52"/>
                </a:lnTo>
                <a:lnTo>
                  <a:pt x="118" y="52"/>
                </a:lnTo>
                <a:lnTo>
                  <a:pt x="120" y="53"/>
                </a:lnTo>
                <a:lnTo>
                  <a:pt x="124" y="55"/>
                </a:lnTo>
                <a:lnTo>
                  <a:pt x="126" y="55"/>
                </a:lnTo>
                <a:lnTo>
                  <a:pt x="127" y="55"/>
                </a:lnTo>
                <a:lnTo>
                  <a:pt x="128" y="55"/>
                </a:lnTo>
                <a:lnTo>
                  <a:pt x="130" y="55"/>
                </a:lnTo>
                <a:lnTo>
                  <a:pt x="131" y="55"/>
                </a:lnTo>
                <a:lnTo>
                  <a:pt x="132" y="55"/>
                </a:lnTo>
                <a:lnTo>
                  <a:pt x="134" y="55"/>
                </a:lnTo>
                <a:lnTo>
                  <a:pt x="137" y="53"/>
                </a:lnTo>
                <a:lnTo>
                  <a:pt x="139" y="52"/>
                </a:lnTo>
                <a:lnTo>
                  <a:pt x="141" y="51"/>
                </a:lnTo>
                <a:lnTo>
                  <a:pt x="145" y="50"/>
                </a:lnTo>
                <a:lnTo>
                  <a:pt x="146" y="50"/>
                </a:lnTo>
                <a:lnTo>
                  <a:pt x="148" y="49"/>
                </a:lnTo>
                <a:lnTo>
                  <a:pt x="149" y="48"/>
                </a:lnTo>
                <a:lnTo>
                  <a:pt x="150" y="47"/>
                </a:lnTo>
                <a:lnTo>
                  <a:pt x="151" y="46"/>
                </a:lnTo>
                <a:lnTo>
                  <a:pt x="152" y="46"/>
                </a:lnTo>
                <a:lnTo>
                  <a:pt x="152" y="45"/>
                </a:lnTo>
                <a:lnTo>
                  <a:pt x="153" y="44"/>
                </a:lnTo>
                <a:lnTo>
                  <a:pt x="154" y="43"/>
                </a:lnTo>
                <a:lnTo>
                  <a:pt x="155" y="39"/>
                </a:lnTo>
                <a:lnTo>
                  <a:pt x="156" y="37"/>
                </a:lnTo>
                <a:lnTo>
                  <a:pt x="157" y="36"/>
                </a:lnTo>
                <a:lnTo>
                  <a:pt x="157" y="36"/>
                </a:lnTo>
                <a:lnTo>
                  <a:pt x="158" y="35"/>
                </a:lnTo>
                <a:lnTo>
                  <a:pt x="159" y="34"/>
                </a:lnTo>
                <a:lnTo>
                  <a:pt x="160" y="32"/>
                </a:lnTo>
                <a:lnTo>
                  <a:pt x="161" y="31"/>
                </a:lnTo>
                <a:lnTo>
                  <a:pt x="163" y="30"/>
                </a:lnTo>
                <a:lnTo>
                  <a:pt x="165" y="29"/>
                </a:lnTo>
                <a:lnTo>
                  <a:pt x="167" y="28"/>
                </a:lnTo>
                <a:lnTo>
                  <a:pt x="170" y="26"/>
                </a:lnTo>
                <a:lnTo>
                  <a:pt x="170" y="26"/>
                </a:lnTo>
                <a:lnTo>
                  <a:pt x="171" y="26"/>
                </a:lnTo>
                <a:lnTo>
                  <a:pt x="171" y="26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 279">
            <a:extLst>
              <a:ext uri="{FF2B5EF4-FFF2-40B4-BE49-F238E27FC236}">
                <a16:creationId xmlns:a16="http://schemas.microsoft.com/office/drawing/2014/main" id="{44EFCD4A-45DE-410A-A3C4-B972FAF93F0A}"/>
              </a:ext>
            </a:extLst>
          </p:cNvPr>
          <p:cNvSpPr>
            <a:spLocks/>
          </p:cNvSpPr>
          <p:nvPr/>
        </p:nvSpPr>
        <p:spPr bwMode="auto">
          <a:xfrm>
            <a:off x="9021216" y="4134290"/>
            <a:ext cx="1189852" cy="856774"/>
          </a:xfrm>
          <a:custGeom>
            <a:avLst/>
            <a:gdLst>
              <a:gd name="T0" fmla="*/ 185 w 626"/>
              <a:gd name="T1" fmla="*/ 48 h 412"/>
              <a:gd name="T2" fmla="*/ 210 w 626"/>
              <a:gd name="T3" fmla="*/ 42 h 412"/>
              <a:gd name="T4" fmla="*/ 241 w 626"/>
              <a:gd name="T5" fmla="*/ 32 h 412"/>
              <a:gd name="T6" fmla="*/ 269 w 626"/>
              <a:gd name="T7" fmla="*/ 58 h 412"/>
              <a:gd name="T8" fmla="*/ 295 w 626"/>
              <a:gd name="T9" fmla="*/ 76 h 412"/>
              <a:gd name="T10" fmla="*/ 327 w 626"/>
              <a:gd name="T11" fmla="*/ 96 h 412"/>
              <a:gd name="T12" fmla="*/ 361 w 626"/>
              <a:gd name="T13" fmla="*/ 107 h 412"/>
              <a:gd name="T14" fmla="*/ 388 w 626"/>
              <a:gd name="T15" fmla="*/ 106 h 412"/>
              <a:gd name="T16" fmla="*/ 400 w 626"/>
              <a:gd name="T17" fmla="*/ 98 h 412"/>
              <a:gd name="T18" fmla="*/ 410 w 626"/>
              <a:gd name="T19" fmla="*/ 79 h 412"/>
              <a:gd name="T20" fmla="*/ 442 w 626"/>
              <a:gd name="T21" fmla="*/ 56 h 412"/>
              <a:gd name="T22" fmla="*/ 467 w 626"/>
              <a:gd name="T23" fmla="*/ 32 h 412"/>
              <a:gd name="T24" fmla="*/ 487 w 626"/>
              <a:gd name="T25" fmla="*/ 35 h 412"/>
              <a:gd name="T26" fmla="*/ 517 w 626"/>
              <a:gd name="T27" fmla="*/ 47 h 412"/>
              <a:gd name="T28" fmla="*/ 556 w 626"/>
              <a:gd name="T29" fmla="*/ 68 h 412"/>
              <a:gd name="T30" fmla="*/ 580 w 626"/>
              <a:gd name="T31" fmla="*/ 46 h 412"/>
              <a:gd name="T32" fmla="*/ 606 w 626"/>
              <a:gd name="T33" fmla="*/ 8 h 412"/>
              <a:gd name="T34" fmla="*/ 626 w 626"/>
              <a:gd name="T35" fmla="*/ 2 h 412"/>
              <a:gd name="T36" fmla="*/ 609 w 626"/>
              <a:gd name="T37" fmla="*/ 57 h 412"/>
              <a:gd name="T38" fmla="*/ 604 w 626"/>
              <a:gd name="T39" fmla="*/ 87 h 412"/>
              <a:gd name="T40" fmla="*/ 595 w 626"/>
              <a:gd name="T41" fmla="*/ 118 h 412"/>
              <a:gd name="T42" fmla="*/ 571 w 626"/>
              <a:gd name="T43" fmla="*/ 135 h 412"/>
              <a:gd name="T44" fmla="*/ 578 w 626"/>
              <a:gd name="T45" fmla="*/ 172 h 412"/>
              <a:gd name="T46" fmla="*/ 585 w 626"/>
              <a:gd name="T47" fmla="*/ 219 h 412"/>
              <a:gd name="T48" fmla="*/ 584 w 626"/>
              <a:gd name="T49" fmla="*/ 250 h 412"/>
              <a:gd name="T50" fmla="*/ 605 w 626"/>
              <a:gd name="T51" fmla="*/ 285 h 412"/>
              <a:gd name="T52" fmla="*/ 607 w 626"/>
              <a:gd name="T53" fmla="*/ 309 h 412"/>
              <a:gd name="T54" fmla="*/ 625 w 626"/>
              <a:gd name="T55" fmla="*/ 320 h 412"/>
              <a:gd name="T56" fmla="*/ 613 w 626"/>
              <a:gd name="T57" fmla="*/ 357 h 412"/>
              <a:gd name="T58" fmla="*/ 611 w 626"/>
              <a:gd name="T59" fmla="*/ 391 h 412"/>
              <a:gd name="T60" fmla="*/ 586 w 626"/>
              <a:gd name="T61" fmla="*/ 389 h 412"/>
              <a:gd name="T62" fmla="*/ 543 w 626"/>
              <a:gd name="T63" fmla="*/ 380 h 412"/>
              <a:gd name="T64" fmla="*/ 507 w 626"/>
              <a:gd name="T65" fmla="*/ 377 h 412"/>
              <a:gd name="T66" fmla="*/ 493 w 626"/>
              <a:gd name="T67" fmla="*/ 402 h 412"/>
              <a:gd name="T68" fmla="*/ 458 w 626"/>
              <a:gd name="T69" fmla="*/ 401 h 412"/>
              <a:gd name="T70" fmla="*/ 439 w 626"/>
              <a:gd name="T71" fmla="*/ 412 h 412"/>
              <a:gd name="T72" fmla="*/ 409 w 626"/>
              <a:gd name="T73" fmla="*/ 389 h 412"/>
              <a:gd name="T74" fmla="*/ 370 w 626"/>
              <a:gd name="T75" fmla="*/ 362 h 412"/>
              <a:gd name="T76" fmla="*/ 323 w 626"/>
              <a:gd name="T77" fmla="*/ 343 h 412"/>
              <a:gd name="T78" fmla="*/ 296 w 626"/>
              <a:gd name="T79" fmla="*/ 328 h 412"/>
              <a:gd name="T80" fmla="*/ 269 w 626"/>
              <a:gd name="T81" fmla="*/ 314 h 412"/>
              <a:gd name="T82" fmla="*/ 250 w 626"/>
              <a:gd name="T83" fmla="*/ 336 h 412"/>
              <a:gd name="T84" fmla="*/ 224 w 626"/>
              <a:gd name="T85" fmla="*/ 339 h 412"/>
              <a:gd name="T86" fmla="*/ 208 w 626"/>
              <a:gd name="T87" fmla="*/ 313 h 412"/>
              <a:gd name="T88" fmla="*/ 184 w 626"/>
              <a:gd name="T89" fmla="*/ 300 h 412"/>
              <a:gd name="T90" fmla="*/ 170 w 626"/>
              <a:gd name="T91" fmla="*/ 286 h 412"/>
              <a:gd name="T92" fmla="*/ 142 w 626"/>
              <a:gd name="T93" fmla="*/ 272 h 412"/>
              <a:gd name="T94" fmla="*/ 117 w 626"/>
              <a:gd name="T95" fmla="*/ 265 h 412"/>
              <a:gd name="T96" fmla="*/ 88 w 626"/>
              <a:gd name="T97" fmla="*/ 258 h 412"/>
              <a:gd name="T98" fmla="*/ 56 w 626"/>
              <a:gd name="T99" fmla="*/ 209 h 412"/>
              <a:gd name="T100" fmla="*/ 64 w 626"/>
              <a:gd name="T101" fmla="*/ 178 h 412"/>
              <a:gd name="T102" fmla="*/ 48 w 626"/>
              <a:gd name="T103" fmla="*/ 156 h 412"/>
              <a:gd name="T104" fmla="*/ 37 w 626"/>
              <a:gd name="T105" fmla="*/ 139 h 412"/>
              <a:gd name="T106" fmla="*/ 19 w 626"/>
              <a:gd name="T107" fmla="*/ 130 h 412"/>
              <a:gd name="T108" fmla="*/ 0 w 626"/>
              <a:gd name="T109" fmla="*/ 116 h 412"/>
              <a:gd name="T110" fmla="*/ 6 w 626"/>
              <a:gd name="T111" fmla="*/ 106 h 412"/>
              <a:gd name="T112" fmla="*/ 15 w 626"/>
              <a:gd name="T113" fmla="*/ 89 h 412"/>
              <a:gd name="T114" fmla="*/ 15 w 626"/>
              <a:gd name="T115" fmla="*/ 76 h 412"/>
              <a:gd name="T116" fmla="*/ 29 w 626"/>
              <a:gd name="T117" fmla="*/ 72 h 412"/>
              <a:gd name="T118" fmla="*/ 52 w 626"/>
              <a:gd name="T119" fmla="*/ 67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26" h="412">
                <a:moveTo>
                  <a:pt x="171" y="26"/>
                </a:moveTo>
                <a:lnTo>
                  <a:pt x="171" y="26"/>
                </a:lnTo>
                <a:lnTo>
                  <a:pt x="173" y="27"/>
                </a:lnTo>
                <a:lnTo>
                  <a:pt x="174" y="28"/>
                </a:lnTo>
                <a:lnTo>
                  <a:pt x="174" y="29"/>
                </a:lnTo>
                <a:lnTo>
                  <a:pt x="175" y="29"/>
                </a:lnTo>
                <a:lnTo>
                  <a:pt x="176" y="30"/>
                </a:lnTo>
                <a:lnTo>
                  <a:pt x="177" y="32"/>
                </a:lnTo>
                <a:lnTo>
                  <a:pt x="178" y="34"/>
                </a:lnTo>
                <a:lnTo>
                  <a:pt x="179" y="36"/>
                </a:lnTo>
                <a:lnTo>
                  <a:pt x="180" y="38"/>
                </a:lnTo>
                <a:lnTo>
                  <a:pt x="181" y="42"/>
                </a:lnTo>
                <a:lnTo>
                  <a:pt x="182" y="44"/>
                </a:lnTo>
                <a:lnTo>
                  <a:pt x="183" y="45"/>
                </a:lnTo>
                <a:lnTo>
                  <a:pt x="184" y="46"/>
                </a:lnTo>
                <a:lnTo>
                  <a:pt x="184" y="47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50"/>
                </a:lnTo>
                <a:lnTo>
                  <a:pt x="189" y="50"/>
                </a:lnTo>
                <a:lnTo>
                  <a:pt x="190" y="50"/>
                </a:lnTo>
                <a:lnTo>
                  <a:pt x="191" y="50"/>
                </a:lnTo>
                <a:lnTo>
                  <a:pt x="193" y="51"/>
                </a:lnTo>
                <a:lnTo>
                  <a:pt x="194" y="51"/>
                </a:lnTo>
                <a:lnTo>
                  <a:pt x="194" y="50"/>
                </a:lnTo>
                <a:lnTo>
                  <a:pt x="195" y="50"/>
                </a:lnTo>
                <a:lnTo>
                  <a:pt x="196" y="50"/>
                </a:lnTo>
                <a:lnTo>
                  <a:pt x="197" y="49"/>
                </a:lnTo>
                <a:lnTo>
                  <a:pt x="200" y="48"/>
                </a:lnTo>
                <a:lnTo>
                  <a:pt x="203" y="46"/>
                </a:lnTo>
                <a:lnTo>
                  <a:pt x="204" y="45"/>
                </a:lnTo>
                <a:lnTo>
                  <a:pt x="206" y="44"/>
                </a:lnTo>
                <a:lnTo>
                  <a:pt x="210" y="42"/>
                </a:lnTo>
                <a:lnTo>
                  <a:pt x="211" y="42"/>
                </a:lnTo>
                <a:lnTo>
                  <a:pt x="212" y="41"/>
                </a:lnTo>
                <a:lnTo>
                  <a:pt x="213" y="40"/>
                </a:lnTo>
                <a:lnTo>
                  <a:pt x="214" y="40"/>
                </a:lnTo>
                <a:lnTo>
                  <a:pt x="217" y="36"/>
                </a:lnTo>
                <a:lnTo>
                  <a:pt x="218" y="35"/>
                </a:lnTo>
                <a:lnTo>
                  <a:pt x="220" y="34"/>
                </a:lnTo>
                <a:lnTo>
                  <a:pt x="221" y="33"/>
                </a:lnTo>
                <a:lnTo>
                  <a:pt x="223" y="33"/>
                </a:lnTo>
                <a:lnTo>
                  <a:pt x="227" y="31"/>
                </a:lnTo>
                <a:lnTo>
                  <a:pt x="229" y="31"/>
                </a:lnTo>
                <a:lnTo>
                  <a:pt x="230" y="31"/>
                </a:lnTo>
                <a:lnTo>
                  <a:pt x="231" y="31"/>
                </a:lnTo>
                <a:lnTo>
                  <a:pt x="233" y="31"/>
                </a:lnTo>
                <a:lnTo>
                  <a:pt x="234" y="31"/>
                </a:lnTo>
                <a:lnTo>
                  <a:pt x="238" y="32"/>
                </a:lnTo>
                <a:lnTo>
                  <a:pt x="241" y="32"/>
                </a:lnTo>
                <a:lnTo>
                  <a:pt x="246" y="34"/>
                </a:lnTo>
                <a:lnTo>
                  <a:pt x="251" y="35"/>
                </a:lnTo>
                <a:lnTo>
                  <a:pt x="253" y="36"/>
                </a:lnTo>
                <a:lnTo>
                  <a:pt x="255" y="37"/>
                </a:lnTo>
                <a:lnTo>
                  <a:pt x="257" y="38"/>
                </a:lnTo>
                <a:lnTo>
                  <a:pt x="258" y="38"/>
                </a:lnTo>
                <a:lnTo>
                  <a:pt x="259" y="39"/>
                </a:lnTo>
                <a:lnTo>
                  <a:pt x="260" y="40"/>
                </a:lnTo>
                <a:lnTo>
                  <a:pt x="263" y="43"/>
                </a:lnTo>
                <a:lnTo>
                  <a:pt x="264" y="45"/>
                </a:lnTo>
                <a:lnTo>
                  <a:pt x="264" y="45"/>
                </a:lnTo>
                <a:lnTo>
                  <a:pt x="265" y="46"/>
                </a:lnTo>
                <a:lnTo>
                  <a:pt x="265" y="47"/>
                </a:lnTo>
                <a:lnTo>
                  <a:pt x="266" y="49"/>
                </a:lnTo>
                <a:lnTo>
                  <a:pt x="267" y="51"/>
                </a:lnTo>
                <a:lnTo>
                  <a:pt x="268" y="55"/>
                </a:lnTo>
                <a:lnTo>
                  <a:pt x="269" y="58"/>
                </a:lnTo>
                <a:lnTo>
                  <a:pt x="270" y="59"/>
                </a:lnTo>
                <a:lnTo>
                  <a:pt x="270" y="60"/>
                </a:lnTo>
                <a:lnTo>
                  <a:pt x="271" y="61"/>
                </a:lnTo>
                <a:lnTo>
                  <a:pt x="272" y="62"/>
                </a:lnTo>
                <a:lnTo>
                  <a:pt x="273" y="62"/>
                </a:lnTo>
                <a:lnTo>
                  <a:pt x="274" y="63"/>
                </a:lnTo>
                <a:lnTo>
                  <a:pt x="275" y="64"/>
                </a:lnTo>
                <a:lnTo>
                  <a:pt x="277" y="64"/>
                </a:lnTo>
                <a:lnTo>
                  <a:pt x="282" y="66"/>
                </a:lnTo>
                <a:lnTo>
                  <a:pt x="284" y="66"/>
                </a:lnTo>
                <a:lnTo>
                  <a:pt x="286" y="67"/>
                </a:lnTo>
                <a:lnTo>
                  <a:pt x="287" y="68"/>
                </a:lnTo>
                <a:lnTo>
                  <a:pt x="288" y="68"/>
                </a:lnTo>
                <a:lnTo>
                  <a:pt x="289" y="69"/>
                </a:lnTo>
                <a:lnTo>
                  <a:pt x="290" y="70"/>
                </a:lnTo>
                <a:lnTo>
                  <a:pt x="292" y="72"/>
                </a:lnTo>
                <a:lnTo>
                  <a:pt x="295" y="76"/>
                </a:lnTo>
                <a:lnTo>
                  <a:pt x="296" y="77"/>
                </a:lnTo>
                <a:lnTo>
                  <a:pt x="297" y="79"/>
                </a:lnTo>
                <a:lnTo>
                  <a:pt x="299" y="80"/>
                </a:lnTo>
                <a:lnTo>
                  <a:pt x="300" y="81"/>
                </a:lnTo>
                <a:lnTo>
                  <a:pt x="302" y="82"/>
                </a:lnTo>
                <a:lnTo>
                  <a:pt x="305" y="83"/>
                </a:lnTo>
                <a:lnTo>
                  <a:pt x="309" y="85"/>
                </a:lnTo>
                <a:lnTo>
                  <a:pt x="310" y="86"/>
                </a:lnTo>
                <a:lnTo>
                  <a:pt x="312" y="86"/>
                </a:lnTo>
                <a:lnTo>
                  <a:pt x="313" y="87"/>
                </a:lnTo>
                <a:lnTo>
                  <a:pt x="314" y="88"/>
                </a:lnTo>
                <a:lnTo>
                  <a:pt x="318" y="91"/>
                </a:lnTo>
                <a:lnTo>
                  <a:pt x="319" y="92"/>
                </a:lnTo>
                <a:lnTo>
                  <a:pt x="321" y="93"/>
                </a:lnTo>
                <a:lnTo>
                  <a:pt x="322" y="94"/>
                </a:lnTo>
                <a:lnTo>
                  <a:pt x="324" y="95"/>
                </a:lnTo>
                <a:lnTo>
                  <a:pt x="327" y="96"/>
                </a:lnTo>
                <a:lnTo>
                  <a:pt x="330" y="97"/>
                </a:lnTo>
                <a:lnTo>
                  <a:pt x="333" y="99"/>
                </a:lnTo>
                <a:lnTo>
                  <a:pt x="335" y="100"/>
                </a:lnTo>
                <a:lnTo>
                  <a:pt x="336" y="100"/>
                </a:lnTo>
                <a:lnTo>
                  <a:pt x="338" y="102"/>
                </a:lnTo>
                <a:lnTo>
                  <a:pt x="343" y="106"/>
                </a:lnTo>
                <a:lnTo>
                  <a:pt x="345" y="107"/>
                </a:lnTo>
                <a:lnTo>
                  <a:pt x="346" y="108"/>
                </a:lnTo>
                <a:lnTo>
                  <a:pt x="347" y="108"/>
                </a:lnTo>
                <a:lnTo>
                  <a:pt x="348" y="109"/>
                </a:lnTo>
                <a:lnTo>
                  <a:pt x="349" y="109"/>
                </a:lnTo>
                <a:lnTo>
                  <a:pt x="350" y="109"/>
                </a:lnTo>
                <a:lnTo>
                  <a:pt x="352" y="109"/>
                </a:lnTo>
                <a:lnTo>
                  <a:pt x="354" y="109"/>
                </a:lnTo>
                <a:lnTo>
                  <a:pt x="356" y="108"/>
                </a:lnTo>
                <a:lnTo>
                  <a:pt x="360" y="107"/>
                </a:lnTo>
                <a:lnTo>
                  <a:pt x="361" y="107"/>
                </a:lnTo>
                <a:lnTo>
                  <a:pt x="363" y="107"/>
                </a:lnTo>
                <a:lnTo>
                  <a:pt x="366" y="105"/>
                </a:lnTo>
                <a:lnTo>
                  <a:pt x="367" y="105"/>
                </a:lnTo>
                <a:lnTo>
                  <a:pt x="367" y="105"/>
                </a:lnTo>
                <a:lnTo>
                  <a:pt x="368" y="105"/>
                </a:lnTo>
                <a:lnTo>
                  <a:pt x="369" y="105"/>
                </a:lnTo>
                <a:lnTo>
                  <a:pt x="371" y="106"/>
                </a:lnTo>
                <a:lnTo>
                  <a:pt x="372" y="106"/>
                </a:lnTo>
                <a:lnTo>
                  <a:pt x="372" y="106"/>
                </a:lnTo>
                <a:lnTo>
                  <a:pt x="373" y="107"/>
                </a:lnTo>
                <a:lnTo>
                  <a:pt x="375" y="107"/>
                </a:lnTo>
                <a:lnTo>
                  <a:pt x="377" y="106"/>
                </a:lnTo>
                <a:lnTo>
                  <a:pt x="381" y="106"/>
                </a:lnTo>
                <a:lnTo>
                  <a:pt x="384" y="106"/>
                </a:lnTo>
                <a:lnTo>
                  <a:pt x="385" y="105"/>
                </a:lnTo>
                <a:lnTo>
                  <a:pt x="386" y="106"/>
                </a:lnTo>
                <a:lnTo>
                  <a:pt x="388" y="106"/>
                </a:lnTo>
                <a:lnTo>
                  <a:pt x="390" y="106"/>
                </a:lnTo>
                <a:lnTo>
                  <a:pt x="393" y="107"/>
                </a:lnTo>
                <a:lnTo>
                  <a:pt x="395" y="107"/>
                </a:lnTo>
                <a:lnTo>
                  <a:pt x="396" y="107"/>
                </a:lnTo>
                <a:lnTo>
                  <a:pt x="397" y="107"/>
                </a:lnTo>
                <a:lnTo>
                  <a:pt x="398" y="107"/>
                </a:lnTo>
                <a:lnTo>
                  <a:pt x="399" y="107"/>
                </a:lnTo>
                <a:lnTo>
                  <a:pt x="400" y="107"/>
                </a:lnTo>
                <a:lnTo>
                  <a:pt x="400" y="107"/>
                </a:lnTo>
                <a:lnTo>
                  <a:pt x="401" y="106"/>
                </a:lnTo>
                <a:lnTo>
                  <a:pt x="401" y="105"/>
                </a:lnTo>
                <a:lnTo>
                  <a:pt x="401" y="105"/>
                </a:lnTo>
                <a:lnTo>
                  <a:pt x="401" y="104"/>
                </a:lnTo>
                <a:lnTo>
                  <a:pt x="401" y="103"/>
                </a:lnTo>
                <a:lnTo>
                  <a:pt x="400" y="100"/>
                </a:lnTo>
                <a:lnTo>
                  <a:pt x="400" y="98"/>
                </a:lnTo>
                <a:lnTo>
                  <a:pt x="400" y="98"/>
                </a:lnTo>
                <a:lnTo>
                  <a:pt x="400" y="97"/>
                </a:lnTo>
                <a:lnTo>
                  <a:pt x="400" y="96"/>
                </a:lnTo>
                <a:lnTo>
                  <a:pt x="400" y="95"/>
                </a:lnTo>
                <a:lnTo>
                  <a:pt x="401" y="94"/>
                </a:lnTo>
                <a:lnTo>
                  <a:pt x="401" y="94"/>
                </a:lnTo>
                <a:lnTo>
                  <a:pt x="402" y="93"/>
                </a:lnTo>
                <a:lnTo>
                  <a:pt x="403" y="92"/>
                </a:lnTo>
                <a:lnTo>
                  <a:pt x="405" y="90"/>
                </a:lnTo>
                <a:lnTo>
                  <a:pt x="407" y="89"/>
                </a:lnTo>
                <a:lnTo>
                  <a:pt x="408" y="88"/>
                </a:lnTo>
                <a:lnTo>
                  <a:pt x="409" y="87"/>
                </a:lnTo>
                <a:lnTo>
                  <a:pt x="409" y="86"/>
                </a:lnTo>
                <a:lnTo>
                  <a:pt x="409" y="86"/>
                </a:lnTo>
                <a:lnTo>
                  <a:pt x="410" y="85"/>
                </a:lnTo>
                <a:lnTo>
                  <a:pt x="410" y="84"/>
                </a:lnTo>
                <a:lnTo>
                  <a:pt x="410" y="80"/>
                </a:lnTo>
                <a:lnTo>
                  <a:pt x="410" y="79"/>
                </a:lnTo>
                <a:lnTo>
                  <a:pt x="410" y="78"/>
                </a:lnTo>
                <a:lnTo>
                  <a:pt x="411" y="77"/>
                </a:lnTo>
                <a:lnTo>
                  <a:pt x="411" y="76"/>
                </a:lnTo>
                <a:lnTo>
                  <a:pt x="412" y="75"/>
                </a:lnTo>
                <a:lnTo>
                  <a:pt x="413" y="74"/>
                </a:lnTo>
                <a:lnTo>
                  <a:pt x="414" y="73"/>
                </a:lnTo>
                <a:lnTo>
                  <a:pt x="415" y="72"/>
                </a:lnTo>
                <a:lnTo>
                  <a:pt x="417" y="71"/>
                </a:lnTo>
                <a:lnTo>
                  <a:pt x="420" y="69"/>
                </a:lnTo>
                <a:lnTo>
                  <a:pt x="422" y="68"/>
                </a:lnTo>
                <a:lnTo>
                  <a:pt x="424" y="66"/>
                </a:lnTo>
                <a:lnTo>
                  <a:pt x="428" y="63"/>
                </a:lnTo>
                <a:lnTo>
                  <a:pt x="430" y="62"/>
                </a:lnTo>
                <a:lnTo>
                  <a:pt x="431" y="61"/>
                </a:lnTo>
                <a:lnTo>
                  <a:pt x="434" y="60"/>
                </a:lnTo>
                <a:lnTo>
                  <a:pt x="438" y="58"/>
                </a:lnTo>
                <a:lnTo>
                  <a:pt x="442" y="56"/>
                </a:lnTo>
                <a:lnTo>
                  <a:pt x="443" y="56"/>
                </a:lnTo>
                <a:lnTo>
                  <a:pt x="444" y="54"/>
                </a:lnTo>
                <a:lnTo>
                  <a:pt x="445" y="54"/>
                </a:lnTo>
                <a:lnTo>
                  <a:pt x="448" y="52"/>
                </a:lnTo>
                <a:lnTo>
                  <a:pt x="451" y="51"/>
                </a:lnTo>
                <a:lnTo>
                  <a:pt x="453" y="50"/>
                </a:lnTo>
                <a:lnTo>
                  <a:pt x="455" y="49"/>
                </a:lnTo>
                <a:lnTo>
                  <a:pt x="457" y="47"/>
                </a:lnTo>
                <a:lnTo>
                  <a:pt x="458" y="46"/>
                </a:lnTo>
                <a:lnTo>
                  <a:pt x="460" y="45"/>
                </a:lnTo>
                <a:lnTo>
                  <a:pt x="461" y="43"/>
                </a:lnTo>
                <a:lnTo>
                  <a:pt x="462" y="42"/>
                </a:lnTo>
                <a:lnTo>
                  <a:pt x="462" y="41"/>
                </a:lnTo>
                <a:lnTo>
                  <a:pt x="463" y="39"/>
                </a:lnTo>
                <a:lnTo>
                  <a:pt x="466" y="34"/>
                </a:lnTo>
                <a:lnTo>
                  <a:pt x="466" y="32"/>
                </a:lnTo>
                <a:lnTo>
                  <a:pt x="467" y="32"/>
                </a:lnTo>
                <a:lnTo>
                  <a:pt x="468" y="31"/>
                </a:lnTo>
                <a:lnTo>
                  <a:pt x="468" y="30"/>
                </a:lnTo>
                <a:lnTo>
                  <a:pt x="469" y="29"/>
                </a:lnTo>
                <a:lnTo>
                  <a:pt x="470" y="29"/>
                </a:lnTo>
                <a:lnTo>
                  <a:pt x="471" y="29"/>
                </a:lnTo>
                <a:lnTo>
                  <a:pt x="471" y="28"/>
                </a:lnTo>
                <a:lnTo>
                  <a:pt x="472" y="28"/>
                </a:lnTo>
                <a:lnTo>
                  <a:pt x="473" y="28"/>
                </a:lnTo>
                <a:lnTo>
                  <a:pt x="474" y="28"/>
                </a:lnTo>
                <a:lnTo>
                  <a:pt x="475" y="28"/>
                </a:lnTo>
                <a:lnTo>
                  <a:pt x="476" y="29"/>
                </a:lnTo>
                <a:lnTo>
                  <a:pt x="477" y="29"/>
                </a:lnTo>
                <a:lnTo>
                  <a:pt x="478" y="30"/>
                </a:lnTo>
                <a:lnTo>
                  <a:pt x="480" y="31"/>
                </a:lnTo>
                <a:lnTo>
                  <a:pt x="481" y="31"/>
                </a:lnTo>
                <a:lnTo>
                  <a:pt x="484" y="33"/>
                </a:lnTo>
                <a:lnTo>
                  <a:pt x="487" y="35"/>
                </a:lnTo>
                <a:lnTo>
                  <a:pt x="489" y="36"/>
                </a:lnTo>
                <a:lnTo>
                  <a:pt x="492" y="37"/>
                </a:lnTo>
                <a:lnTo>
                  <a:pt x="499" y="40"/>
                </a:lnTo>
                <a:lnTo>
                  <a:pt x="501" y="41"/>
                </a:lnTo>
                <a:lnTo>
                  <a:pt x="503" y="41"/>
                </a:lnTo>
                <a:lnTo>
                  <a:pt x="505" y="42"/>
                </a:lnTo>
                <a:lnTo>
                  <a:pt x="506" y="42"/>
                </a:lnTo>
                <a:lnTo>
                  <a:pt x="507" y="42"/>
                </a:lnTo>
                <a:lnTo>
                  <a:pt x="507" y="42"/>
                </a:lnTo>
                <a:lnTo>
                  <a:pt x="508" y="41"/>
                </a:lnTo>
                <a:lnTo>
                  <a:pt x="508" y="41"/>
                </a:lnTo>
                <a:lnTo>
                  <a:pt x="509" y="41"/>
                </a:lnTo>
                <a:lnTo>
                  <a:pt x="510" y="42"/>
                </a:lnTo>
                <a:lnTo>
                  <a:pt x="511" y="42"/>
                </a:lnTo>
                <a:lnTo>
                  <a:pt x="512" y="43"/>
                </a:lnTo>
                <a:lnTo>
                  <a:pt x="515" y="45"/>
                </a:lnTo>
                <a:lnTo>
                  <a:pt x="517" y="47"/>
                </a:lnTo>
                <a:lnTo>
                  <a:pt x="518" y="48"/>
                </a:lnTo>
                <a:lnTo>
                  <a:pt x="520" y="49"/>
                </a:lnTo>
                <a:lnTo>
                  <a:pt x="524" y="54"/>
                </a:lnTo>
                <a:lnTo>
                  <a:pt x="526" y="55"/>
                </a:lnTo>
                <a:lnTo>
                  <a:pt x="528" y="57"/>
                </a:lnTo>
                <a:lnTo>
                  <a:pt x="530" y="58"/>
                </a:lnTo>
                <a:lnTo>
                  <a:pt x="531" y="59"/>
                </a:lnTo>
                <a:lnTo>
                  <a:pt x="532" y="60"/>
                </a:lnTo>
                <a:lnTo>
                  <a:pt x="534" y="61"/>
                </a:lnTo>
                <a:lnTo>
                  <a:pt x="536" y="62"/>
                </a:lnTo>
                <a:lnTo>
                  <a:pt x="538" y="63"/>
                </a:lnTo>
                <a:lnTo>
                  <a:pt x="543" y="65"/>
                </a:lnTo>
                <a:lnTo>
                  <a:pt x="548" y="66"/>
                </a:lnTo>
                <a:lnTo>
                  <a:pt x="552" y="67"/>
                </a:lnTo>
                <a:lnTo>
                  <a:pt x="553" y="68"/>
                </a:lnTo>
                <a:lnTo>
                  <a:pt x="554" y="68"/>
                </a:lnTo>
                <a:lnTo>
                  <a:pt x="556" y="68"/>
                </a:lnTo>
                <a:lnTo>
                  <a:pt x="557" y="68"/>
                </a:lnTo>
                <a:lnTo>
                  <a:pt x="558" y="68"/>
                </a:lnTo>
                <a:lnTo>
                  <a:pt x="559" y="68"/>
                </a:lnTo>
                <a:lnTo>
                  <a:pt x="560" y="68"/>
                </a:lnTo>
                <a:lnTo>
                  <a:pt x="561" y="67"/>
                </a:lnTo>
                <a:lnTo>
                  <a:pt x="562" y="67"/>
                </a:lnTo>
                <a:lnTo>
                  <a:pt x="563" y="67"/>
                </a:lnTo>
                <a:lnTo>
                  <a:pt x="564" y="66"/>
                </a:lnTo>
                <a:lnTo>
                  <a:pt x="566" y="65"/>
                </a:lnTo>
                <a:lnTo>
                  <a:pt x="567" y="63"/>
                </a:lnTo>
                <a:lnTo>
                  <a:pt x="568" y="62"/>
                </a:lnTo>
                <a:lnTo>
                  <a:pt x="570" y="60"/>
                </a:lnTo>
                <a:lnTo>
                  <a:pt x="575" y="52"/>
                </a:lnTo>
                <a:lnTo>
                  <a:pt x="576" y="50"/>
                </a:lnTo>
                <a:lnTo>
                  <a:pt x="578" y="49"/>
                </a:lnTo>
                <a:lnTo>
                  <a:pt x="579" y="48"/>
                </a:lnTo>
                <a:lnTo>
                  <a:pt x="580" y="46"/>
                </a:lnTo>
                <a:lnTo>
                  <a:pt x="585" y="43"/>
                </a:lnTo>
                <a:lnTo>
                  <a:pt x="587" y="40"/>
                </a:lnTo>
                <a:lnTo>
                  <a:pt x="589" y="38"/>
                </a:lnTo>
                <a:lnTo>
                  <a:pt x="591" y="36"/>
                </a:lnTo>
                <a:lnTo>
                  <a:pt x="592" y="35"/>
                </a:lnTo>
                <a:lnTo>
                  <a:pt x="594" y="32"/>
                </a:lnTo>
                <a:lnTo>
                  <a:pt x="595" y="30"/>
                </a:lnTo>
                <a:lnTo>
                  <a:pt x="596" y="28"/>
                </a:lnTo>
                <a:lnTo>
                  <a:pt x="597" y="26"/>
                </a:lnTo>
                <a:lnTo>
                  <a:pt x="598" y="24"/>
                </a:lnTo>
                <a:lnTo>
                  <a:pt x="601" y="17"/>
                </a:lnTo>
                <a:lnTo>
                  <a:pt x="601" y="16"/>
                </a:lnTo>
                <a:lnTo>
                  <a:pt x="602" y="14"/>
                </a:lnTo>
                <a:lnTo>
                  <a:pt x="603" y="12"/>
                </a:lnTo>
                <a:lnTo>
                  <a:pt x="604" y="11"/>
                </a:lnTo>
                <a:lnTo>
                  <a:pt x="605" y="10"/>
                </a:lnTo>
                <a:lnTo>
                  <a:pt x="606" y="8"/>
                </a:lnTo>
                <a:lnTo>
                  <a:pt x="608" y="7"/>
                </a:lnTo>
                <a:lnTo>
                  <a:pt x="609" y="6"/>
                </a:lnTo>
                <a:lnTo>
                  <a:pt x="611" y="5"/>
                </a:lnTo>
                <a:lnTo>
                  <a:pt x="613" y="4"/>
                </a:lnTo>
                <a:lnTo>
                  <a:pt x="614" y="3"/>
                </a:lnTo>
                <a:lnTo>
                  <a:pt x="616" y="2"/>
                </a:lnTo>
                <a:lnTo>
                  <a:pt x="617" y="1"/>
                </a:lnTo>
                <a:lnTo>
                  <a:pt x="618" y="1"/>
                </a:lnTo>
                <a:lnTo>
                  <a:pt x="619" y="0"/>
                </a:lnTo>
                <a:lnTo>
                  <a:pt x="621" y="0"/>
                </a:lnTo>
                <a:lnTo>
                  <a:pt x="622" y="0"/>
                </a:lnTo>
                <a:lnTo>
                  <a:pt x="623" y="0"/>
                </a:lnTo>
                <a:lnTo>
                  <a:pt x="624" y="0"/>
                </a:lnTo>
                <a:lnTo>
                  <a:pt x="625" y="1"/>
                </a:lnTo>
                <a:lnTo>
                  <a:pt x="625" y="1"/>
                </a:lnTo>
                <a:lnTo>
                  <a:pt x="626" y="2"/>
                </a:lnTo>
                <a:lnTo>
                  <a:pt x="626" y="2"/>
                </a:lnTo>
                <a:lnTo>
                  <a:pt x="626" y="2"/>
                </a:lnTo>
                <a:lnTo>
                  <a:pt x="626" y="4"/>
                </a:lnTo>
                <a:lnTo>
                  <a:pt x="626" y="6"/>
                </a:lnTo>
                <a:lnTo>
                  <a:pt x="626" y="8"/>
                </a:lnTo>
                <a:lnTo>
                  <a:pt x="626" y="10"/>
                </a:lnTo>
                <a:lnTo>
                  <a:pt x="625" y="12"/>
                </a:lnTo>
                <a:lnTo>
                  <a:pt x="625" y="14"/>
                </a:lnTo>
                <a:lnTo>
                  <a:pt x="624" y="16"/>
                </a:lnTo>
                <a:lnTo>
                  <a:pt x="624" y="18"/>
                </a:lnTo>
                <a:lnTo>
                  <a:pt x="621" y="24"/>
                </a:lnTo>
                <a:lnTo>
                  <a:pt x="620" y="29"/>
                </a:lnTo>
                <a:lnTo>
                  <a:pt x="616" y="40"/>
                </a:lnTo>
                <a:lnTo>
                  <a:pt x="614" y="45"/>
                </a:lnTo>
                <a:lnTo>
                  <a:pt x="613" y="47"/>
                </a:lnTo>
                <a:lnTo>
                  <a:pt x="612" y="51"/>
                </a:lnTo>
                <a:lnTo>
                  <a:pt x="610" y="56"/>
                </a:lnTo>
                <a:lnTo>
                  <a:pt x="609" y="57"/>
                </a:lnTo>
                <a:lnTo>
                  <a:pt x="607" y="60"/>
                </a:lnTo>
                <a:lnTo>
                  <a:pt x="607" y="61"/>
                </a:lnTo>
                <a:lnTo>
                  <a:pt x="607" y="62"/>
                </a:lnTo>
                <a:lnTo>
                  <a:pt x="606" y="63"/>
                </a:lnTo>
                <a:lnTo>
                  <a:pt x="606" y="64"/>
                </a:lnTo>
                <a:lnTo>
                  <a:pt x="606" y="66"/>
                </a:lnTo>
                <a:lnTo>
                  <a:pt x="606" y="68"/>
                </a:lnTo>
                <a:lnTo>
                  <a:pt x="607" y="73"/>
                </a:lnTo>
                <a:lnTo>
                  <a:pt x="607" y="74"/>
                </a:lnTo>
                <a:lnTo>
                  <a:pt x="607" y="76"/>
                </a:lnTo>
                <a:lnTo>
                  <a:pt x="607" y="77"/>
                </a:lnTo>
                <a:lnTo>
                  <a:pt x="607" y="78"/>
                </a:lnTo>
                <a:lnTo>
                  <a:pt x="605" y="82"/>
                </a:lnTo>
                <a:lnTo>
                  <a:pt x="605" y="84"/>
                </a:lnTo>
                <a:lnTo>
                  <a:pt x="605" y="85"/>
                </a:lnTo>
                <a:lnTo>
                  <a:pt x="605" y="86"/>
                </a:lnTo>
                <a:lnTo>
                  <a:pt x="604" y="87"/>
                </a:lnTo>
                <a:lnTo>
                  <a:pt x="605" y="89"/>
                </a:lnTo>
                <a:lnTo>
                  <a:pt x="605" y="90"/>
                </a:lnTo>
                <a:lnTo>
                  <a:pt x="605" y="93"/>
                </a:lnTo>
                <a:lnTo>
                  <a:pt x="606" y="95"/>
                </a:lnTo>
                <a:lnTo>
                  <a:pt x="606" y="100"/>
                </a:lnTo>
                <a:lnTo>
                  <a:pt x="606" y="102"/>
                </a:lnTo>
                <a:lnTo>
                  <a:pt x="606" y="103"/>
                </a:lnTo>
                <a:lnTo>
                  <a:pt x="606" y="104"/>
                </a:lnTo>
                <a:lnTo>
                  <a:pt x="606" y="106"/>
                </a:lnTo>
                <a:lnTo>
                  <a:pt x="605" y="108"/>
                </a:lnTo>
                <a:lnTo>
                  <a:pt x="604" y="109"/>
                </a:lnTo>
                <a:lnTo>
                  <a:pt x="604" y="110"/>
                </a:lnTo>
                <a:lnTo>
                  <a:pt x="603" y="111"/>
                </a:lnTo>
                <a:lnTo>
                  <a:pt x="602" y="112"/>
                </a:lnTo>
                <a:lnTo>
                  <a:pt x="601" y="113"/>
                </a:lnTo>
                <a:lnTo>
                  <a:pt x="600" y="115"/>
                </a:lnTo>
                <a:lnTo>
                  <a:pt x="595" y="118"/>
                </a:lnTo>
                <a:lnTo>
                  <a:pt x="594" y="120"/>
                </a:lnTo>
                <a:lnTo>
                  <a:pt x="590" y="123"/>
                </a:lnTo>
                <a:lnTo>
                  <a:pt x="589" y="124"/>
                </a:lnTo>
                <a:lnTo>
                  <a:pt x="588" y="126"/>
                </a:lnTo>
                <a:lnTo>
                  <a:pt x="587" y="127"/>
                </a:lnTo>
                <a:lnTo>
                  <a:pt x="586" y="129"/>
                </a:lnTo>
                <a:lnTo>
                  <a:pt x="584" y="130"/>
                </a:lnTo>
                <a:lnTo>
                  <a:pt x="584" y="131"/>
                </a:lnTo>
                <a:lnTo>
                  <a:pt x="583" y="131"/>
                </a:lnTo>
                <a:lnTo>
                  <a:pt x="582" y="132"/>
                </a:lnTo>
                <a:lnTo>
                  <a:pt x="581" y="132"/>
                </a:lnTo>
                <a:lnTo>
                  <a:pt x="579" y="133"/>
                </a:lnTo>
                <a:lnTo>
                  <a:pt x="576" y="133"/>
                </a:lnTo>
                <a:lnTo>
                  <a:pt x="574" y="133"/>
                </a:lnTo>
                <a:lnTo>
                  <a:pt x="573" y="134"/>
                </a:lnTo>
                <a:lnTo>
                  <a:pt x="572" y="134"/>
                </a:lnTo>
                <a:lnTo>
                  <a:pt x="571" y="135"/>
                </a:lnTo>
                <a:lnTo>
                  <a:pt x="571" y="135"/>
                </a:lnTo>
                <a:lnTo>
                  <a:pt x="570" y="136"/>
                </a:lnTo>
                <a:lnTo>
                  <a:pt x="570" y="136"/>
                </a:lnTo>
                <a:lnTo>
                  <a:pt x="570" y="137"/>
                </a:lnTo>
                <a:lnTo>
                  <a:pt x="569" y="137"/>
                </a:lnTo>
                <a:lnTo>
                  <a:pt x="569" y="138"/>
                </a:lnTo>
                <a:lnTo>
                  <a:pt x="569" y="139"/>
                </a:lnTo>
                <a:lnTo>
                  <a:pt x="569" y="140"/>
                </a:lnTo>
                <a:lnTo>
                  <a:pt x="570" y="142"/>
                </a:lnTo>
                <a:lnTo>
                  <a:pt x="570" y="144"/>
                </a:lnTo>
                <a:lnTo>
                  <a:pt x="572" y="149"/>
                </a:lnTo>
                <a:lnTo>
                  <a:pt x="573" y="153"/>
                </a:lnTo>
                <a:lnTo>
                  <a:pt x="574" y="156"/>
                </a:lnTo>
                <a:lnTo>
                  <a:pt x="576" y="163"/>
                </a:lnTo>
                <a:lnTo>
                  <a:pt x="576" y="166"/>
                </a:lnTo>
                <a:lnTo>
                  <a:pt x="577" y="168"/>
                </a:lnTo>
                <a:lnTo>
                  <a:pt x="578" y="172"/>
                </a:lnTo>
                <a:lnTo>
                  <a:pt x="581" y="179"/>
                </a:lnTo>
                <a:lnTo>
                  <a:pt x="583" y="185"/>
                </a:lnTo>
                <a:lnTo>
                  <a:pt x="584" y="187"/>
                </a:lnTo>
                <a:lnTo>
                  <a:pt x="584" y="189"/>
                </a:lnTo>
                <a:lnTo>
                  <a:pt x="585" y="191"/>
                </a:lnTo>
                <a:lnTo>
                  <a:pt x="585" y="197"/>
                </a:lnTo>
                <a:lnTo>
                  <a:pt x="585" y="201"/>
                </a:lnTo>
                <a:lnTo>
                  <a:pt x="586" y="203"/>
                </a:lnTo>
                <a:lnTo>
                  <a:pt x="586" y="205"/>
                </a:lnTo>
                <a:lnTo>
                  <a:pt x="587" y="210"/>
                </a:lnTo>
                <a:lnTo>
                  <a:pt x="587" y="212"/>
                </a:lnTo>
                <a:lnTo>
                  <a:pt x="587" y="213"/>
                </a:lnTo>
                <a:lnTo>
                  <a:pt x="587" y="215"/>
                </a:lnTo>
                <a:lnTo>
                  <a:pt x="587" y="216"/>
                </a:lnTo>
                <a:lnTo>
                  <a:pt x="586" y="217"/>
                </a:lnTo>
                <a:lnTo>
                  <a:pt x="586" y="218"/>
                </a:lnTo>
                <a:lnTo>
                  <a:pt x="585" y="219"/>
                </a:lnTo>
                <a:lnTo>
                  <a:pt x="583" y="223"/>
                </a:lnTo>
                <a:lnTo>
                  <a:pt x="581" y="224"/>
                </a:lnTo>
                <a:lnTo>
                  <a:pt x="581" y="226"/>
                </a:lnTo>
                <a:lnTo>
                  <a:pt x="580" y="227"/>
                </a:lnTo>
                <a:lnTo>
                  <a:pt x="580" y="228"/>
                </a:lnTo>
                <a:lnTo>
                  <a:pt x="580" y="230"/>
                </a:lnTo>
                <a:lnTo>
                  <a:pt x="579" y="231"/>
                </a:lnTo>
                <a:lnTo>
                  <a:pt x="579" y="233"/>
                </a:lnTo>
                <a:lnTo>
                  <a:pt x="579" y="234"/>
                </a:lnTo>
                <a:lnTo>
                  <a:pt x="579" y="235"/>
                </a:lnTo>
                <a:lnTo>
                  <a:pt x="579" y="238"/>
                </a:lnTo>
                <a:lnTo>
                  <a:pt x="579" y="239"/>
                </a:lnTo>
                <a:lnTo>
                  <a:pt x="579" y="241"/>
                </a:lnTo>
                <a:lnTo>
                  <a:pt x="580" y="242"/>
                </a:lnTo>
                <a:lnTo>
                  <a:pt x="580" y="244"/>
                </a:lnTo>
                <a:lnTo>
                  <a:pt x="581" y="245"/>
                </a:lnTo>
                <a:lnTo>
                  <a:pt x="584" y="250"/>
                </a:lnTo>
                <a:lnTo>
                  <a:pt x="585" y="252"/>
                </a:lnTo>
                <a:lnTo>
                  <a:pt x="586" y="253"/>
                </a:lnTo>
                <a:lnTo>
                  <a:pt x="586" y="254"/>
                </a:lnTo>
                <a:lnTo>
                  <a:pt x="587" y="256"/>
                </a:lnTo>
                <a:lnTo>
                  <a:pt x="588" y="260"/>
                </a:lnTo>
                <a:lnTo>
                  <a:pt x="589" y="262"/>
                </a:lnTo>
                <a:lnTo>
                  <a:pt x="590" y="265"/>
                </a:lnTo>
                <a:lnTo>
                  <a:pt x="592" y="268"/>
                </a:lnTo>
                <a:lnTo>
                  <a:pt x="593" y="269"/>
                </a:lnTo>
                <a:lnTo>
                  <a:pt x="594" y="271"/>
                </a:lnTo>
                <a:lnTo>
                  <a:pt x="596" y="274"/>
                </a:lnTo>
                <a:lnTo>
                  <a:pt x="599" y="277"/>
                </a:lnTo>
                <a:lnTo>
                  <a:pt x="602" y="280"/>
                </a:lnTo>
                <a:lnTo>
                  <a:pt x="603" y="281"/>
                </a:lnTo>
                <a:lnTo>
                  <a:pt x="604" y="283"/>
                </a:lnTo>
                <a:lnTo>
                  <a:pt x="605" y="284"/>
                </a:lnTo>
                <a:lnTo>
                  <a:pt x="605" y="285"/>
                </a:lnTo>
                <a:lnTo>
                  <a:pt x="605" y="286"/>
                </a:lnTo>
                <a:lnTo>
                  <a:pt x="606" y="290"/>
                </a:lnTo>
                <a:lnTo>
                  <a:pt x="606" y="291"/>
                </a:lnTo>
                <a:lnTo>
                  <a:pt x="606" y="292"/>
                </a:lnTo>
                <a:lnTo>
                  <a:pt x="608" y="296"/>
                </a:lnTo>
                <a:lnTo>
                  <a:pt x="608" y="297"/>
                </a:lnTo>
                <a:lnTo>
                  <a:pt x="608" y="298"/>
                </a:lnTo>
                <a:lnTo>
                  <a:pt x="608" y="299"/>
                </a:lnTo>
                <a:lnTo>
                  <a:pt x="608" y="301"/>
                </a:lnTo>
                <a:lnTo>
                  <a:pt x="608" y="302"/>
                </a:lnTo>
                <a:lnTo>
                  <a:pt x="607" y="305"/>
                </a:lnTo>
                <a:lnTo>
                  <a:pt x="606" y="306"/>
                </a:lnTo>
                <a:lnTo>
                  <a:pt x="606" y="307"/>
                </a:lnTo>
                <a:lnTo>
                  <a:pt x="606" y="308"/>
                </a:lnTo>
                <a:lnTo>
                  <a:pt x="607" y="308"/>
                </a:lnTo>
                <a:lnTo>
                  <a:pt x="607" y="308"/>
                </a:lnTo>
                <a:lnTo>
                  <a:pt x="607" y="309"/>
                </a:lnTo>
                <a:lnTo>
                  <a:pt x="608" y="309"/>
                </a:lnTo>
                <a:lnTo>
                  <a:pt x="608" y="309"/>
                </a:lnTo>
                <a:lnTo>
                  <a:pt x="609" y="309"/>
                </a:lnTo>
                <a:lnTo>
                  <a:pt x="611" y="310"/>
                </a:lnTo>
                <a:lnTo>
                  <a:pt x="612" y="310"/>
                </a:lnTo>
                <a:lnTo>
                  <a:pt x="616" y="311"/>
                </a:lnTo>
                <a:lnTo>
                  <a:pt x="618" y="311"/>
                </a:lnTo>
                <a:lnTo>
                  <a:pt x="618" y="312"/>
                </a:lnTo>
                <a:lnTo>
                  <a:pt x="619" y="312"/>
                </a:lnTo>
                <a:lnTo>
                  <a:pt x="620" y="313"/>
                </a:lnTo>
                <a:lnTo>
                  <a:pt x="621" y="314"/>
                </a:lnTo>
                <a:lnTo>
                  <a:pt x="622" y="315"/>
                </a:lnTo>
                <a:lnTo>
                  <a:pt x="623" y="315"/>
                </a:lnTo>
                <a:lnTo>
                  <a:pt x="624" y="316"/>
                </a:lnTo>
                <a:lnTo>
                  <a:pt x="624" y="318"/>
                </a:lnTo>
                <a:lnTo>
                  <a:pt x="625" y="319"/>
                </a:lnTo>
                <a:lnTo>
                  <a:pt x="625" y="320"/>
                </a:lnTo>
                <a:lnTo>
                  <a:pt x="626" y="322"/>
                </a:lnTo>
                <a:lnTo>
                  <a:pt x="626" y="327"/>
                </a:lnTo>
                <a:lnTo>
                  <a:pt x="626" y="329"/>
                </a:lnTo>
                <a:lnTo>
                  <a:pt x="626" y="330"/>
                </a:lnTo>
                <a:lnTo>
                  <a:pt x="626" y="333"/>
                </a:lnTo>
                <a:lnTo>
                  <a:pt x="626" y="335"/>
                </a:lnTo>
                <a:lnTo>
                  <a:pt x="625" y="338"/>
                </a:lnTo>
                <a:lnTo>
                  <a:pt x="625" y="340"/>
                </a:lnTo>
                <a:lnTo>
                  <a:pt x="624" y="341"/>
                </a:lnTo>
                <a:lnTo>
                  <a:pt x="624" y="342"/>
                </a:lnTo>
                <a:lnTo>
                  <a:pt x="623" y="344"/>
                </a:lnTo>
                <a:lnTo>
                  <a:pt x="622" y="345"/>
                </a:lnTo>
                <a:lnTo>
                  <a:pt x="619" y="349"/>
                </a:lnTo>
                <a:lnTo>
                  <a:pt x="615" y="354"/>
                </a:lnTo>
                <a:lnTo>
                  <a:pt x="615" y="355"/>
                </a:lnTo>
                <a:lnTo>
                  <a:pt x="614" y="356"/>
                </a:lnTo>
                <a:lnTo>
                  <a:pt x="613" y="357"/>
                </a:lnTo>
                <a:lnTo>
                  <a:pt x="612" y="359"/>
                </a:lnTo>
                <a:lnTo>
                  <a:pt x="612" y="360"/>
                </a:lnTo>
                <a:lnTo>
                  <a:pt x="611" y="362"/>
                </a:lnTo>
                <a:lnTo>
                  <a:pt x="611" y="363"/>
                </a:lnTo>
                <a:lnTo>
                  <a:pt x="611" y="365"/>
                </a:lnTo>
                <a:lnTo>
                  <a:pt x="611" y="366"/>
                </a:lnTo>
                <a:lnTo>
                  <a:pt x="611" y="368"/>
                </a:lnTo>
                <a:lnTo>
                  <a:pt x="611" y="369"/>
                </a:lnTo>
                <a:lnTo>
                  <a:pt x="612" y="371"/>
                </a:lnTo>
                <a:lnTo>
                  <a:pt x="614" y="376"/>
                </a:lnTo>
                <a:lnTo>
                  <a:pt x="614" y="377"/>
                </a:lnTo>
                <a:lnTo>
                  <a:pt x="614" y="377"/>
                </a:lnTo>
                <a:lnTo>
                  <a:pt x="614" y="379"/>
                </a:lnTo>
                <a:lnTo>
                  <a:pt x="613" y="381"/>
                </a:lnTo>
                <a:lnTo>
                  <a:pt x="612" y="385"/>
                </a:lnTo>
                <a:lnTo>
                  <a:pt x="611" y="388"/>
                </a:lnTo>
                <a:lnTo>
                  <a:pt x="611" y="391"/>
                </a:lnTo>
                <a:lnTo>
                  <a:pt x="611" y="394"/>
                </a:lnTo>
                <a:lnTo>
                  <a:pt x="611" y="395"/>
                </a:lnTo>
                <a:lnTo>
                  <a:pt x="611" y="395"/>
                </a:lnTo>
                <a:lnTo>
                  <a:pt x="611" y="395"/>
                </a:lnTo>
                <a:lnTo>
                  <a:pt x="610" y="395"/>
                </a:lnTo>
                <a:lnTo>
                  <a:pt x="610" y="395"/>
                </a:lnTo>
                <a:lnTo>
                  <a:pt x="608" y="396"/>
                </a:lnTo>
                <a:lnTo>
                  <a:pt x="606" y="396"/>
                </a:lnTo>
                <a:lnTo>
                  <a:pt x="604" y="395"/>
                </a:lnTo>
                <a:lnTo>
                  <a:pt x="602" y="395"/>
                </a:lnTo>
                <a:lnTo>
                  <a:pt x="600" y="395"/>
                </a:lnTo>
                <a:lnTo>
                  <a:pt x="598" y="394"/>
                </a:lnTo>
                <a:lnTo>
                  <a:pt x="595" y="393"/>
                </a:lnTo>
                <a:lnTo>
                  <a:pt x="593" y="392"/>
                </a:lnTo>
                <a:lnTo>
                  <a:pt x="590" y="391"/>
                </a:lnTo>
                <a:lnTo>
                  <a:pt x="588" y="390"/>
                </a:lnTo>
                <a:lnTo>
                  <a:pt x="586" y="389"/>
                </a:lnTo>
                <a:lnTo>
                  <a:pt x="576" y="385"/>
                </a:lnTo>
                <a:lnTo>
                  <a:pt x="572" y="383"/>
                </a:lnTo>
                <a:lnTo>
                  <a:pt x="571" y="382"/>
                </a:lnTo>
                <a:lnTo>
                  <a:pt x="569" y="381"/>
                </a:lnTo>
                <a:lnTo>
                  <a:pt x="567" y="381"/>
                </a:lnTo>
                <a:lnTo>
                  <a:pt x="565" y="380"/>
                </a:lnTo>
                <a:lnTo>
                  <a:pt x="563" y="380"/>
                </a:lnTo>
                <a:lnTo>
                  <a:pt x="562" y="380"/>
                </a:lnTo>
                <a:lnTo>
                  <a:pt x="558" y="379"/>
                </a:lnTo>
                <a:lnTo>
                  <a:pt x="555" y="379"/>
                </a:lnTo>
                <a:lnTo>
                  <a:pt x="553" y="379"/>
                </a:lnTo>
                <a:lnTo>
                  <a:pt x="552" y="379"/>
                </a:lnTo>
                <a:lnTo>
                  <a:pt x="550" y="379"/>
                </a:lnTo>
                <a:lnTo>
                  <a:pt x="546" y="380"/>
                </a:lnTo>
                <a:lnTo>
                  <a:pt x="545" y="380"/>
                </a:lnTo>
                <a:lnTo>
                  <a:pt x="544" y="380"/>
                </a:lnTo>
                <a:lnTo>
                  <a:pt x="543" y="380"/>
                </a:lnTo>
                <a:lnTo>
                  <a:pt x="542" y="380"/>
                </a:lnTo>
                <a:lnTo>
                  <a:pt x="539" y="378"/>
                </a:lnTo>
                <a:lnTo>
                  <a:pt x="537" y="378"/>
                </a:lnTo>
                <a:lnTo>
                  <a:pt x="535" y="378"/>
                </a:lnTo>
                <a:lnTo>
                  <a:pt x="534" y="378"/>
                </a:lnTo>
                <a:lnTo>
                  <a:pt x="533" y="378"/>
                </a:lnTo>
                <a:lnTo>
                  <a:pt x="532" y="378"/>
                </a:lnTo>
                <a:lnTo>
                  <a:pt x="528" y="379"/>
                </a:lnTo>
                <a:lnTo>
                  <a:pt x="526" y="380"/>
                </a:lnTo>
                <a:lnTo>
                  <a:pt x="524" y="380"/>
                </a:lnTo>
                <a:lnTo>
                  <a:pt x="522" y="380"/>
                </a:lnTo>
                <a:lnTo>
                  <a:pt x="518" y="380"/>
                </a:lnTo>
                <a:lnTo>
                  <a:pt x="515" y="379"/>
                </a:lnTo>
                <a:lnTo>
                  <a:pt x="513" y="379"/>
                </a:lnTo>
                <a:lnTo>
                  <a:pt x="509" y="378"/>
                </a:lnTo>
                <a:lnTo>
                  <a:pt x="507" y="377"/>
                </a:lnTo>
                <a:lnTo>
                  <a:pt x="507" y="377"/>
                </a:lnTo>
                <a:lnTo>
                  <a:pt x="506" y="377"/>
                </a:lnTo>
                <a:lnTo>
                  <a:pt x="506" y="377"/>
                </a:lnTo>
                <a:lnTo>
                  <a:pt x="506" y="377"/>
                </a:lnTo>
                <a:lnTo>
                  <a:pt x="505" y="378"/>
                </a:lnTo>
                <a:lnTo>
                  <a:pt x="504" y="379"/>
                </a:lnTo>
                <a:lnTo>
                  <a:pt x="504" y="381"/>
                </a:lnTo>
                <a:lnTo>
                  <a:pt x="503" y="384"/>
                </a:lnTo>
                <a:lnTo>
                  <a:pt x="500" y="395"/>
                </a:lnTo>
                <a:lnTo>
                  <a:pt x="500" y="397"/>
                </a:lnTo>
                <a:lnTo>
                  <a:pt x="499" y="398"/>
                </a:lnTo>
                <a:lnTo>
                  <a:pt x="498" y="400"/>
                </a:lnTo>
                <a:lnTo>
                  <a:pt x="498" y="400"/>
                </a:lnTo>
                <a:lnTo>
                  <a:pt x="497" y="401"/>
                </a:lnTo>
                <a:lnTo>
                  <a:pt x="496" y="402"/>
                </a:lnTo>
                <a:lnTo>
                  <a:pt x="496" y="402"/>
                </a:lnTo>
                <a:lnTo>
                  <a:pt x="495" y="402"/>
                </a:lnTo>
                <a:lnTo>
                  <a:pt x="493" y="402"/>
                </a:lnTo>
                <a:lnTo>
                  <a:pt x="491" y="403"/>
                </a:lnTo>
                <a:lnTo>
                  <a:pt x="488" y="403"/>
                </a:lnTo>
                <a:lnTo>
                  <a:pt x="486" y="402"/>
                </a:lnTo>
                <a:lnTo>
                  <a:pt x="484" y="402"/>
                </a:lnTo>
                <a:lnTo>
                  <a:pt x="478" y="401"/>
                </a:lnTo>
                <a:lnTo>
                  <a:pt x="477" y="401"/>
                </a:lnTo>
                <a:lnTo>
                  <a:pt x="476" y="401"/>
                </a:lnTo>
                <a:lnTo>
                  <a:pt x="475" y="401"/>
                </a:lnTo>
                <a:lnTo>
                  <a:pt x="473" y="401"/>
                </a:lnTo>
                <a:lnTo>
                  <a:pt x="469" y="402"/>
                </a:lnTo>
                <a:lnTo>
                  <a:pt x="467" y="402"/>
                </a:lnTo>
                <a:lnTo>
                  <a:pt x="464" y="403"/>
                </a:lnTo>
                <a:lnTo>
                  <a:pt x="462" y="403"/>
                </a:lnTo>
                <a:lnTo>
                  <a:pt x="461" y="403"/>
                </a:lnTo>
                <a:lnTo>
                  <a:pt x="460" y="403"/>
                </a:lnTo>
                <a:lnTo>
                  <a:pt x="459" y="402"/>
                </a:lnTo>
                <a:lnTo>
                  <a:pt x="458" y="401"/>
                </a:lnTo>
                <a:lnTo>
                  <a:pt x="456" y="401"/>
                </a:lnTo>
                <a:lnTo>
                  <a:pt x="456" y="401"/>
                </a:lnTo>
                <a:lnTo>
                  <a:pt x="455" y="401"/>
                </a:lnTo>
                <a:lnTo>
                  <a:pt x="454" y="401"/>
                </a:lnTo>
                <a:lnTo>
                  <a:pt x="453" y="401"/>
                </a:lnTo>
                <a:lnTo>
                  <a:pt x="452" y="401"/>
                </a:lnTo>
                <a:lnTo>
                  <a:pt x="451" y="402"/>
                </a:lnTo>
                <a:lnTo>
                  <a:pt x="449" y="402"/>
                </a:lnTo>
                <a:lnTo>
                  <a:pt x="448" y="403"/>
                </a:lnTo>
                <a:lnTo>
                  <a:pt x="447" y="404"/>
                </a:lnTo>
                <a:lnTo>
                  <a:pt x="447" y="404"/>
                </a:lnTo>
                <a:lnTo>
                  <a:pt x="444" y="407"/>
                </a:lnTo>
                <a:lnTo>
                  <a:pt x="443" y="409"/>
                </a:lnTo>
                <a:lnTo>
                  <a:pt x="441" y="410"/>
                </a:lnTo>
                <a:lnTo>
                  <a:pt x="440" y="411"/>
                </a:lnTo>
                <a:lnTo>
                  <a:pt x="439" y="412"/>
                </a:lnTo>
                <a:lnTo>
                  <a:pt x="439" y="412"/>
                </a:lnTo>
                <a:lnTo>
                  <a:pt x="438" y="412"/>
                </a:lnTo>
                <a:lnTo>
                  <a:pt x="437" y="412"/>
                </a:lnTo>
                <a:lnTo>
                  <a:pt x="437" y="412"/>
                </a:lnTo>
                <a:lnTo>
                  <a:pt x="436" y="412"/>
                </a:lnTo>
                <a:lnTo>
                  <a:pt x="436" y="412"/>
                </a:lnTo>
                <a:lnTo>
                  <a:pt x="435" y="412"/>
                </a:lnTo>
                <a:lnTo>
                  <a:pt x="435" y="411"/>
                </a:lnTo>
                <a:lnTo>
                  <a:pt x="429" y="403"/>
                </a:lnTo>
                <a:lnTo>
                  <a:pt x="428" y="401"/>
                </a:lnTo>
                <a:lnTo>
                  <a:pt x="426" y="400"/>
                </a:lnTo>
                <a:lnTo>
                  <a:pt x="425" y="399"/>
                </a:lnTo>
                <a:lnTo>
                  <a:pt x="424" y="398"/>
                </a:lnTo>
                <a:lnTo>
                  <a:pt x="420" y="395"/>
                </a:lnTo>
                <a:lnTo>
                  <a:pt x="415" y="392"/>
                </a:lnTo>
                <a:lnTo>
                  <a:pt x="413" y="391"/>
                </a:lnTo>
                <a:lnTo>
                  <a:pt x="411" y="390"/>
                </a:lnTo>
                <a:lnTo>
                  <a:pt x="409" y="389"/>
                </a:lnTo>
                <a:lnTo>
                  <a:pt x="404" y="387"/>
                </a:lnTo>
                <a:lnTo>
                  <a:pt x="398" y="386"/>
                </a:lnTo>
                <a:lnTo>
                  <a:pt x="397" y="385"/>
                </a:lnTo>
                <a:lnTo>
                  <a:pt x="394" y="385"/>
                </a:lnTo>
                <a:lnTo>
                  <a:pt x="393" y="384"/>
                </a:lnTo>
                <a:lnTo>
                  <a:pt x="392" y="384"/>
                </a:lnTo>
                <a:lnTo>
                  <a:pt x="391" y="384"/>
                </a:lnTo>
                <a:lnTo>
                  <a:pt x="389" y="382"/>
                </a:lnTo>
                <a:lnTo>
                  <a:pt x="387" y="381"/>
                </a:lnTo>
                <a:lnTo>
                  <a:pt x="386" y="379"/>
                </a:lnTo>
                <a:lnTo>
                  <a:pt x="384" y="378"/>
                </a:lnTo>
                <a:lnTo>
                  <a:pt x="382" y="375"/>
                </a:lnTo>
                <a:lnTo>
                  <a:pt x="381" y="373"/>
                </a:lnTo>
                <a:lnTo>
                  <a:pt x="379" y="371"/>
                </a:lnTo>
                <a:lnTo>
                  <a:pt x="374" y="365"/>
                </a:lnTo>
                <a:lnTo>
                  <a:pt x="372" y="364"/>
                </a:lnTo>
                <a:lnTo>
                  <a:pt x="370" y="362"/>
                </a:lnTo>
                <a:lnTo>
                  <a:pt x="368" y="361"/>
                </a:lnTo>
                <a:lnTo>
                  <a:pt x="366" y="359"/>
                </a:lnTo>
                <a:lnTo>
                  <a:pt x="364" y="358"/>
                </a:lnTo>
                <a:lnTo>
                  <a:pt x="362" y="357"/>
                </a:lnTo>
                <a:lnTo>
                  <a:pt x="356" y="355"/>
                </a:lnTo>
                <a:lnTo>
                  <a:pt x="351" y="351"/>
                </a:lnTo>
                <a:lnTo>
                  <a:pt x="349" y="351"/>
                </a:lnTo>
                <a:lnTo>
                  <a:pt x="348" y="351"/>
                </a:lnTo>
                <a:lnTo>
                  <a:pt x="344" y="349"/>
                </a:lnTo>
                <a:lnTo>
                  <a:pt x="339" y="348"/>
                </a:lnTo>
                <a:lnTo>
                  <a:pt x="333" y="346"/>
                </a:lnTo>
                <a:lnTo>
                  <a:pt x="332" y="346"/>
                </a:lnTo>
                <a:lnTo>
                  <a:pt x="328" y="344"/>
                </a:lnTo>
                <a:lnTo>
                  <a:pt x="327" y="344"/>
                </a:lnTo>
                <a:lnTo>
                  <a:pt x="326" y="343"/>
                </a:lnTo>
                <a:lnTo>
                  <a:pt x="325" y="343"/>
                </a:lnTo>
                <a:lnTo>
                  <a:pt x="323" y="343"/>
                </a:lnTo>
                <a:lnTo>
                  <a:pt x="317" y="343"/>
                </a:lnTo>
                <a:lnTo>
                  <a:pt x="315" y="343"/>
                </a:lnTo>
                <a:lnTo>
                  <a:pt x="314" y="342"/>
                </a:lnTo>
                <a:lnTo>
                  <a:pt x="313" y="342"/>
                </a:lnTo>
                <a:lnTo>
                  <a:pt x="312" y="342"/>
                </a:lnTo>
                <a:lnTo>
                  <a:pt x="312" y="342"/>
                </a:lnTo>
                <a:lnTo>
                  <a:pt x="311" y="341"/>
                </a:lnTo>
                <a:lnTo>
                  <a:pt x="310" y="341"/>
                </a:lnTo>
                <a:lnTo>
                  <a:pt x="309" y="340"/>
                </a:lnTo>
                <a:lnTo>
                  <a:pt x="307" y="338"/>
                </a:lnTo>
                <a:lnTo>
                  <a:pt x="304" y="334"/>
                </a:lnTo>
                <a:lnTo>
                  <a:pt x="302" y="333"/>
                </a:lnTo>
                <a:lnTo>
                  <a:pt x="300" y="331"/>
                </a:lnTo>
                <a:lnTo>
                  <a:pt x="299" y="330"/>
                </a:lnTo>
                <a:lnTo>
                  <a:pt x="298" y="329"/>
                </a:lnTo>
                <a:lnTo>
                  <a:pt x="297" y="329"/>
                </a:lnTo>
                <a:lnTo>
                  <a:pt x="296" y="328"/>
                </a:lnTo>
                <a:lnTo>
                  <a:pt x="295" y="327"/>
                </a:lnTo>
                <a:lnTo>
                  <a:pt x="293" y="327"/>
                </a:lnTo>
                <a:lnTo>
                  <a:pt x="291" y="326"/>
                </a:lnTo>
                <a:lnTo>
                  <a:pt x="287" y="325"/>
                </a:lnTo>
                <a:lnTo>
                  <a:pt x="284" y="325"/>
                </a:lnTo>
                <a:lnTo>
                  <a:pt x="282" y="324"/>
                </a:lnTo>
                <a:lnTo>
                  <a:pt x="280" y="323"/>
                </a:lnTo>
                <a:lnTo>
                  <a:pt x="279" y="323"/>
                </a:lnTo>
                <a:lnTo>
                  <a:pt x="278" y="322"/>
                </a:lnTo>
                <a:lnTo>
                  <a:pt x="277" y="321"/>
                </a:lnTo>
                <a:lnTo>
                  <a:pt x="276" y="321"/>
                </a:lnTo>
                <a:lnTo>
                  <a:pt x="275" y="320"/>
                </a:lnTo>
                <a:lnTo>
                  <a:pt x="274" y="319"/>
                </a:lnTo>
                <a:lnTo>
                  <a:pt x="273" y="318"/>
                </a:lnTo>
                <a:lnTo>
                  <a:pt x="271" y="315"/>
                </a:lnTo>
                <a:lnTo>
                  <a:pt x="270" y="314"/>
                </a:lnTo>
                <a:lnTo>
                  <a:pt x="269" y="314"/>
                </a:lnTo>
                <a:lnTo>
                  <a:pt x="268" y="313"/>
                </a:lnTo>
                <a:lnTo>
                  <a:pt x="268" y="313"/>
                </a:lnTo>
                <a:lnTo>
                  <a:pt x="267" y="313"/>
                </a:lnTo>
                <a:lnTo>
                  <a:pt x="266" y="313"/>
                </a:lnTo>
                <a:lnTo>
                  <a:pt x="265" y="314"/>
                </a:lnTo>
                <a:lnTo>
                  <a:pt x="264" y="315"/>
                </a:lnTo>
                <a:lnTo>
                  <a:pt x="263" y="316"/>
                </a:lnTo>
                <a:lnTo>
                  <a:pt x="261" y="318"/>
                </a:lnTo>
                <a:lnTo>
                  <a:pt x="260" y="319"/>
                </a:lnTo>
                <a:lnTo>
                  <a:pt x="259" y="321"/>
                </a:lnTo>
                <a:lnTo>
                  <a:pt x="257" y="323"/>
                </a:lnTo>
                <a:lnTo>
                  <a:pt x="256" y="326"/>
                </a:lnTo>
                <a:lnTo>
                  <a:pt x="254" y="330"/>
                </a:lnTo>
                <a:lnTo>
                  <a:pt x="254" y="331"/>
                </a:lnTo>
                <a:lnTo>
                  <a:pt x="253" y="332"/>
                </a:lnTo>
                <a:lnTo>
                  <a:pt x="252" y="334"/>
                </a:lnTo>
                <a:lnTo>
                  <a:pt x="250" y="336"/>
                </a:lnTo>
                <a:lnTo>
                  <a:pt x="248" y="340"/>
                </a:lnTo>
                <a:lnTo>
                  <a:pt x="247" y="340"/>
                </a:lnTo>
                <a:lnTo>
                  <a:pt x="246" y="341"/>
                </a:lnTo>
                <a:lnTo>
                  <a:pt x="245" y="342"/>
                </a:lnTo>
                <a:lnTo>
                  <a:pt x="245" y="342"/>
                </a:lnTo>
                <a:lnTo>
                  <a:pt x="243" y="343"/>
                </a:lnTo>
                <a:lnTo>
                  <a:pt x="242" y="343"/>
                </a:lnTo>
                <a:lnTo>
                  <a:pt x="241" y="343"/>
                </a:lnTo>
                <a:lnTo>
                  <a:pt x="239" y="343"/>
                </a:lnTo>
                <a:lnTo>
                  <a:pt x="237" y="343"/>
                </a:lnTo>
                <a:lnTo>
                  <a:pt x="235" y="343"/>
                </a:lnTo>
                <a:lnTo>
                  <a:pt x="234" y="343"/>
                </a:lnTo>
                <a:lnTo>
                  <a:pt x="233" y="343"/>
                </a:lnTo>
                <a:lnTo>
                  <a:pt x="232" y="342"/>
                </a:lnTo>
                <a:lnTo>
                  <a:pt x="231" y="342"/>
                </a:lnTo>
                <a:lnTo>
                  <a:pt x="229" y="341"/>
                </a:lnTo>
                <a:lnTo>
                  <a:pt x="224" y="339"/>
                </a:lnTo>
                <a:lnTo>
                  <a:pt x="216" y="334"/>
                </a:lnTo>
                <a:lnTo>
                  <a:pt x="213" y="333"/>
                </a:lnTo>
                <a:lnTo>
                  <a:pt x="212" y="332"/>
                </a:lnTo>
                <a:lnTo>
                  <a:pt x="211" y="331"/>
                </a:lnTo>
                <a:lnTo>
                  <a:pt x="210" y="330"/>
                </a:lnTo>
                <a:lnTo>
                  <a:pt x="209" y="329"/>
                </a:lnTo>
                <a:lnTo>
                  <a:pt x="208" y="327"/>
                </a:lnTo>
                <a:lnTo>
                  <a:pt x="207" y="326"/>
                </a:lnTo>
                <a:lnTo>
                  <a:pt x="207" y="325"/>
                </a:lnTo>
                <a:lnTo>
                  <a:pt x="207" y="323"/>
                </a:lnTo>
                <a:lnTo>
                  <a:pt x="207" y="322"/>
                </a:lnTo>
                <a:lnTo>
                  <a:pt x="207" y="320"/>
                </a:lnTo>
                <a:lnTo>
                  <a:pt x="207" y="318"/>
                </a:lnTo>
                <a:lnTo>
                  <a:pt x="208" y="315"/>
                </a:lnTo>
                <a:lnTo>
                  <a:pt x="208" y="314"/>
                </a:lnTo>
                <a:lnTo>
                  <a:pt x="208" y="314"/>
                </a:lnTo>
                <a:lnTo>
                  <a:pt x="208" y="313"/>
                </a:lnTo>
                <a:lnTo>
                  <a:pt x="208" y="312"/>
                </a:lnTo>
                <a:lnTo>
                  <a:pt x="208" y="311"/>
                </a:lnTo>
                <a:lnTo>
                  <a:pt x="207" y="310"/>
                </a:lnTo>
                <a:lnTo>
                  <a:pt x="207" y="310"/>
                </a:lnTo>
                <a:lnTo>
                  <a:pt x="206" y="310"/>
                </a:lnTo>
                <a:lnTo>
                  <a:pt x="203" y="309"/>
                </a:lnTo>
                <a:lnTo>
                  <a:pt x="202" y="309"/>
                </a:lnTo>
                <a:lnTo>
                  <a:pt x="200" y="308"/>
                </a:lnTo>
                <a:lnTo>
                  <a:pt x="199" y="308"/>
                </a:lnTo>
                <a:lnTo>
                  <a:pt x="197" y="307"/>
                </a:lnTo>
                <a:lnTo>
                  <a:pt x="196" y="306"/>
                </a:lnTo>
                <a:lnTo>
                  <a:pt x="194" y="305"/>
                </a:lnTo>
                <a:lnTo>
                  <a:pt x="191" y="303"/>
                </a:lnTo>
                <a:lnTo>
                  <a:pt x="190" y="302"/>
                </a:lnTo>
                <a:lnTo>
                  <a:pt x="188" y="301"/>
                </a:lnTo>
                <a:lnTo>
                  <a:pt x="186" y="301"/>
                </a:lnTo>
                <a:lnTo>
                  <a:pt x="184" y="300"/>
                </a:lnTo>
                <a:lnTo>
                  <a:pt x="182" y="299"/>
                </a:lnTo>
                <a:lnTo>
                  <a:pt x="180" y="299"/>
                </a:lnTo>
                <a:lnTo>
                  <a:pt x="178" y="298"/>
                </a:lnTo>
                <a:lnTo>
                  <a:pt x="177" y="298"/>
                </a:lnTo>
                <a:lnTo>
                  <a:pt x="176" y="297"/>
                </a:lnTo>
                <a:lnTo>
                  <a:pt x="175" y="297"/>
                </a:lnTo>
                <a:lnTo>
                  <a:pt x="174" y="296"/>
                </a:lnTo>
                <a:lnTo>
                  <a:pt x="174" y="296"/>
                </a:lnTo>
                <a:lnTo>
                  <a:pt x="173" y="295"/>
                </a:lnTo>
                <a:lnTo>
                  <a:pt x="173" y="294"/>
                </a:lnTo>
                <a:lnTo>
                  <a:pt x="172" y="293"/>
                </a:lnTo>
                <a:lnTo>
                  <a:pt x="171" y="289"/>
                </a:lnTo>
                <a:lnTo>
                  <a:pt x="171" y="288"/>
                </a:lnTo>
                <a:lnTo>
                  <a:pt x="171" y="288"/>
                </a:lnTo>
                <a:lnTo>
                  <a:pt x="170" y="287"/>
                </a:lnTo>
                <a:lnTo>
                  <a:pt x="170" y="287"/>
                </a:lnTo>
                <a:lnTo>
                  <a:pt x="170" y="286"/>
                </a:lnTo>
                <a:lnTo>
                  <a:pt x="169" y="286"/>
                </a:lnTo>
                <a:lnTo>
                  <a:pt x="168" y="286"/>
                </a:lnTo>
                <a:lnTo>
                  <a:pt x="167" y="285"/>
                </a:lnTo>
                <a:lnTo>
                  <a:pt x="164" y="284"/>
                </a:lnTo>
                <a:lnTo>
                  <a:pt x="162" y="283"/>
                </a:lnTo>
                <a:lnTo>
                  <a:pt x="158" y="283"/>
                </a:lnTo>
                <a:lnTo>
                  <a:pt x="157" y="282"/>
                </a:lnTo>
                <a:lnTo>
                  <a:pt x="155" y="282"/>
                </a:lnTo>
                <a:lnTo>
                  <a:pt x="154" y="281"/>
                </a:lnTo>
                <a:lnTo>
                  <a:pt x="152" y="280"/>
                </a:lnTo>
                <a:lnTo>
                  <a:pt x="150" y="279"/>
                </a:lnTo>
                <a:lnTo>
                  <a:pt x="149" y="278"/>
                </a:lnTo>
                <a:lnTo>
                  <a:pt x="148" y="277"/>
                </a:lnTo>
                <a:lnTo>
                  <a:pt x="147" y="276"/>
                </a:lnTo>
                <a:lnTo>
                  <a:pt x="143" y="272"/>
                </a:lnTo>
                <a:lnTo>
                  <a:pt x="143" y="272"/>
                </a:lnTo>
                <a:lnTo>
                  <a:pt x="142" y="272"/>
                </a:lnTo>
                <a:lnTo>
                  <a:pt x="141" y="271"/>
                </a:lnTo>
                <a:lnTo>
                  <a:pt x="139" y="270"/>
                </a:lnTo>
                <a:lnTo>
                  <a:pt x="135" y="268"/>
                </a:lnTo>
                <a:lnTo>
                  <a:pt x="134" y="268"/>
                </a:lnTo>
                <a:lnTo>
                  <a:pt x="132" y="267"/>
                </a:lnTo>
                <a:lnTo>
                  <a:pt x="131" y="266"/>
                </a:lnTo>
                <a:lnTo>
                  <a:pt x="130" y="266"/>
                </a:lnTo>
                <a:lnTo>
                  <a:pt x="129" y="265"/>
                </a:lnTo>
                <a:lnTo>
                  <a:pt x="126" y="264"/>
                </a:lnTo>
                <a:lnTo>
                  <a:pt x="125" y="264"/>
                </a:lnTo>
                <a:lnTo>
                  <a:pt x="124" y="264"/>
                </a:lnTo>
                <a:lnTo>
                  <a:pt x="123" y="264"/>
                </a:lnTo>
                <a:lnTo>
                  <a:pt x="122" y="264"/>
                </a:lnTo>
                <a:lnTo>
                  <a:pt x="120" y="265"/>
                </a:lnTo>
                <a:lnTo>
                  <a:pt x="119" y="265"/>
                </a:lnTo>
                <a:lnTo>
                  <a:pt x="118" y="265"/>
                </a:lnTo>
                <a:lnTo>
                  <a:pt x="117" y="265"/>
                </a:lnTo>
                <a:lnTo>
                  <a:pt x="115" y="265"/>
                </a:lnTo>
                <a:lnTo>
                  <a:pt x="112" y="264"/>
                </a:lnTo>
                <a:lnTo>
                  <a:pt x="111" y="264"/>
                </a:lnTo>
                <a:lnTo>
                  <a:pt x="110" y="264"/>
                </a:lnTo>
                <a:lnTo>
                  <a:pt x="109" y="264"/>
                </a:lnTo>
                <a:lnTo>
                  <a:pt x="104" y="265"/>
                </a:lnTo>
                <a:lnTo>
                  <a:pt x="102" y="265"/>
                </a:lnTo>
                <a:lnTo>
                  <a:pt x="101" y="265"/>
                </a:lnTo>
                <a:lnTo>
                  <a:pt x="99" y="264"/>
                </a:lnTo>
                <a:lnTo>
                  <a:pt x="97" y="264"/>
                </a:lnTo>
                <a:lnTo>
                  <a:pt x="96" y="264"/>
                </a:lnTo>
                <a:lnTo>
                  <a:pt x="95" y="263"/>
                </a:lnTo>
                <a:lnTo>
                  <a:pt x="94" y="263"/>
                </a:lnTo>
                <a:lnTo>
                  <a:pt x="93" y="263"/>
                </a:lnTo>
                <a:lnTo>
                  <a:pt x="92" y="261"/>
                </a:lnTo>
                <a:lnTo>
                  <a:pt x="89" y="259"/>
                </a:lnTo>
                <a:lnTo>
                  <a:pt x="88" y="258"/>
                </a:lnTo>
                <a:lnTo>
                  <a:pt x="85" y="255"/>
                </a:lnTo>
                <a:lnTo>
                  <a:pt x="84" y="254"/>
                </a:lnTo>
                <a:lnTo>
                  <a:pt x="74" y="247"/>
                </a:lnTo>
                <a:lnTo>
                  <a:pt x="69" y="244"/>
                </a:lnTo>
                <a:lnTo>
                  <a:pt x="67" y="242"/>
                </a:lnTo>
                <a:lnTo>
                  <a:pt x="59" y="236"/>
                </a:lnTo>
                <a:lnTo>
                  <a:pt x="53" y="232"/>
                </a:lnTo>
                <a:lnTo>
                  <a:pt x="53" y="232"/>
                </a:lnTo>
                <a:lnTo>
                  <a:pt x="53" y="231"/>
                </a:lnTo>
                <a:lnTo>
                  <a:pt x="53" y="228"/>
                </a:lnTo>
                <a:lnTo>
                  <a:pt x="54" y="223"/>
                </a:lnTo>
                <a:lnTo>
                  <a:pt x="55" y="218"/>
                </a:lnTo>
                <a:lnTo>
                  <a:pt x="55" y="213"/>
                </a:lnTo>
                <a:lnTo>
                  <a:pt x="55" y="212"/>
                </a:lnTo>
                <a:lnTo>
                  <a:pt x="56" y="211"/>
                </a:lnTo>
                <a:lnTo>
                  <a:pt x="56" y="210"/>
                </a:lnTo>
                <a:lnTo>
                  <a:pt x="56" y="209"/>
                </a:lnTo>
                <a:lnTo>
                  <a:pt x="57" y="208"/>
                </a:lnTo>
                <a:lnTo>
                  <a:pt x="59" y="205"/>
                </a:lnTo>
                <a:lnTo>
                  <a:pt x="60" y="204"/>
                </a:lnTo>
                <a:lnTo>
                  <a:pt x="61" y="203"/>
                </a:lnTo>
                <a:lnTo>
                  <a:pt x="63" y="198"/>
                </a:lnTo>
                <a:lnTo>
                  <a:pt x="64" y="195"/>
                </a:lnTo>
                <a:lnTo>
                  <a:pt x="65" y="193"/>
                </a:lnTo>
                <a:lnTo>
                  <a:pt x="65" y="191"/>
                </a:lnTo>
                <a:lnTo>
                  <a:pt x="66" y="190"/>
                </a:lnTo>
                <a:lnTo>
                  <a:pt x="66" y="189"/>
                </a:lnTo>
                <a:lnTo>
                  <a:pt x="66" y="187"/>
                </a:lnTo>
                <a:lnTo>
                  <a:pt x="65" y="186"/>
                </a:lnTo>
                <a:lnTo>
                  <a:pt x="65" y="182"/>
                </a:lnTo>
                <a:lnTo>
                  <a:pt x="64" y="181"/>
                </a:lnTo>
                <a:lnTo>
                  <a:pt x="64" y="180"/>
                </a:lnTo>
                <a:lnTo>
                  <a:pt x="64" y="179"/>
                </a:lnTo>
                <a:lnTo>
                  <a:pt x="64" y="178"/>
                </a:lnTo>
                <a:lnTo>
                  <a:pt x="65" y="177"/>
                </a:lnTo>
                <a:lnTo>
                  <a:pt x="65" y="174"/>
                </a:lnTo>
                <a:lnTo>
                  <a:pt x="65" y="172"/>
                </a:lnTo>
                <a:lnTo>
                  <a:pt x="65" y="171"/>
                </a:lnTo>
                <a:lnTo>
                  <a:pt x="65" y="170"/>
                </a:lnTo>
                <a:lnTo>
                  <a:pt x="65" y="169"/>
                </a:lnTo>
                <a:lnTo>
                  <a:pt x="65" y="168"/>
                </a:lnTo>
                <a:lnTo>
                  <a:pt x="64" y="167"/>
                </a:lnTo>
                <a:lnTo>
                  <a:pt x="63" y="166"/>
                </a:lnTo>
                <a:lnTo>
                  <a:pt x="62" y="165"/>
                </a:lnTo>
                <a:lnTo>
                  <a:pt x="61" y="164"/>
                </a:lnTo>
                <a:lnTo>
                  <a:pt x="59" y="163"/>
                </a:lnTo>
                <a:lnTo>
                  <a:pt x="58" y="162"/>
                </a:lnTo>
                <a:lnTo>
                  <a:pt x="54" y="160"/>
                </a:lnTo>
                <a:lnTo>
                  <a:pt x="53" y="160"/>
                </a:lnTo>
                <a:lnTo>
                  <a:pt x="50" y="158"/>
                </a:lnTo>
                <a:lnTo>
                  <a:pt x="48" y="156"/>
                </a:lnTo>
                <a:lnTo>
                  <a:pt x="46" y="155"/>
                </a:lnTo>
                <a:lnTo>
                  <a:pt x="45" y="154"/>
                </a:lnTo>
                <a:lnTo>
                  <a:pt x="43" y="152"/>
                </a:lnTo>
                <a:lnTo>
                  <a:pt x="43" y="151"/>
                </a:lnTo>
                <a:lnTo>
                  <a:pt x="42" y="151"/>
                </a:lnTo>
                <a:lnTo>
                  <a:pt x="42" y="150"/>
                </a:lnTo>
                <a:lnTo>
                  <a:pt x="41" y="149"/>
                </a:lnTo>
                <a:lnTo>
                  <a:pt x="41" y="148"/>
                </a:lnTo>
                <a:lnTo>
                  <a:pt x="41" y="147"/>
                </a:lnTo>
                <a:lnTo>
                  <a:pt x="41" y="144"/>
                </a:lnTo>
                <a:lnTo>
                  <a:pt x="40" y="142"/>
                </a:lnTo>
                <a:lnTo>
                  <a:pt x="40" y="142"/>
                </a:lnTo>
                <a:lnTo>
                  <a:pt x="40" y="141"/>
                </a:lnTo>
                <a:lnTo>
                  <a:pt x="40" y="140"/>
                </a:lnTo>
                <a:lnTo>
                  <a:pt x="39" y="140"/>
                </a:lnTo>
                <a:lnTo>
                  <a:pt x="39" y="140"/>
                </a:lnTo>
                <a:lnTo>
                  <a:pt x="37" y="139"/>
                </a:lnTo>
                <a:lnTo>
                  <a:pt x="37" y="139"/>
                </a:lnTo>
                <a:lnTo>
                  <a:pt x="36" y="138"/>
                </a:lnTo>
                <a:lnTo>
                  <a:pt x="35" y="137"/>
                </a:lnTo>
                <a:lnTo>
                  <a:pt x="34" y="137"/>
                </a:lnTo>
                <a:lnTo>
                  <a:pt x="34" y="136"/>
                </a:lnTo>
                <a:lnTo>
                  <a:pt x="33" y="136"/>
                </a:lnTo>
                <a:lnTo>
                  <a:pt x="32" y="136"/>
                </a:lnTo>
                <a:lnTo>
                  <a:pt x="30" y="136"/>
                </a:lnTo>
                <a:lnTo>
                  <a:pt x="29" y="135"/>
                </a:lnTo>
                <a:lnTo>
                  <a:pt x="26" y="135"/>
                </a:lnTo>
                <a:lnTo>
                  <a:pt x="24" y="134"/>
                </a:lnTo>
                <a:lnTo>
                  <a:pt x="23" y="134"/>
                </a:lnTo>
                <a:lnTo>
                  <a:pt x="23" y="133"/>
                </a:lnTo>
                <a:lnTo>
                  <a:pt x="22" y="133"/>
                </a:lnTo>
                <a:lnTo>
                  <a:pt x="21" y="131"/>
                </a:lnTo>
                <a:lnTo>
                  <a:pt x="20" y="131"/>
                </a:lnTo>
                <a:lnTo>
                  <a:pt x="19" y="130"/>
                </a:lnTo>
                <a:lnTo>
                  <a:pt x="17" y="129"/>
                </a:lnTo>
                <a:lnTo>
                  <a:pt x="16" y="129"/>
                </a:lnTo>
                <a:lnTo>
                  <a:pt x="15" y="128"/>
                </a:lnTo>
                <a:lnTo>
                  <a:pt x="12" y="127"/>
                </a:lnTo>
                <a:lnTo>
                  <a:pt x="10" y="127"/>
                </a:lnTo>
                <a:lnTo>
                  <a:pt x="8" y="126"/>
                </a:lnTo>
                <a:lnTo>
                  <a:pt x="7" y="125"/>
                </a:lnTo>
                <a:lnTo>
                  <a:pt x="5" y="124"/>
                </a:lnTo>
                <a:lnTo>
                  <a:pt x="4" y="124"/>
                </a:lnTo>
                <a:lnTo>
                  <a:pt x="3" y="123"/>
                </a:lnTo>
                <a:lnTo>
                  <a:pt x="2" y="122"/>
                </a:lnTo>
                <a:lnTo>
                  <a:pt x="1" y="121"/>
                </a:lnTo>
                <a:lnTo>
                  <a:pt x="1" y="119"/>
                </a:lnTo>
                <a:lnTo>
                  <a:pt x="0" y="118"/>
                </a:lnTo>
                <a:lnTo>
                  <a:pt x="0" y="117"/>
                </a:lnTo>
                <a:lnTo>
                  <a:pt x="0" y="116"/>
                </a:lnTo>
                <a:lnTo>
                  <a:pt x="0" y="116"/>
                </a:lnTo>
                <a:lnTo>
                  <a:pt x="0" y="115"/>
                </a:lnTo>
                <a:lnTo>
                  <a:pt x="0" y="115"/>
                </a:lnTo>
                <a:lnTo>
                  <a:pt x="1" y="114"/>
                </a:lnTo>
                <a:lnTo>
                  <a:pt x="1" y="113"/>
                </a:lnTo>
                <a:lnTo>
                  <a:pt x="2" y="113"/>
                </a:lnTo>
                <a:lnTo>
                  <a:pt x="3" y="112"/>
                </a:lnTo>
                <a:lnTo>
                  <a:pt x="4" y="112"/>
                </a:lnTo>
                <a:lnTo>
                  <a:pt x="5" y="111"/>
                </a:lnTo>
                <a:lnTo>
                  <a:pt x="7" y="110"/>
                </a:lnTo>
                <a:lnTo>
                  <a:pt x="7" y="110"/>
                </a:lnTo>
                <a:lnTo>
                  <a:pt x="8" y="109"/>
                </a:lnTo>
                <a:lnTo>
                  <a:pt x="8" y="109"/>
                </a:lnTo>
                <a:lnTo>
                  <a:pt x="8" y="109"/>
                </a:lnTo>
                <a:lnTo>
                  <a:pt x="8" y="108"/>
                </a:lnTo>
                <a:lnTo>
                  <a:pt x="7" y="108"/>
                </a:lnTo>
                <a:lnTo>
                  <a:pt x="6" y="106"/>
                </a:lnTo>
                <a:lnTo>
                  <a:pt x="6" y="106"/>
                </a:lnTo>
                <a:lnTo>
                  <a:pt x="6" y="105"/>
                </a:lnTo>
                <a:lnTo>
                  <a:pt x="6" y="105"/>
                </a:lnTo>
                <a:lnTo>
                  <a:pt x="6" y="105"/>
                </a:lnTo>
                <a:lnTo>
                  <a:pt x="6" y="104"/>
                </a:lnTo>
                <a:lnTo>
                  <a:pt x="6" y="104"/>
                </a:lnTo>
                <a:lnTo>
                  <a:pt x="6" y="103"/>
                </a:lnTo>
                <a:lnTo>
                  <a:pt x="7" y="102"/>
                </a:lnTo>
                <a:lnTo>
                  <a:pt x="10" y="100"/>
                </a:lnTo>
                <a:lnTo>
                  <a:pt x="11" y="99"/>
                </a:lnTo>
                <a:lnTo>
                  <a:pt x="12" y="98"/>
                </a:lnTo>
                <a:lnTo>
                  <a:pt x="13" y="98"/>
                </a:lnTo>
                <a:lnTo>
                  <a:pt x="13" y="97"/>
                </a:lnTo>
                <a:lnTo>
                  <a:pt x="14" y="96"/>
                </a:lnTo>
                <a:lnTo>
                  <a:pt x="14" y="95"/>
                </a:lnTo>
                <a:lnTo>
                  <a:pt x="14" y="94"/>
                </a:lnTo>
                <a:lnTo>
                  <a:pt x="15" y="93"/>
                </a:lnTo>
                <a:lnTo>
                  <a:pt x="15" y="89"/>
                </a:lnTo>
                <a:lnTo>
                  <a:pt x="15" y="87"/>
                </a:lnTo>
                <a:lnTo>
                  <a:pt x="16" y="86"/>
                </a:lnTo>
                <a:lnTo>
                  <a:pt x="16" y="86"/>
                </a:lnTo>
                <a:lnTo>
                  <a:pt x="17" y="84"/>
                </a:lnTo>
                <a:lnTo>
                  <a:pt x="18" y="83"/>
                </a:lnTo>
                <a:lnTo>
                  <a:pt x="18" y="83"/>
                </a:lnTo>
                <a:lnTo>
                  <a:pt x="17" y="82"/>
                </a:lnTo>
                <a:lnTo>
                  <a:pt x="17" y="82"/>
                </a:lnTo>
                <a:lnTo>
                  <a:pt x="17" y="81"/>
                </a:lnTo>
                <a:lnTo>
                  <a:pt x="15" y="80"/>
                </a:lnTo>
                <a:lnTo>
                  <a:pt x="15" y="79"/>
                </a:lnTo>
                <a:lnTo>
                  <a:pt x="14" y="78"/>
                </a:lnTo>
                <a:lnTo>
                  <a:pt x="14" y="78"/>
                </a:lnTo>
                <a:lnTo>
                  <a:pt x="14" y="77"/>
                </a:lnTo>
                <a:lnTo>
                  <a:pt x="14" y="77"/>
                </a:lnTo>
                <a:lnTo>
                  <a:pt x="14" y="76"/>
                </a:lnTo>
                <a:lnTo>
                  <a:pt x="15" y="76"/>
                </a:lnTo>
                <a:lnTo>
                  <a:pt x="15" y="75"/>
                </a:lnTo>
                <a:lnTo>
                  <a:pt x="16" y="75"/>
                </a:lnTo>
                <a:lnTo>
                  <a:pt x="16" y="74"/>
                </a:lnTo>
                <a:lnTo>
                  <a:pt x="17" y="74"/>
                </a:lnTo>
                <a:lnTo>
                  <a:pt x="19" y="73"/>
                </a:lnTo>
                <a:lnTo>
                  <a:pt x="21" y="73"/>
                </a:lnTo>
                <a:lnTo>
                  <a:pt x="22" y="72"/>
                </a:lnTo>
                <a:lnTo>
                  <a:pt x="23" y="72"/>
                </a:lnTo>
                <a:lnTo>
                  <a:pt x="24" y="71"/>
                </a:lnTo>
                <a:lnTo>
                  <a:pt x="25" y="71"/>
                </a:lnTo>
                <a:lnTo>
                  <a:pt x="25" y="70"/>
                </a:lnTo>
                <a:lnTo>
                  <a:pt x="26" y="70"/>
                </a:lnTo>
                <a:lnTo>
                  <a:pt x="26" y="69"/>
                </a:lnTo>
                <a:lnTo>
                  <a:pt x="27" y="70"/>
                </a:lnTo>
                <a:lnTo>
                  <a:pt x="27" y="71"/>
                </a:lnTo>
                <a:lnTo>
                  <a:pt x="28" y="71"/>
                </a:lnTo>
                <a:lnTo>
                  <a:pt x="29" y="72"/>
                </a:lnTo>
                <a:lnTo>
                  <a:pt x="30" y="73"/>
                </a:lnTo>
                <a:lnTo>
                  <a:pt x="31" y="73"/>
                </a:lnTo>
                <a:lnTo>
                  <a:pt x="32" y="73"/>
                </a:lnTo>
                <a:lnTo>
                  <a:pt x="33" y="74"/>
                </a:lnTo>
                <a:lnTo>
                  <a:pt x="35" y="74"/>
                </a:lnTo>
                <a:lnTo>
                  <a:pt x="36" y="74"/>
                </a:lnTo>
                <a:lnTo>
                  <a:pt x="37" y="74"/>
                </a:lnTo>
                <a:lnTo>
                  <a:pt x="38" y="73"/>
                </a:lnTo>
                <a:lnTo>
                  <a:pt x="40" y="73"/>
                </a:lnTo>
                <a:lnTo>
                  <a:pt x="41" y="73"/>
                </a:lnTo>
                <a:lnTo>
                  <a:pt x="43" y="72"/>
                </a:lnTo>
                <a:lnTo>
                  <a:pt x="44" y="72"/>
                </a:lnTo>
                <a:lnTo>
                  <a:pt x="45" y="71"/>
                </a:lnTo>
                <a:lnTo>
                  <a:pt x="47" y="70"/>
                </a:lnTo>
                <a:lnTo>
                  <a:pt x="49" y="69"/>
                </a:lnTo>
                <a:lnTo>
                  <a:pt x="51" y="67"/>
                </a:lnTo>
                <a:lnTo>
                  <a:pt x="52" y="67"/>
                </a:lnTo>
                <a:lnTo>
                  <a:pt x="54" y="66"/>
                </a:lnTo>
                <a:lnTo>
                  <a:pt x="56" y="65"/>
                </a:lnTo>
                <a:lnTo>
                  <a:pt x="57" y="64"/>
                </a:lnTo>
                <a:lnTo>
                  <a:pt x="59" y="6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 280">
            <a:extLst>
              <a:ext uri="{FF2B5EF4-FFF2-40B4-BE49-F238E27FC236}">
                <a16:creationId xmlns:a16="http://schemas.microsoft.com/office/drawing/2014/main" id="{54478A0B-92C7-4C7C-985F-89EBB8B53B8A}"/>
              </a:ext>
            </a:extLst>
          </p:cNvPr>
          <p:cNvSpPr>
            <a:spLocks/>
          </p:cNvSpPr>
          <p:nvPr/>
        </p:nvSpPr>
        <p:spPr bwMode="auto">
          <a:xfrm>
            <a:off x="9133357" y="4188357"/>
            <a:ext cx="212881" cy="74864"/>
          </a:xfrm>
          <a:custGeom>
            <a:avLst/>
            <a:gdLst>
              <a:gd name="T0" fmla="*/ 1 w 112"/>
              <a:gd name="T1" fmla="*/ 35 h 36"/>
              <a:gd name="T2" fmla="*/ 2 w 112"/>
              <a:gd name="T3" fmla="*/ 34 h 36"/>
              <a:gd name="T4" fmla="*/ 4 w 112"/>
              <a:gd name="T5" fmla="*/ 30 h 36"/>
              <a:gd name="T6" fmla="*/ 6 w 112"/>
              <a:gd name="T7" fmla="*/ 28 h 36"/>
              <a:gd name="T8" fmla="*/ 7 w 112"/>
              <a:gd name="T9" fmla="*/ 27 h 36"/>
              <a:gd name="T10" fmla="*/ 9 w 112"/>
              <a:gd name="T11" fmla="*/ 25 h 36"/>
              <a:gd name="T12" fmla="*/ 12 w 112"/>
              <a:gd name="T13" fmla="*/ 24 h 36"/>
              <a:gd name="T14" fmla="*/ 16 w 112"/>
              <a:gd name="T15" fmla="*/ 23 h 36"/>
              <a:gd name="T16" fmla="*/ 22 w 112"/>
              <a:gd name="T17" fmla="*/ 20 h 36"/>
              <a:gd name="T18" fmla="*/ 23 w 112"/>
              <a:gd name="T19" fmla="*/ 20 h 36"/>
              <a:gd name="T20" fmla="*/ 25 w 112"/>
              <a:gd name="T21" fmla="*/ 20 h 36"/>
              <a:gd name="T22" fmla="*/ 26 w 112"/>
              <a:gd name="T23" fmla="*/ 20 h 36"/>
              <a:gd name="T24" fmla="*/ 27 w 112"/>
              <a:gd name="T25" fmla="*/ 21 h 36"/>
              <a:gd name="T26" fmla="*/ 31 w 112"/>
              <a:gd name="T27" fmla="*/ 24 h 36"/>
              <a:gd name="T28" fmla="*/ 33 w 112"/>
              <a:gd name="T29" fmla="*/ 25 h 36"/>
              <a:gd name="T30" fmla="*/ 35 w 112"/>
              <a:gd name="T31" fmla="*/ 25 h 36"/>
              <a:gd name="T32" fmla="*/ 39 w 112"/>
              <a:gd name="T33" fmla="*/ 25 h 36"/>
              <a:gd name="T34" fmla="*/ 44 w 112"/>
              <a:gd name="T35" fmla="*/ 25 h 36"/>
              <a:gd name="T36" fmla="*/ 48 w 112"/>
              <a:gd name="T37" fmla="*/ 25 h 36"/>
              <a:gd name="T38" fmla="*/ 52 w 112"/>
              <a:gd name="T39" fmla="*/ 26 h 36"/>
              <a:gd name="T40" fmla="*/ 56 w 112"/>
              <a:gd name="T41" fmla="*/ 26 h 36"/>
              <a:gd name="T42" fmla="*/ 58 w 112"/>
              <a:gd name="T43" fmla="*/ 26 h 36"/>
              <a:gd name="T44" fmla="*/ 61 w 112"/>
              <a:gd name="T45" fmla="*/ 27 h 36"/>
              <a:gd name="T46" fmla="*/ 67 w 112"/>
              <a:gd name="T47" fmla="*/ 29 h 36"/>
              <a:gd name="T48" fmla="*/ 69 w 112"/>
              <a:gd name="T49" fmla="*/ 29 h 36"/>
              <a:gd name="T50" fmla="*/ 72 w 112"/>
              <a:gd name="T51" fmla="*/ 29 h 36"/>
              <a:gd name="T52" fmla="*/ 75 w 112"/>
              <a:gd name="T53" fmla="*/ 29 h 36"/>
              <a:gd name="T54" fmla="*/ 80 w 112"/>
              <a:gd name="T55" fmla="*/ 26 h 36"/>
              <a:gd name="T56" fmla="*/ 86 w 112"/>
              <a:gd name="T57" fmla="*/ 24 h 36"/>
              <a:gd name="T58" fmla="*/ 89 w 112"/>
              <a:gd name="T59" fmla="*/ 23 h 36"/>
              <a:gd name="T60" fmla="*/ 91 w 112"/>
              <a:gd name="T61" fmla="*/ 21 h 36"/>
              <a:gd name="T62" fmla="*/ 93 w 112"/>
              <a:gd name="T63" fmla="*/ 20 h 36"/>
              <a:gd name="T64" fmla="*/ 94 w 112"/>
              <a:gd name="T65" fmla="*/ 18 h 36"/>
              <a:gd name="T66" fmla="*/ 96 w 112"/>
              <a:gd name="T67" fmla="*/ 13 h 36"/>
              <a:gd name="T68" fmla="*/ 98 w 112"/>
              <a:gd name="T69" fmla="*/ 10 h 36"/>
              <a:gd name="T70" fmla="*/ 99 w 112"/>
              <a:gd name="T71" fmla="*/ 9 h 36"/>
              <a:gd name="T72" fmla="*/ 101 w 112"/>
              <a:gd name="T73" fmla="*/ 6 h 36"/>
              <a:gd name="T74" fmla="*/ 104 w 112"/>
              <a:gd name="T75" fmla="*/ 4 h 36"/>
              <a:gd name="T76" fmla="*/ 108 w 112"/>
              <a:gd name="T77" fmla="*/ 2 h 36"/>
              <a:gd name="T78" fmla="*/ 111 w 112"/>
              <a:gd name="T79" fmla="*/ 0 h 36"/>
              <a:gd name="T80" fmla="*/ 112 w 112"/>
              <a:gd name="T8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1" y="35"/>
                </a:lnTo>
                <a:lnTo>
                  <a:pt x="2" y="35"/>
                </a:lnTo>
                <a:lnTo>
                  <a:pt x="2" y="34"/>
                </a:lnTo>
                <a:lnTo>
                  <a:pt x="4" y="31"/>
                </a:lnTo>
                <a:lnTo>
                  <a:pt x="4" y="30"/>
                </a:lnTo>
                <a:lnTo>
                  <a:pt x="5" y="29"/>
                </a:lnTo>
                <a:lnTo>
                  <a:pt x="6" y="28"/>
                </a:lnTo>
                <a:lnTo>
                  <a:pt x="6" y="27"/>
                </a:lnTo>
                <a:lnTo>
                  <a:pt x="7" y="27"/>
                </a:lnTo>
                <a:lnTo>
                  <a:pt x="8" y="26"/>
                </a:lnTo>
                <a:lnTo>
                  <a:pt x="9" y="25"/>
                </a:lnTo>
                <a:lnTo>
                  <a:pt x="11" y="25"/>
                </a:lnTo>
                <a:lnTo>
                  <a:pt x="12" y="24"/>
                </a:lnTo>
                <a:lnTo>
                  <a:pt x="15" y="24"/>
                </a:lnTo>
                <a:lnTo>
                  <a:pt x="16" y="23"/>
                </a:lnTo>
                <a:lnTo>
                  <a:pt x="17" y="23"/>
                </a:lnTo>
                <a:lnTo>
                  <a:pt x="22" y="20"/>
                </a:lnTo>
                <a:lnTo>
                  <a:pt x="23" y="20"/>
                </a:lnTo>
                <a:lnTo>
                  <a:pt x="23" y="20"/>
                </a:lnTo>
                <a:lnTo>
                  <a:pt x="24" y="20"/>
                </a:lnTo>
                <a:lnTo>
                  <a:pt x="25" y="20"/>
                </a:lnTo>
                <a:lnTo>
                  <a:pt x="25" y="20"/>
                </a:lnTo>
                <a:lnTo>
                  <a:pt x="26" y="20"/>
                </a:lnTo>
                <a:lnTo>
                  <a:pt x="26" y="21"/>
                </a:lnTo>
                <a:lnTo>
                  <a:pt x="27" y="21"/>
                </a:lnTo>
                <a:lnTo>
                  <a:pt x="29" y="23"/>
                </a:lnTo>
                <a:lnTo>
                  <a:pt x="31" y="24"/>
                </a:lnTo>
                <a:lnTo>
                  <a:pt x="32" y="25"/>
                </a:lnTo>
                <a:lnTo>
                  <a:pt x="33" y="25"/>
                </a:lnTo>
                <a:lnTo>
                  <a:pt x="34" y="25"/>
                </a:lnTo>
                <a:lnTo>
                  <a:pt x="35" y="25"/>
                </a:lnTo>
                <a:lnTo>
                  <a:pt x="37" y="25"/>
                </a:lnTo>
                <a:lnTo>
                  <a:pt x="39" y="25"/>
                </a:lnTo>
                <a:lnTo>
                  <a:pt x="40" y="25"/>
                </a:lnTo>
                <a:lnTo>
                  <a:pt x="44" y="25"/>
                </a:lnTo>
                <a:lnTo>
                  <a:pt x="46" y="25"/>
                </a:lnTo>
                <a:lnTo>
                  <a:pt x="48" y="25"/>
                </a:lnTo>
                <a:lnTo>
                  <a:pt x="50" y="26"/>
                </a:lnTo>
                <a:lnTo>
                  <a:pt x="52" y="26"/>
                </a:lnTo>
                <a:lnTo>
                  <a:pt x="54" y="26"/>
                </a:lnTo>
                <a:lnTo>
                  <a:pt x="56" y="26"/>
                </a:lnTo>
                <a:lnTo>
                  <a:pt x="57" y="26"/>
                </a:lnTo>
                <a:lnTo>
                  <a:pt x="58" y="26"/>
                </a:lnTo>
                <a:lnTo>
                  <a:pt x="59" y="26"/>
                </a:lnTo>
                <a:lnTo>
                  <a:pt x="61" y="27"/>
                </a:lnTo>
                <a:lnTo>
                  <a:pt x="65" y="29"/>
                </a:lnTo>
                <a:lnTo>
                  <a:pt x="67" y="29"/>
                </a:lnTo>
                <a:lnTo>
                  <a:pt x="68" y="29"/>
                </a:lnTo>
                <a:lnTo>
                  <a:pt x="69" y="29"/>
                </a:lnTo>
                <a:lnTo>
                  <a:pt x="71" y="29"/>
                </a:lnTo>
                <a:lnTo>
                  <a:pt x="72" y="29"/>
                </a:lnTo>
                <a:lnTo>
                  <a:pt x="73" y="29"/>
                </a:lnTo>
                <a:lnTo>
                  <a:pt x="75" y="29"/>
                </a:lnTo>
                <a:lnTo>
                  <a:pt x="78" y="27"/>
                </a:lnTo>
                <a:lnTo>
                  <a:pt x="80" y="26"/>
                </a:lnTo>
                <a:lnTo>
                  <a:pt x="82" y="25"/>
                </a:lnTo>
                <a:lnTo>
                  <a:pt x="86" y="24"/>
                </a:lnTo>
                <a:lnTo>
                  <a:pt x="87" y="24"/>
                </a:lnTo>
                <a:lnTo>
                  <a:pt x="89" y="23"/>
                </a:lnTo>
                <a:lnTo>
                  <a:pt x="90" y="22"/>
                </a:lnTo>
                <a:lnTo>
                  <a:pt x="91" y="21"/>
                </a:lnTo>
                <a:lnTo>
                  <a:pt x="92" y="20"/>
                </a:lnTo>
                <a:lnTo>
                  <a:pt x="93" y="20"/>
                </a:lnTo>
                <a:lnTo>
                  <a:pt x="93" y="19"/>
                </a:lnTo>
                <a:lnTo>
                  <a:pt x="94" y="18"/>
                </a:lnTo>
                <a:lnTo>
                  <a:pt x="95" y="17"/>
                </a:lnTo>
                <a:lnTo>
                  <a:pt x="96" y="13"/>
                </a:lnTo>
                <a:lnTo>
                  <a:pt x="97" y="11"/>
                </a:lnTo>
                <a:lnTo>
                  <a:pt x="98" y="10"/>
                </a:lnTo>
                <a:lnTo>
                  <a:pt x="98" y="10"/>
                </a:lnTo>
                <a:lnTo>
                  <a:pt x="99" y="9"/>
                </a:lnTo>
                <a:lnTo>
                  <a:pt x="100" y="8"/>
                </a:lnTo>
                <a:lnTo>
                  <a:pt x="101" y="6"/>
                </a:lnTo>
                <a:lnTo>
                  <a:pt x="102" y="5"/>
                </a:lnTo>
                <a:lnTo>
                  <a:pt x="104" y="4"/>
                </a:lnTo>
                <a:lnTo>
                  <a:pt x="106" y="3"/>
                </a:lnTo>
                <a:lnTo>
                  <a:pt x="108" y="2"/>
                </a:lnTo>
                <a:lnTo>
                  <a:pt x="111" y="0"/>
                </a:lnTo>
                <a:lnTo>
                  <a:pt x="111" y="0"/>
                </a:lnTo>
                <a:lnTo>
                  <a:pt x="112" y="0"/>
                </a:lnTo>
                <a:lnTo>
                  <a:pt x="11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 281">
            <a:extLst>
              <a:ext uri="{FF2B5EF4-FFF2-40B4-BE49-F238E27FC236}">
                <a16:creationId xmlns:a16="http://schemas.microsoft.com/office/drawing/2014/main" id="{9F5AD7C4-6623-4CB5-A55F-4B6DDFA9337C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1229768" cy="1249809"/>
          </a:xfrm>
          <a:custGeom>
            <a:avLst/>
            <a:gdLst>
              <a:gd name="T0" fmla="*/ 318 w 647"/>
              <a:gd name="T1" fmla="*/ 33 h 601"/>
              <a:gd name="T2" fmla="*/ 352 w 647"/>
              <a:gd name="T3" fmla="*/ 46 h 601"/>
              <a:gd name="T4" fmla="*/ 378 w 647"/>
              <a:gd name="T5" fmla="*/ 65 h 601"/>
              <a:gd name="T6" fmla="*/ 411 w 647"/>
              <a:gd name="T7" fmla="*/ 81 h 601"/>
              <a:gd name="T8" fmla="*/ 438 w 647"/>
              <a:gd name="T9" fmla="*/ 111 h 601"/>
              <a:gd name="T10" fmla="*/ 468 w 647"/>
              <a:gd name="T11" fmla="*/ 82 h 601"/>
              <a:gd name="T12" fmla="*/ 500 w 647"/>
              <a:gd name="T13" fmla="*/ 97 h 601"/>
              <a:gd name="T14" fmla="*/ 542 w 647"/>
              <a:gd name="T15" fmla="*/ 116 h 601"/>
              <a:gd name="T16" fmla="*/ 597 w 647"/>
              <a:gd name="T17" fmla="*/ 153 h 601"/>
              <a:gd name="T18" fmla="*/ 633 w 647"/>
              <a:gd name="T19" fmla="*/ 197 h 601"/>
              <a:gd name="T20" fmla="*/ 647 w 647"/>
              <a:gd name="T21" fmla="*/ 219 h 601"/>
              <a:gd name="T22" fmla="*/ 627 w 647"/>
              <a:gd name="T23" fmla="*/ 237 h 601"/>
              <a:gd name="T24" fmla="*/ 630 w 647"/>
              <a:gd name="T25" fmla="*/ 262 h 601"/>
              <a:gd name="T26" fmla="*/ 609 w 647"/>
              <a:gd name="T27" fmla="*/ 255 h 601"/>
              <a:gd name="T28" fmla="*/ 613 w 647"/>
              <a:gd name="T29" fmla="*/ 271 h 601"/>
              <a:gd name="T30" fmla="*/ 584 w 647"/>
              <a:gd name="T31" fmla="*/ 286 h 601"/>
              <a:gd name="T32" fmla="*/ 571 w 647"/>
              <a:gd name="T33" fmla="*/ 330 h 601"/>
              <a:gd name="T34" fmla="*/ 586 w 647"/>
              <a:gd name="T35" fmla="*/ 349 h 601"/>
              <a:gd name="T36" fmla="*/ 587 w 647"/>
              <a:gd name="T37" fmla="*/ 374 h 601"/>
              <a:gd name="T38" fmla="*/ 583 w 647"/>
              <a:gd name="T39" fmla="*/ 400 h 601"/>
              <a:gd name="T40" fmla="*/ 588 w 647"/>
              <a:gd name="T41" fmla="*/ 427 h 601"/>
              <a:gd name="T42" fmla="*/ 576 w 647"/>
              <a:gd name="T43" fmla="*/ 450 h 601"/>
              <a:gd name="T44" fmla="*/ 567 w 647"/>
              <a:gd name="T45" fmla="*/ 472 h 601"/>
              <a:gd name="T46" fmla="*/ 577 w 647"/>
              <a:gd name="T47" fmla="*/ 495 h 601"/>
              <a:gd name="T48" fmla="*/ 543 w 647"/>
              <a:gd name="T49" fmla="*/ 515 h 601"/>
              <a:gd name="T50" fmla="*/ 521 w 647"/>
              <a:gd name="T51" fmla="*/ 536 h 601"/>
              <a:gd name="T52" fmla="*/ 476 w 647"/>
              <a:gd name="T53" fmla="*/ 541 h 601"/>
              <a:gd name="T54" fmla="*/ 449 w 647"/>
              <a:gd name="T55" fmla="*/ 532 h 601"/>
              <a:gd name="T56" fmla="*/ 427 w 647"/>
              <a:gd name="T57" fmla="*/ 543 h 601"/>
              <a:gd name="T58" fmla="*/ 393 w 647"/>
              <a:gd name="T59" fmla="*/ 563 h 601"/>
              <a:gd name="T60" fmla="*/ 360 w 647"/>
              <a:gd name="T61" fmla="*/ 593 h 601"/>
              <a:gd name="T62" fmla="*/ 327 w 647"/>
              <a:gd name="T63" fmla="*/ 597 h 601"/>
              <a:gd name="T64" fmla="*/ 301 w 647"/>
              <a:gd name="T65" fmla="*/ 596 h 601"/>
              <a:gd name="T66" fmla="*/ 276 w 647"/>
              <a:gd name="T67" fmla="*/ 579 h 601"/>
              <a:gd name="T68" fmla="*/ 259 w 647"/>
              <a:gd name="T69" fmla="*/ 563 h 601"/>
              <a:gd name="T70" fmla="*/ 281 w 647"/>
              <a:gd name="T71" fmla="*/ 525 h 601"/>
              <a:gd name="T72" fmla="*/ 301 w 647"/>
              <a:gd name="T73" fmla="*/ 504 h 601"/>
              <a:gd name="T74" fmla="*/ 286 w 647"/>
              <a:gd name="T75" fmla="*/ 481 h 601"/>
              <a:gd name="T76" fmla="*/ 251 w 647"/>
              <a:gd name="T77" fmla="*/ 484 h 601"/>
              <a:gd name="T78" fmla="*/ 210 w 647"/>
              <a:gd name="T79" fmla="*/ 473 h 601"/>
              <a:gd name="T80" fmla="*/ 192 w 647"/>
              <a:gd name="T81" fmla="*/ 428 h 601"/>
              <a:gd name="T82" fmla="*/ 155 w 647"/>
              <a:gd name="T83" fmla="*/ 425 h 601"/>
              <a:gd name="T84" fmla="*/ 112 w 647"/>
              <a:gd name="T85" fmla="*/ 419 h 601"/>
              <a:gd name="T86" fmla="*/ 83 w 647"/>
              <a:gd name="T87" fmla="*/ 402 h 601"/>
              <a:gd name="T88" fmla="*/ 82 w 647"/>
              <a:gd name="T89" fmla="*/ 387 h 601"/>
              <a:gd name="T90" fmla="*/ 40 w 647"/>
              <a:gd name="T91" fmla="*/ 381 h 601"/>
              <a:gd name="T92" fmla="*/ 7 w 647"/>
              <a:gd name="T93" fmla="*/ 344 h 601"/>
              <a:gd name="T94" fmla="*/ 1 w 647"/>
              <a:gd name="T95" fmla="*/ 316 h 601"/>
              <a:gd name="T96" fmla="*/ 11 w 647"/>
              <a:gd name="T97" fmla="*/ 270 h 601"/>
              <a:gd name="T98" fmla="*/ 7 w 647"/>
              <a:gd name="T99" fmla="*/ 227 h 601"/>
              <a:gd name="T100" fmla="*/ 16 w 647"/>
              <a:gd name="T101" fmla="*/ 205 h 601"/>
              <a:gd name="T102" fmla="*/ 37 w 647"/>
              <a:gd name="T103" fmla="*/ 182 h 601"/>
              <a:gd name="T104" fmla="*/ 53 w 647"/>
              <a:gd name="T105" fmla="*/ 171 h 601"/>
              <a:gd name="T106" fmla="*/ 101 w 647"/>
              <a:gd name="T107" fmla="*/ 170 h 601"/>
              <a:gd name="T108" fmla="*/ 123 w 647"/>
              <a:gd name="T109" fmla="*/ 162 h 601"/>
              <a:gd name="T110" fmla="*/ 150 w 647"/>
              <a:gd name="T111" fmla="*/ 150 h 601"/>
              <a:gd name="T112" fmla="*/ 124 w 647"/>
              <a:gd name="T113" fmla="*/ 123 h 601"/>
              <a:gd name="T114" fmla="*/ 139 w 647"/>
              <a:gd name="T115" fmla="*/ 78 h 601"/>
              <a:gd name="T116" fmla="*/ 158 w 647"/>
              <a:gd name="T117" fmla="*/ 70 h 601"/>
              <a:gd name="T118" fmla="*/ 205 w 647"/>
              <a:gd name="T119" fmla="*/ 46 h 601"/>
              <a:gd name="T120" fmla="*/ 228 w 647"/>
              <a:gd name="T121" fmla="*/ 37 h 601"/>
              <a:gd name="T122" fmla="*/ 236 w 647"/>
              <a:gd name="T123" fmla="*/ 12 h 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47" h="601">
                <a:moveTo>
                  <a:pt x="262" y="4"/>
                </a:moveTo>
                <a:lnTo>
                  <a:pt x="270" y="10"/>
                </a:lnTo>
                <a:lnTo>
                  <a:pt x="272" y="12"/>
                </a:lnTo>
                <a:lnTo>
                  <a:pt x="277" y="15"/>
                </a:lnTo>
                <a:lnTo>
                  <a:pt x="287" y="22"/>
                </a:lnTo>
                <a:lnTo>
                  <a:pt x="288" y="23"/>
                </a:lnTo>
                <a:lnTo>
                  <a:pt x="291" y="26"/>
                </a:lnTo>
                <a:lnTo>
                  <a:pt x="292" y="27"/>
                </a:lnTo>
                <a:lnTo>
                  <a:pt x="295" y="29"/>
                </a:lnTo>
                <a:lnTo>
                  <a:pt x="296" y="31"/>
                </a:lnTo>
                <a:lnTo>
                  <a:pt x="297" y="31"/>
                </a:lnTo>
                <a:lnTo>
                  <a:pt x="298" y="31"/>
                </a:lnTo>
                <a:lnTo>
                  <a:pt x="299" y="32"/>
                </a:lnTo>
                <a:lnTo>
                  <a:pt x="300" y="32"/>
                </a:lnTo>
                <a:lnTo>
                  <a:pt x="302" y="32"/>
                </a:lnTo>
                <a:lnTo>
                  <a:pt x="304" y="33"/>
                </a:lnTo>
                <a:lnTo>
                  <a:pt x="305" y="33"/>
                </a:lnTo>
                <a:lnTo>
                  <a:pt x="307" y="33"/>
                </a:lnTo>
                <a:lnTo>
                  <a:pt x="312" y="32"/>
                </a:lnTo>
                <a:lnTo>
                  <a:pt x="313" y="32"/>
                </a:lnTo>
                <a:lnTo>
                  <a:pt x="314" y="32"/>
                </a:lnTo>
                <a:lnTo>
                  <a:pt x="315" y="32"/>
                </a:lnTo>
                <a:lnTo>
                  <a:pt x="318" y="33"/>
                </a:lnTo>
                <a:lnTo>
                  <a:pt x="320" y="33"/>
                </a:lnTo>
                <a:lnTo>
                  <a:pt x="321" y="33"/>
                </a:lnTo>
                <a:lnTo>
                  <a:pt x="322" y="33"/>
                </a:lnTo>
                <a:lnTo>
                  <a:pt x="323" y="33"/>
                </a:lnTo>
                <a:lnTo>
                  <a:pt x="325" y="32"/>
                </a:lnTo>
                <a:lnTo>
                  <a:pt x="326" y="32"/>
                </a:lnTo>
                <a:lnTo>
                  <a:pt x="327" y="32"/>
                </a:lnTo>
                <a:lnTo>
                  <a:pt x="328" y="32"/>
                </a:lnTo>
                <a:lnTo>
                  <a:pt x="329" y="32"/>
                </a:lnTo>
                <a:lnTo>
                  <a:pt x="332" y="33"/>
                </a:lnTo>
                <a:lnTo>
                  <a:pt x="333" y="34"/>
                </a:lnTo>
                <a:lnTo>
                  <a:pt x="334" y="34"/>
                </a:lnTo>
                <a:lnTo>
                  <a:pt x="335" y="35"/>
                </a:lnTo>
                <a:lnTo>
                  <a:pt x="337" y="36"/>
                </a:lnTo>
                <a:lnTo>
                  <a:pt x="338" y="36"/>
                </a:lnTo>
                <a:lnTo>
                  <a:pt x="342" y="38"/>
                </a:lnTo>
                <a:lnTo>
                  <a:pt x="344" y="39"/>
                </a:lnTo>
                <a:lnTo>
                  <a:pt x="345" y="40"/>
                </a:lnTo>
                <a:lnTo>
                  <a:pt x="346" y="40"/>
                </a:lnTo>
                <a:lnTo>
                  <a:pt x="346" y="40"/>
                </a:lnTo>
                <a:lnTo>
                  <a:pt x="350" y="44"/>
                </a:lnTo>
                <a:lnTo>
                  <a:pt x="351" y="45"/>
                </a:lnTo>
                <a:lnTo>
                  <a:pt x="352" y="46"/>
                </a:lnTo>
                <a:lnTo>
                  <a:pt x="353" y="47"/>
                </a:lnTo>
                <a:lnTo>
                  <a:pt x="355" y="48"/>
                </a:lnTo>
                <a:lnTo>
                  <a:pt x="357" y="49"/>
                </a:lnTo>
                <a:lnTo>
                  <a:pt x="358" y="50"/>
                </a:lnTo>
                <a:lnTo>
                  <a:pt x="360" y="50"/>
                </a:lnTo>
                <a:lnTo>
                  <a:pt x="361" y="51"/>
                </a:lnTo>
                <a:lnTo>
                  <a:pt x="365" y="51"/>
                </a:lnTo>
                <a:lnTo>
                  <a:pt x="367" y="52"/>
                </a:lnTo>
                <a:lnTo>
                  <a:pt x="370" y="53"/>
                </a:lnTo>
                <a:lnTo>
                  <a:pt x="371" y="54"/>
                </a:lnTo>
                <a:lnTo>
                  <a:pt x="372" y="54"/>
                </a:lnTo>
                <a:lnTo>
                  <a:pt x="373" y="54"/>
                </a:lnTo>
                <a:lnTo>
                  <a:pt x="373" y="55"/>
                </a:lnTo>
                <a:lnTo>
                  <a:pt x="373" y="55"/>
                </a:lnTo>
                <a:lnTo>
                  <a:pt x="374" y="56"/>
                </a:lnTo>
                <a:lnTo>
                  <a:pt x="374" y="56"/>
                </a:lnTo>
                <a:lnTo>
                  <a:pt x="374" y="57"/>
                </a:lnTo>
                <a:lnTo>
                  <a:pt x="375" y="61"/>
                </a:lnTo>
                <a:lnTo>
                  <a:pt x="376" y="62"/>
                </a:lnTo>
                <a:lnTo>
                  <a:pt x="376" y="63"/>
                </a:lnTo>
                <a:lnTo>
                  <a:pt x="377" y="64"/>
                </a:lnTo>
                <a:lnTo>
                  <a:pt x="377" y="64"/>
                </a:lnTo>
                <a:lnTo>
                  <a:pt x="378" y="65"/>
                </a:lnTo>
                <a:lnTo>
                  <a:pt x="379" y="65"/>
                </a:lnTo>
                <a:lnTo>
                  <a:pt x="380" y="66"/>
                </a:lnTo>
                <a:lnTo>
                  <a:pt x="381" y="66"/>
                </a:lnTo>
                <a:lnTo>
                  <a:pt x="383" y="67"/>
                </a:lnTo>
                <a:lnTo>
                  <a:pt x="385" y="67"/>
                </a:lnTo>
                <a:lnTo>
                  <a:pt x="387" y="68"/>
                </a:lnTo>
                <a:lnTo>
                  <a:pt x="389" y="69"/>
                </a:lnTo>
                <a:lnTo>
                  <a:pt x="391" y="69"/>
                </a:lnTo>
                <a:lnTo>
                  <a:pt x="393" y="70"/>
                </a:lnTo>
                <a:lnTo>
                  <a:pt x="394" y="71"/>
                </a:lnTo>
                <a:lnTo>
                  <a:pt x="397" y="73"/>
                </a:lnTo>
                <a:lnTo>
                  <a:pt x="399" y="74"/>
                </a:lnTo>
                <a:lnTo>
                  <a:pt x="400" y="75"/>
                </a:lnTo>
                <a:lnTo>
                  <a:pt x="402" y="76"/>
                </a:lnTo>
                <a:lnTo>
                  <a:pt x="403" y="76"/>
                </a:lnTo>
                <a:lnTo>
                  <a:pt x="405" y="77"/>
                </a:lnTo>
                <a:lnTo>
                  <a:pt x="406" y="77"/>
                </a:lnTo>
                <a:lnTo>
                  <a:pt x="409" y="78"/>
                </a:lnTo>
                <a:lnTo>
                  <a:pt x="410" y="78"/>
                </a:lnTo>
                <a:lnTo>
                  <a:pt x="410" y="78"/>
                </a:lnTo>
                <a:lnTo>
                  <a:pt x="411" y="79"/>
                </a:lnTo>
                <a:lnTo>
                  <a:pt x="411" y="80"/>
                </a:lnTo>
                <a:lnTo>
                  <a:pt x="411" y="81"/>
                </a:lnTo>
                <a:lnTo>
                  <a:pt x="411" y="82"/>
                </a:lnTo>
                <a:lnTo>
                  <a:pt x="411" y="82"/>
                </a:lnTo>
                <a:lnTo>
                  <a:pt x="411" y="83"/>
                </a:lnTo>
                <a:lnTo>
                  <a:pt x="410" y="86"/>
                </a:lnTo>
                <a:lnTo>
                  <a:pt x="410" y="88"/>
                </a:lnTo>
                <a:lnTo>
                  <a:pt x="410" y="90"/>
                </a:lnTo>
                <a:lnTo>
                  <a:pt x="410" y="91"/>
                </a:lnTo>
                <a:lnTo>
                  <a:pt x="410" y="93"/>
                </a:lnTo>
                <a:lnTo>
                  <a:pt x="410" y="94"/>
                </a:lnTo>
                <a:lnTo>
                  <a:pt x="411" y="95"/>
                </a:lnTo>
                <a:lnTo>
                  <a:pt x="412" y="97"/>
                </a:lnTo>
                <a:lnTo>
                  <a:pt x="413" y="98"/>
                </a:lnTo>
                <a:lnTo>
                  <a:pt x="414" y="99"/>
                </a:lnTo>
                <a:lnTo>
                  <a:pt x="415" y="100"/>
                </a:lnTo>
                <a:lnTo>
                  <a:pt x="416" y="101"/>
                </a:lnTo>
                <a:lnTo>
                  <a:pt x="419" y="102"/>
                </a:lnTo>
                <a:lnTo>
                  <a:pt x="427" y="107"/>
                </a:lnTo>
                <a:lnTo>
                  <a:pt x="432" y="109"/>
                </a:lnTo>
                <a:lnTo>
                  <a:pt x="434" y="110"/>
                </a:lnTo>
                <a:lnTo>
                  <a:pt x="435" y="110"/>
                </a:lnTo>
                <a:lnTo>
                  <a:pt x="436" y="111"/>
                </a:lnTo>
                <a:lnTo>
                  <a:pt x="437" y="111"/>
                </a:lnTo>
                <a:lnTo>
                  <a:pt x="438" y="111"/>
                </a:lnTo>
                <a:lnTo>
                  <a:pt x="440" y="111"/>
                </a:lnTo>
                <a:lnTo>
                  <a:pt x="442" y="111"/>
                </a:lnTo>
                <a:lnTo>
                  <a:pt x="444" y="111"/>
                </a:lnTo>
                <a:lnTo>
                  <a:pt x="445" y="111"/>
                </a:lnTo>
                <a:lnTo>
                  <a:pt x="446" y="111"/>
                </a:lnTo>
                <a:lnTo>
                  <a:pt x="448" y="110"/>
                </a:lnTo>
                <a:lnTo>
                  <a:pt x="448" y="110"/>
                </a:lnTo>
                <a:lnTo>
                  <a:pt x="449" y="109"/>
                </a:lnTo>
                <a:lnTo>
                  <a:pt x="450" y="108"/>
                </a:lnTo>
                <a:lnTo>
                  <a:pt x="451" y="108"/>
                </a:lnTo>
                <a:lnTo>
                  <a:pt x="453" y="104"/>
                </a:lnTo>
                <a:lnTo>
                  <a:pt x="455" y="102"/>
                </a:lnTo>
                <a:lnTo>
                  <a:pt x="456" y="100"/>
                </a:lnTo>
                <a:lnTo>
                  <a:pt x="457" y="99"/>
                </a:lnTo>
                <a:lnTo>
                  <a:pt x="457" y="98"/>
                </a:lnTo>
                <a:lnTo>
                  <a:pt x="459" y="94"/>
                </a:lnTo>
                <a:lnTo>
                  <a:pt x="460" y="91"/>
                </a:lnTo>
                <a:lnTo>
                  <a:pt x="462" y="89"/>
                </a:lnTo>
                <a:lnTo>
                  <a:pt x="463" y="87"/>
                </a:lnTo>
                <a:lnTo>
                  <a:pt x="464" y="86"/>
                </a:lnTo>
                <a:lnTo>
                  <a:pt x="466" y="84"/>
                </a:lnTo>
                <a:lnTo>
                  <a:pt x="467" y="83"/>
                </a:lnTo>
                <a:lnTo>
                  <a:pt x="468" y="82"/>
                </a:lnTo>
                <a:lnTo>
                  <a:pt x="469" y="81"/>
                </a:lnTo>
                <a:lnTo>
                  <a:pt x="470" y="81"/>
                </a:lnTo>
                <a:lnTo>
                  <a:pt x="471" y="81"/>
                </a:lnTo>
                <a:lnTo>
                  <a:pt x="471" y="81"/>
                </a:lnTo>
                <a:lnTo>
                  <a:pt x="472" y="82"/>
                </a:lnTo>
                <a:lnTo>
                  <a:pt x="473" y="82"/>
                </a:lnTo>
                <a:lnTo>
                  <a:pt x="474" y="83"/>
                </a:lnTo>
                <a:lnTo>
                  <a:pt x="476" y="86"/>
                </a:lnTo>
                <a:lnTo>
                  <a:pt x="477" y="87"/>
                </a:lnTo>
                <a:lnTo>
                  <a:pt x="478" y="88"/>
                </a:lnTo>
                <a:lnTo>
                  <a:pt x="479" y="89"/>
                </a:lnTo>
                <a:lnTo>
                  <a:pt x="480" y="89"/>
                </a:lnTo>
                <a:lnTo>
                  <a:pt x="481" y="90"/>
                </a:lnTo>
                <a:lnTo>
                  <a:pt x="482" y="91"/>
                </a:lnTo>
                <a:lnTo>
                  <a:pt x="483" y="91"/>
                </a:lnTo>
                <a:lnTo>
                  <a:pt x="485" y="92"/>
                </a:lnTo>
                <a:lnTo>
                  <a:pt x="487" y="93"/>
                </a:lnTo>
                <a:lnTo>
                  <a:pt x="490" y="93"/>
                </a:lnTo>
                <a:lnTo>
                  <a:pt x="494" y="94"/>
                </a:lnTo>
                <a:lnTo>
                  <a:pt x="496" y="95"/>
                </a:lnTo>
                <a:lnTo>
                  <a:pt x="498" y="95"/>
                </a:lnTo>
                <a:lnTo>
                  <a:pt x="499" y="96"/>
                </a:lnTo>
                <a:lnTo>
                  <a:pt x="500" y="97"/>
                </a:lnTo>
                <a:lnTo>
                  <a:pt x="501" y="97"/>
                </a:lnTo>
                <a:lnTo>
                  <a:pt x="502" y="98"/>
                </a:lnTo>
                <a:lnTo>
                  <a:pt x="503" y="99"/>
                </a:lnTo>
                <a:lnTo>
                  <a:pt x="505" y="101"/>
                </a:lnTo>
                <a:lnTo>
                  <a:pt x="507" y="102"/>
                </a:lnTo>
                <a:lnTo>
                  <a:pt x="510" y="106"/>
                </a:lnTo>
                <a:lnTo>
                  <a:pt x="512" y="108"/>
                </a:lnTo>
                <a:lnTo>
                  <a:pt x="513" y="109"/>
                </a:lnTo>
                <a:lnTo>
                  <a:pt x="514" y="109"/>
                </a:lnTo>
                <a:lnTo>
                  <a:pt x="515" y="110"/>
                </a:lnTo>
                <a:lnTo>
                  <a:pt x="515" y="110"/>
                </a:lnTo>
                <a:lnTo>
                  <a:pt x="516" y="110"/>
                </a:lnTo>
                <a:lnTo>
                  <a:pt x="517" y="110"/>
                </a:lnTo>
                <a:lnTo>
                  <a:pt x="518" y="111"/>
                </a:lnTo>
                <a:lnTo>
                  <a:pt x="520" y="111"/>
                </a:lnTo>
                <a:lnTo>
                  <a:pt x="526" y="111"/>
                </a:lnTo>
                <a:lnTo>
                  <a:pt x="528" y="111"/>
                </a:lnTo>
                <a:lnTo>
                  <a:pt x="529" y="111"/>
                </a:lnTo>
                <a:lnTo>
                  <a:pt x="530" y="112"/>
                </a:lnTo>
                <a:lnTo>
                  <a:pt x="531" y="112"/>
                </a:lnTo>
                <a:lnTo>
                  <a:pt x="535" y="114"/>
                </a:lnTo>
                <a:lnTo>
                  <a:pt x="536" y="114"/>
                </a:lnTo>
                <a:lnTo>
                  <a:pt x="542" y="116"/>
                </a:lnTo>
                <a:lnTo>
                  <a:pt x="547" y="117"/>
                </a:lnTo>
                <a:lnTo>
                  <a:pt x="551" y="119"/>
                </a:lnTo>
                <a:lnTo>
                  <a:pt x="552" y="119"/>
                </a:lnTo>
                <a:lnTo>
                  <a:pt x="554" y="119"/>
                </a:lnTo>
                <a:lnTo>
                  <a:pt x="559" y="123"/>
                </a:lnTo>
                <a:lnTo>
                  <a:pt x="565" y="125"/>
                </a:lnTo>
                <a:lnTo>
                  <a:pt x="567" y="126"/>
                </a:lnTo>
                <a:lnTo>
                  <a:pt x="569" y="127"/>
                </a:lnTo>
                <a:lnTo>
                  <a:pt x="571" y="129"/>
                </a:lnTo>
                <a:lnTo>
                  <a:pt x="573" y="130"/>
                </a:lnTo>
                <a:lnTo>
                  <a:pt x="575" y="132"/>
                </a:lnTo>
                <a:lnTo>
                  <a:pt x="577" y="133"/>
                </a:lnTo>
                <a:lnTo>
                  <a:pt x="582" y="139"/>
                </a:lnTo>
                <a:lnTo>
                  <a:pt x="584" y="141"/>
                </a:lnTo>
                <a:lnTo>
                  <a:pt x="585" y="143"/>
                </a:lnTo>
                <a:lnTo>
                  <a:pt x="587" y="146"/>
                </a:lnTo>
                <a:lnTo>
                  <a:pt x="589" y="147"/>
                </a:lnTo>
                <a:lnTo>
                  <a:pt x="590" y="149"/>
                </a:lnTo>
                <a:lnTo>
                  <a:pt x="592" y="150"/>
                </a:lnTo>
                <a:lnTo>
                  <a:pt x="594" y="152"/>
                </a:lnTo>
                <a:lnTo>
                  <a:pt x="595" y="152"/>
                </a:lnTo>
                <a:lnTo>
                  <a:pt x="596" y="152"/>
                </a:lnTo>
                <a:lnTo>
                  <a:pt x="597" y="153"/>
                </a:lnTo>
                <a:lnTo>
                  <a:pt x="600" y="153"/>
                </a:lnTo>
                <a:lnTo>
                  <a:pt x="601" y="154"/>
                </a:lnTo>
                <a:lnTo>
                  <a:pt x="607" y="155"/>
                </a:lnTo>
                <a:lnTo>
                  <a:pt x="612" y="157"/>
                </a:lnTo>
                <a:lnTo>
                  <a:pt x="614" y="158"/>
                </a:lnTo>
                <a:lnTo>
                  <a:pt x="616" y="159"/>
                </a:lnTo>
                <a:lnTo>
                  <a:pt x="618" y="160"/>
                </a:lnTo>
                <a:lnTo>
                  <a:pt x="623" y="163"/>
                </a:lnTo>
                <a:lnTo>
                  <a:pt x="627" y="166"/>
                </a:lnTo>
                <a:lnTo>
                  <a:pt x="628" y="167"/>
                </a:lnTo>
                <a:lnTo>
                  <a:pt x="629" y="168"/>
                </a:lnTo>
                <a:lnTo>
                  <a:pt x="631" y="169"/>
                </a:lnTo>
                <a:lnTo>
                  <a:pt x="632" y="171"/>
                </a:lnTo>
                <a:lnTo>
                  <a:pt x="638" y="179"/>
                </a:lnTo>
                <a:lnTo>
                  <a:pt x="638" y="180"/>
                </a:lnTo>
                <a:lnTo>
                  <a:pt x="638" y="181"/>
                </a:lnTo>
                <a:lnTo>
                  <a:pt x="638" y="182"/>
                </a:lnTo>
                <a:lnTo>
                  <a:pt x="638" y="184"/>
                </a:lnTo>
                <a:lnTo>
                  <a:pt x="637" y="186"/>
                </a:lnTo>
                <a:lnTo>
                  <a:pt x="636" y="189"/>
                </a:lnTo>
                <a:lnTo>
                  <a:pt x="634" y="195"/>
                </a:lnTo>
                <a:lnTo>
                  <a:pt x="634" y="196"/>
                </a:lnTo>
                <a:lnTo>
                  <a:pt x="633" y="197"/>
                </a:lnTo>
                <a:lnTo>
                  <a:pt x="633" y="198"/>
                </a:lnTo>
                <a:lnTo>
                  <a:pt x="633" y="199"/>
                </a:lnTo>
                <a:lnTo>
                  <a:pt x="633" y="199"/>
                </a:lnTo>
                <a:lnTo>
                  <a:pt x="634" y="200"/>
                </a:lnTo>
                <a:lnTo>
                  <a:pt x="634" y="201"/>
                </a:lnTo>
                <a:lnTo>
                  <a:pt x="635" y="202"/>
                </a:lnTo>
                <a:lnTo>
                  <a:pt x="636" y="204"/>
                </a:lnTo>
                <a:lnTo>
                  <a:pt x="637" y="204"/>
                </a:lnTo>
                <a:lnTo>
                  <a:pt x="639" y="205"/>
                </a:lnTo>
                <a:lnTo>
                  <a:pt x="642" y="207"/>
                </a:lnTo>
                <a:lnTo>
                  <a:pt x="643" y="208"/>
                </a:lnTo>
                <a:lnTo>
                  <a:pt x="644" y="209"/>
                </a:lnTo>
                <a:lnTo>
                  <a:pt x="645" y="210"/>
                </a:lnTo>
                <a:lnTo>
                  <a:pt x="646" y="210"/>
                </a:lnTo>
                <a:lnTo>
                  <a:pt x="646" y="211"/>
                </a:lnTo>
                <a:lnTo>
                  <a:pt x="647" y="212"/>
                </a:lnTo>
                <a:lnTo>
                  <a:pt x="647" y="213"/>
                </a:lnTo>
                <a:lnTo>
                  <a:pt x="647" y="214"/>
                </a:lnTo>
                <a:lnTo>
                  <a:pt x="647" y="215"/>
                </a:lnTo>
                <a:lnTo>
                  <a:pt x="647" y="216"/>
                </a:lnTo>
                <a:lnTo>
                  <a:pt x="647" y="217"/>
                </a:lnTo>
                <a:lnTo>
                  <a:pt x="647" y="218"/>
                </a:lnTo>
                <a:lnTo>
                  <a:pt x="647" y="219"/>
                </a:lnTo>
                <a:lnTo>
                  <a:pt x="647" y="220"/>
                </a:lnTo>
                <a:lnTo>
                  <a:pt x="646" y="222"/>
                </a:lnTo>
                <a:lnTo>
                  <a:pt x="645" y="224"/>
                </a:lnTo>
                <a:lnTo>
                  <a:pt x="644" y="225"/>
                </a:lnTo>
                <a:lnTo>
                  <a:pt x="642" y="227"/>
                </a:lnTo>
                <a:lnTo>
                  <a:pt x="640" y="229"/>
                </a:lnTo>
                <a:lnTo>
                  <a:pt x="639" y="231"/>
                </a:lnTo>
                <a:lnTo>
                  <a:pt x="637" y="232"/>
                </a:lnTo>
                <a:lnTo>
                  <a:pt x="636" y="232"/>
                </a:lnTo>
                <a:lnTo>
                  <a:pt x="635" y="233"/>
                </a:lnTo>
                <a:lnTo>
                  <a:pt x="634" y="233"/>
                </a:lnTo>
                <a:lnTo>
                  <a:pt x="633" y="234"/>
                </a:lnTo>
                <a:lnTo>
                  <a:pt x="632" y="234"/>
                </a:lnTo>
                <a:lnTo>
                  <a:pt x="631" y="234"/>
                </a:lnTo>
                <a:lnTo>
                  <a:pt x="629" y="234"/>
                </a:lnTo>
                <a:lnTo>
                  <a:pt x="628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4"/>
                </a:lnTo>
                <a:lnTo>
                  <a:pt x="627" y="235"/>
                </a:lnTo>
                <a:lnTo>
                  <a:pt x="627" y="236"/>
                </a:lnTo>
                <a:lnTo>
                  <a:pt x="627" y="237"/>
                </a:lnTo>
                <a:lnTo>
                  <a:pt x="628" y="238"/>
                </a:lnTo>
                <a:lnTo>
                  <a:pt x="628" y="239"/>
                </a:lnTo>
                <a:lnTo>
                  <a:pt x="629" y="240"/>
                </a:lnTo>
                <a:lnTo>
                  <a:pt x="630" y="241"/>
                </a:lnTo>
                <a:lnTo>
                  <a:pt x="632" y="243"/>
                </a:lnTo>
                <a:lnTo>
                  <a:pt x="633" y="244"/>
                </a:lnTo>
                <a:lnTo>
                  <a:pt x="634" y="245"/>
                </a:lnTo>
                <a:lnTo>
                  <a:pt x="635" y="247"/>
                </a:lnTo>
                <a:lnTo>
                  <a:pt x="635" y="248"/>
                </a:lnTo>
                <a:lnTo>
                  <a:pt x="635" y="249"/>
                </a:lnTo>
                <a:lnTo>
                  <a:pt x="635" y="250"/>
                </a:lnTo>
                <a:lnTo>
                  <a:pt x="635" y="251"/>
                </a:lnTo>
                <a:lnTo>
                  <a:pt x="635" y="251"/>
                </a:lnTo>
                <a:lnTo>
                  <a:pt x="635" y="252"/>
                </a:lnTo>
                <a:lnTo>
                  <a:pt x="635" y="253"/>
                </a:lnTo>
                <a:lnTo>
                  <a:pt x="634" y="256"/>
                </a:lnTo>
                <a:lnTo>
                  <a:pt x="633" y="259"/>
                </a:lnTo>
                <a:lnTo>
                  <a:pt x="633" y="260"/>
                </a:lnTo>
                <a:lnTo>
                  <a:pt x="632" y="261"/>
                </a:lnTo>
                <a:lnTo>
                  <a:pt x="632" y="261"/>
                </a:lnTo>
                <a:lnTo>
                  <a:pt x="631" y="262"/>
                </a:lnTo>
                <a:lnTo>
                  <a:pt x="630" y="262"/>
                </a:lnTo>
                <a:lnTo>
                  <a:pt x="630" y="262"/>
                </a:lnTo>
                <a:lnTo>
                  <a:pt x="629" y="263"/>
                </a:lnTo>
                <a:lnTo>
                  <a:pt x="627" y="263"/>
                </a:lnTo>
                <a:lnTo>
                  <a:pt x="626" y="263"/>
                </a:lnTo>
                <a:lnTo>
                  <a:pt x="626" y="262"/>
                </a:lnTo>
                <a:lnTo>
                  <a:pt x="625" y="262"/>
                </a:lnTo>
                <a:lnTo>
                  <a:pt x="624" y="262"/>
                </a:lnTo>
                <a:lnTo>
                  <a:pt x="624" y="261"/>
                </a:lnTo>
                <a:lnTo>
                  <a:pt x="623" y="260"/>
                </a:lnTo>
                <a:lnTo>
                  <a:pt x="622" y="259"/>
                </a:lnTo>
                <a:lnTo>
                  <a:pt x="622" y="259"/>
                </a:lnTo>
                <a:lnTo>
                  <a:pt x="621" y="257"/>
                </a:lnTo>
                <a:lnTo>
                  <a:pt x="620" y="255"/>
                </a:lnTo>
                <a:lnTo>
                  <a:pt x="620" y="255"/>
                </a:lnTo>
                <a:lnTo>
                  <a:pt x="619" y="255"/>
                </a:lnTo>
                <a:lnTo>
                  <a:pt x="619" y="254"/>
                </a:lnTo>
                <a:lnTo>
                  <a:pt x="618" y="254"/>
                </a:lnTo>
                <a:lnTo>
                  <a:pt x="617" y="254"/>
                </a:lnTo>
                <a:lnTo>
                  <a:pt x="616" y="253"/>
                </a:lnTo>
                <a:lnTo>
                  <a:pt x="615" y="253"/>
                </a:lnTo>
                <a:lnTo>
                  <a:pt x="613" y="254"/>
                </a:lnTo>
                <a:lnTo>
                  <a:pt x="612" y="254"/>
                </a:lnTo>
                <a:lnTo>
                  <a:pt x="611" y="255"/>
                </a:lnTo>
                <a:lnTo>
                  <a:pt x="609" y="255"/>
                </a:lnTo>
                <a:lnTo>
                  <a:pt x="608" y="256"/>
                </a:lnTo>
                <a:lnTo>
                  <a:pt x="607" y="257"/>
                </a:lnTo>
                <a:lnTo>
                  <a:pt x="606" y="258"/>
                </a:lnTo>
                <a:lnTo>
                  <a:pt x="604" y="260"/>
                </a:lnTo>
                <a:lnTo>
                  <a:pt x="603" y="261"/>
                </a:lnTo>
                <a:lnTo>
                  <a:pt x="603" y="262"/>
                </a:lnTo>
                <a:lnTo>
                  <a:pt x="602" y="263"/>
                </a:lnTo>
                <a:lnTo>
                  <a:pt x="602" y="263"/>
                </a:lnTo>
                <a:lnTo>
                  <a:pt x="602" y="264"/>
                </a:lnTo>
                <a:lnTo>
                  <a:pt x="602" y="264"/>
                </a:lnTo>
                <a:lnTo>
                  <a:pt x="602" y="265"/>
                </a:lnTo>
                <a:lnTo>
                  <a:pt x="602" y="265"/>
                </a:lnTo>
                <a:lnTo>
                  <a:pt x="603" y="265"/>
                </a:lnTo>
                <a:lnTo>
                  <a:pt x="604" y="265"/>
                </a:lnTo>
                <a:lnTo>
                  <a:pt x="608" y="266"/>
                </a:lnTo>
                <a:lnTo>
                  <a:pt x="609" y="267"/>
                </a:lnTo>
                <a:lnTo>
                  <a:pt x="610" y="267"/>
                </a:lnTo>
                <a:lnTo>
                  <a:pt x="611" y="268"/>
                </a:lnTo>
                <a:lnTo>
                  <a:pt x="611" y="268"/>
                </a:lnTo>
                <a:lnTo>
                  <a:pt x="612" y="269"/>
                </a:lnTo>
                <a:lnTo>
                  <a:pt x="612" y="269"/>
                </a:lnTo>
                <a:lnTo>
                  <a:pt x="613" y="270"/>
                </a:lnTo>
                <a:lnTo>
                  <a:pt x="613" y="271"/>
                </a:lnTo>
                <a:lnTo>
                  <a:pt x="613" y="271"/>
                </a:lnTo>
                <a:lnTo>
                  <a:pt x="613" y="272"/>
                </a:lnTo>
                <a:lnTo>
                  <a:pt x="612" y="273"/>
                </a:lnTo>
                <a:lnTo>
                  <a:pt x="612" y="273"/>
                </a:lnTo>
                <a:lnTo>
                  <a:pt x="612" y="274"/>
                </a:lnTo>
                <a:lnTo>
                  <a:pt x="611" y="275"/>
                </a:lnTo>
                <a:lnTo>
                  <a:pt x="610" y="276"/>
                </a:lnTo>
                <a:lnTo>
                  <a:pt x="609" y="276"/>
                </a:lnTo>
                <a:lnTo>
                  <a:pt x="608" y="277"/>
                </a:lnTo>
                <a:lnTo>
                  <a:pt x="606" y="277"/>
                </a:lnTo>
                <a:lnTo>
                  <a:pt x="603" y="278"/>
                </a:lnTo>
                <a:lnTo>
                  <a:pt x="600" y="278"/>
                </a:lnTo>
                <a:lnTo>
                  <a:pt x="596" y="278"/>
                </a:lnTo>
                <a:lnTo>
                  <a:pt x="594" y="279"/>
                </a:lnTo>
                <a:lnTo>
                  <a:pt x="592" y="279"/>
                </a:lnTo>
                <a:lnTo>
                  <a:pt x="591" y="280"/>
                </a:lnTo>
                <a:lnTo>
                  <a:pt x="589" y="281"/>
                </a:lnTo>
                <a:lnTo>
                  <a:pt x="588" y="282"/>
                </a:lnTo>
                <a:lnTo>
                  <a:pt x="587" y="282"/>
                </a:lnTo>
                <a:lnTo>
                  <a:pt x="587" y="283"/>
                </a:lnTo>
                <a:lnTo>
                  <a:pt x="586" y="284"/>
                </a:lnTo>
                <a:lnTo>
                  <a:pt x="585" y="285"/>
                </a:lnTo>
                <a:lnTo>
                  <a:pt x="584" y="286"/>
                </a:lnTo>
                <a:lnTo>
                  <a:pt x="583" y="288"/>
                </a:lnTo>
                <a:lnTo>
                  <a:pt x="581" y="292"/>
                </a:lnTo>
                <a:lnTo>
                  <a:pt x="580" y="293"/>
                </a:lnTo>
                <a:lnTo>
                  <a:pt x="579" y="295"/>
                </a:lnTo>
                <a:lnTo>
                  <a:pt x="577" y="298"/>
                </a:lnTo>
                <a:lnTo>
                  <a:pt x="575" y="299"/>
                </a:lnTo>
                <a:lnTo>
                  <a:pt x="574" y="301"/>
                </a:lnTo>
                <a:lnTo>
                  <a:pt x="573" y="303"/>
                </a:lnTo>
                <a:lnTo>
                  <a:pt x="573" y="304"/>
                </a:lnTo>
                <a:lnTo>
                  <a:pt x="573" y="305"/>
                </a:lnTo>
                <a:lnTo>
                  <a:pt x="572" y="307"/>
                </a:lnTo>
                <a:lnTo>
                  <a:pt x="572" y="311"/>
                </a:lnTo>
                <a:lnTo>
                  <a:pt x="572" y="314"/>
                </a:lnTo>
                <a:lnTo>
                  <a:pt x="572" y="316"/>
                </a:lnTo>
                <a:lnTo>
                  <a:pt x="571" y="319"/>
                </a:lnTo>
                <a:lnTo>
                  <a:pt x="570" y="323"/>
                </a:lnTo>
                <a:lnTo>
                  <a:pt x="570" y="325"/>
                </a:lnTo>
                <a:lnTo>
                  <a:pt x="570" y="326"/>
                </a:lnTo>
                <a:lnTo>
                  <a:pt x="570" y="327"/>
                </a:lnTo>
                <a:lnTo>
                  <a:pt x="570" y="328"/>
                </a:lnTo>
                <a:lnTo>
                  <a:pt x="570" y="329"/>
                </a:lnTo>
                <a:lnTo>
                  <a:pt x="571" y="329"/>
                </a:lnTo>
                <a:lnTo>
                  <a:pt x="571" y="330"/>
                </a:lnTo>
                <a:lnTo>
                  <a:pt x="572" y="331"/>
                </a:lnTo>
                <a:lnTo>
                  <a:pt x="573" y="331"/>
                </a:lnTo>
                <a:lnTo>
                  <a:pt x="577" y="335"/>
                </a:lnTo>
                <a:lnTo>
                  <a:pt x="584" y="340"/>
                </a:lnTo>
                <a:lnTo>
                  <a:pt x="585" y="340"/>
                </a:lnTo>
                <a:lnTo>
                  <a:pt x="585" y="341"/>
                </a:lnTo>
                <a:lnTo>
                  <a:pt x="585" y="341"/>
                </a:lnTo>
                <a:lnTo>
                  <a:pt x="586" y="342"/>
                </a:lnTo>
                <a:lnTo>
                  <a:pt x="585" y="342"/>
                </a:lnTo>
                <a:lnTo>
                  <a:pt x="585" y="342"/>
                </a:lnTo>
                <a:lnTo>
                  <a:pt x="585" y="343"/>
                </a:lnTo>
                <a:lnTo>
                  <a:pt x="583" y="344"/>
                </a:lnTo>
                <a:lnTo>
                  <a:pt x="583" y="344"/>
                </a:lnTo>
                <a:lnTo>
                  <a:pt x="582" y="345"/>
                </a:lnTo>
                <a:lnTo>
                  <a:pt x="582" y="345"/>
                </a:lnTo>
                <a:lnTo>
                  <a:pt x="582" y="346"/>
                </a:lnTo>
                <a:lnTo>
                  <a:pt x="582" y="346"/>
                </a:lnTo>
                <a:lnTo>
                  <a:pt x="582" y="347"/>
                </a:lnTo>
                <a:lnTo>
                  <a:pt x="583" y="347"/>
                </a:lnTo>
                <a:lnTo>
                  <a:pt x="583" y="348"/>
                </a:lnTo>
                <a:lnTo>
                  <a:pt x="584" y="348"/>
                </a:lnTo>
                <a:lnTo>
                  <a:pt x="585" y="349"/>
                </a:lnTo>
                <a:lnTo>
                  <a:pt x="586" y="349"/>
                </a:lnTo>
                <a:lnTo>
                  <a:pt x="588" y="350"/>
                </a:lnTo>
                <a:lnTo>
                  <a:pt x="589" y="350"/>
                </a:lnTo>
                <a:lnTo>
                  <a:pt x="593" y="351"/>
                </a:lnTo>
                <a:lnTo>
                  <a:pt x="594" y="352"/>
                </a:lnTo>
                <a:lnTo>
                  <a:pt x="594" y="352"/>
                </a:lnTo>
                <a:lnTo>
                  <a:pt x="595" y="353"/>
                </a:lnTo>
                <a:lnTo>
                  <a:pt x="595" y="353"/>
                </a:lnTo>
                <a:lnTo>
                  <a:pt x="596" y="354"/>
                </a:lnTo>
                <a:lnTo>
                  <a:pt x="596" y="355"/>
                </a:lnTo>
                <a:lnTo>
                  <a:pt x="596" y="355"/>
                </a:lnTo>
                <a:lnTo>
                  <a:pt x="596" y="356"/>
                </a:lnTo>
                <a:lnTo>
                  <a:pt x="596" y="357"/>
                </a:lnTo>
                <a:lnTo>
                  <a:pt x="596" y="358"/>
                </a:lnTo>
                <a:lnTo>
                  <a:pt x="595" y="359"/>
                </a:lnTo>
                <a:lnTo>
                  <a:pt x="595" y="360"/>
                </a:lnTo>
                <a:lnTo>
                  <a:pt x="594" y="362"/>
                </a:lnTo>
                <a:lnTo>
                  <a:pt x="593" y="364"/>
                </a:lnTo>
                <a:lnTo>
                  <a:pt x="589" y="369"/>
                </a:lnTo>
                <a:lnTo>
                  <a:pt x="588" y="370"/>
                </a:lnTo>
                <a:lnTo>
                  <a:pt x="588" y="371"/>
                </a:lnTo>
                <a:lnTo>
                  <a:pt x="587" y="372"/>
                </a:lnTo>
                <a:lnTo>
                  <a:pt x="587" y="373"/>
                </a:lnTo>
                <a:lnTo>
                  <a:pt x="587" y="374"/>
                </a:lnTo>
                <a:lnTo>
                  <a:pt x="587" y="375"/>
                </a:lnTo>
                <a:lnTo>
                  <a:pt x="587" y="376"/>
                </a:lnTo>
                <a:lnTo>
                  <a:pt x="588" y="378"/>
                </a:lnTo>
                <a:lnTo>
                  <a:pt x="588" y="379"/>
                </a:lnTo>
                <a:lnTo>
                  <a:pt x="589" y="380"/>
                </a:lnTo>
                <a:lnTo>
                  <a:pt x="589" y="381"/>
                </a:lnTo>
                <a:lnTo>
                  <a:pt x="591" y="383"/>
                </a:lnTo>
                <a:lnTo>
                  <a:pt x="592" y="385"/>
                </a:lnTo>
                <a:lnTo>
                  <a:pt x="593" y="386"/>
                </a:lnTo>
                <a:lnTo>
                  <a:pt x="593" y="387"/>
                </a:lnTo>
                <a:lnTo>
                  <a:pt x="594" y="388"/>
                </a:lnTo>
                <a:lnTo>
                  <a:pt x="594" y="388"/>
                </a:lnTo>
                <a:lnTo>
                  <a:pt x="594" y="389"/>
                </a:lnTo>
                <a:lnTo>
                  <a:pt x="594" y="390"/>
                </a:lnTo>
                <a:lnTo>
                  <a:pt x="593" y="391"/>
                </a:lnTo>
                <a:lnTo>
                  <a:pt x="593" y="391"/>
                </a:lnTo>
                <a:lnTo>
                  <a:pt x="592" y="392"/>
                </a:lnTo>
                <a:lnTo>
                  <a:pt x="592" y="392"/>
                </a:lnTo>
                <a:lnTo>
                  <a:pt x="590" y="394"/>
                </a:lnTo>
                <a:lnTo>
                  <a:pt x="587" y="396"/>
                </a:lnTo>
                <a:lnTo>
                  <a:pt x="585" y="397"/>
                </a:lnTo>
                <a:lnTo>
                  <a:pt x="584" y="398"/>
                </a:lnTo>
                <a:lnTo>
                  <a:pt x="583" y="400"/>
                </a:lnTo>
                <a:lnTo>
                  <a:pt x="582" y="401"/>
                </a:lnTo>
                <a:lnTo>
                  <a:pt x="581" y="403"/>
                </a:lnTo>
                <a:lnTo>
                  <a:pt x="580" y="404"/>
                </a:lnTo>
                <a:lnTo>
                  <a:pt x="579" y="406"/>
                </a:lnTo>
                <a:lnTo>
                  <a:pt x="579" y="407"/>
                </a:lnTo>
                <a:lnTo>
                  <a:pt x="578" y="409"/>
                </a:lnTo>
                <a:lnTo>
                  <a:pt x="578" y="410"/>
                </a:lnTo>
                <a:lnTo>
                  <a:pt x="577" y="412"/>
                </a:lnTo>
                <a:lnTo>
                  <a:pt x="577" y="413"/>
                </a:lnTo>
                <a:lnTo>
                  <a:pt x="577" y="414"/>
                </a:lnTo>
                <a:lnTo>
                  <a:pt x="577" y="415"/>
                </a:lnTo>
                <a:lnTo>
                  <a:pt x="577" y="416"/>
                </a:lnTo>
                <a:lnTo>
                  <a:pt x="577" y="417"/>
                </a:lnTo>
                <a:lnTo>
                  <a:pt x="578" y="418"/>
                </a:lnTo>
                <a:lnTo>
                  <a:pt x="578" y="419"/>
                </a:lnTo>
                <a:lnTo>
                  <a:pt x="578" y="419"/>
                </a:lnTo>
                <a:lnTo>
                  <a:pt x="579" y="420"/>
                </a:lnTo>
                <a:lnTo>
                  <a:pt x="580" y="421"/>
                </a:lnTo>
                <a:lnTo>
                  <a:pt x="582" y="422"/>
                </a:lnTo>
                <a:lnTo>
                  <a:pt x="585" y="425"/>
                </a:lnTo>
                <a:lnTo>
                  <a:pt x="586" y="426"/>
                </a:lnTo>
                <a:lnTo>
                  <a:pt x="587" y="427"/>
                </a:lnTo>
                <a:lnTo>
                  <a:pt x="588" y="427"/>
                </a:lnTo>
                <a:lnTo>
                  <a:pt x="588" y="428"/>
                </a:lnTo>
                <a:lnTo>
                  <a:pt x="589" y="429"/>
                </a:lnTo>
                <a:lnTo>
                  <a:pt x="589" y="430"/>
                </a:lnTo>
                <a:lnTo>
                  <a:pt x="590" y="431"/>
                </a:lnTo>
                <a:lnTo>
                  <a:pt x="590" y="432"/>
                </a:lnTo>
                <a:lnTo>
                  <a:pt x="590" y="433"/>
                </a:lnTo>
                <a:lnTo>
                  <a:pt x="590" y="435"/>
                </a:lnTo>
                <a:lnTo>
                  <a:pt x="590" y="437"/>
                </a:lnTo>
                <a:lnTo>
                  <a:pt x="590" y="438"/>
                </a:lnTo>
                <a:lnTo>
                  <a:pt x="590" y="439"/>
                </a:lnTo>
                <a:lnTo>
                  <a:pt x="589" y="440"/>
                </a:lnTo>
                <a:lnTo>
                  <a:pt x="589" y="441"/>
                </a:lnTo>
                <a:lnTo>
                  <a:pt x="588" y="442"/>
                </a:lnTo>
                <a:lnTo>
                  <a:pt x="586" y="443"/>
                </a:lnTo>
                <a:lnTo>
                  <a:pt x="584" y="444"/>
                </a:lnTo>
                <a:lnTo>
                  <a:pt x="583" y="445"/>
                </a:lnTo>
                <a:lnTo>
                  <a:pt x="580" y="446"/>
                </a:lnTo>
                <a:lnTo>
                  <a:pt x="579" y="447"/>
                </a:lnTo>
                <a:lnTo>
                  <a:pt x="578" y="448"/>
                </a:lnTo>
                <a:lnTo>
                  <a:pt x="577" y="448"/>
                </a:lnTo>
                <a:lnTo>
                  <a:pt x="577" y="449"/>
                </a:lnTo>
                <a:lnTo>
                  <a:pt x="576" y="450"/>
                </a:lnTo>
                <a:lnTo>
                  <a:pt x="576" y="450"/>
                </a:lnTo>
                <a:lnTo>
                  <a:pt x="575" y="452"/>
                </a:lnTo>
                <a:lnTo>
                  <a:pt x="575" y="453"/>
                </a:lnTo>
                <a:lnTo>
                  <a:pt x="575" y="454"/>
                </a:lnTo>
                <a:lnTo>
                  <a:pt x="575" y="455"/>
                </a:lnTo>
                <a:lnTo>
                  <a:pt x="575" y="456"/>
                </a:lnTo>
                <a:lnTo>
                  <a:pt x="576" y="459"/>
                </a:lnTo>
                <a:lnTo>
                  <a:pt x="576" y="461"/>
                </a:lnTo>
                <a:lnTo>
                  <a:pt x="577" y="462"/>
                </a:lnTo>
                <a:lnTo>
                  <a:pt x="577" y="463"/>
                </a:lnTo>
                <a:lnTo>
                  <a:pt x="577" y="464"/>
                </a:lnTo>
                <a:lnTo>
                  <a:pt x="577" y="464"/>
                </a:lnTo>
                <a:lnTo>
                  <a:pt x="576" y="465"/>
                </a:lnTo>
                <a:lnTo>
                  <a:pt x="576" y="466"/>
                </a:lnTo>
                <a:lnTo>
                  <a:pt x="575" y="467"/>
                </a:lnTo>
                <a:lnTo>
                  <a:pt x="574" y="468"/>
                </a:lnTo>
                <a:lnTo>
                  <a:pt x="574" y="469"/>
                </a:lnTo>
                <a:lnTo>
                  <a:pt x="573" y="469"/>
                </a:lnTo>
                <a:lnTo>
                  <a:pt x="571" y="470"/>
                </a:lnTo>
                <a:lnTo>
                  <a:pt x="570" y="470"/>
                </a:lnTo>
                <a:lnTo>
                  <a:pt x="569" y="471"/>
                </a:lnTo>
                <a:lnTo>
                  <a:pt x="568" y="471"/>
                </a:lnTo>
                <a:lnTo>
                  <a:pt x="567" y="471"/>
                </a:lnTo>
                <a:lnTo>
                  <a:pt x="567" y="472"/>
                </a:lnTo>
                <a:lnTo>
                  <a:pt x="567" y="472"/>
                </a:lnTo>
                <a:lnTo>
                  <a:pt x="567" y="472"/>
                </a:lnTo>
                <a:lnTo>
                  <a:pt x="567" y="473"/>
                </a:lnTo>
                <a:lnTo>
                  <a:pt x="567" y="474"/>
                </a:lnTo>
                <a:lnTo>
                  <a:pt x="567" y="475"/>
                </a:lnTo>
                <a:lnTo>
                  <a:pt x="568" y="476"/>
                </a:lnTo>
                <a:lnTo>
                  <a:pt x="569" y="477"/>
                </a:lnTo>
                <a:lnTo>
                  <a:pt x="571" y="479"/>
                </a:lnTo>
                <a:lnTo>
                  <a:pt x="572" y="480"/>
                </a:lnTo>
                <a:lnTo>
                  <a:pt x="576" y="484"/>
                </a:lnTo>
                <a:lnTo>
                  <a:pt x="578" y="485"/>
                </a:lnTo>
                <a:lnTo>
                  <a:pt x="578" y="486"/>
                </a:lnTo>
                <a:lnTo>
                  <a:pt x="579" y="487"/>
                </a:lnTo>
                <a:lnTo>
                  <a:pt x="580" y="488"/>
                </a:lnTo>
                <a:lnTo>
                  <a:pt x="580" y="489"/>
                </a:lnTo>
                <a:lnTo>
                  <a:pt x="581" y="490"/>
                </a:lnTo>
                <a:lnTo>
                  <a:pt x="581" y="491"/>
                </a:lnTo>
                <a:lnTo>
                  <a:pt x="580" y="491"/>
                </a:lnTo>
                <a:lnTo>
                  <a:pt x="580" y="492"/>
                </a:lnTo>
                <a:lnTo>
                  <a:pt x="580" y="493"/>
                </a:lnTo>
                <a:lnTo>
                  <a:pt x="579" y="494"/>
                </a:lnTo>
                <a:lnTo>
                  <a:pt x="578" y="495"/>
                </a:lnTo>
                <a:lnTo>
                  <a:pt x="577" y="495"/>
                </a:lnTo>
                <a:lnTo>
                  <a:pt x="575" y="498"/>
                </a:lnTo>
                <a:lnTo>
                  <a:pt x="574" y="499"/>
                </a:lnTo>
                <a:lnTo>
                  <a:pt x="573" y="499"/>
                </a:lnTo>
                <a:lnTo>
                  <a:pt x="573" y="500"/>
                </a:lnTo>
                <a:lnTo>
                  <a:pt x="572" y="501"/>
                </a:lnTo>
                <a:lnTo>
                  <a:pt x="571" y="504"/>
                </a:lnTo>
                <a:lnTo>
                  <a:pt x="571" y="505"/>
                </a:lnTo>
                <a:lnTo>
                  <a:pt x="570" y="506"/>
                </a:lnTo>
                <a:lnTo>
                  <a:pt x="569" y="507"/>
                </a:lnTo>
                <a:lnTo>
                  <a:pt x="568" y="508"/>
                </a:lnTo>
                <a:lnTo>
                  <a:pt x="568" y="509"/>
                </a:lnTo>
                <a:lnTo>
                  <a:pt x="567" y="509"/>
                </a:lnTo>
                <a:lnTo>
                  <a:pt x="566" y="510"/>
                </a:lnTo>
                <a:lnTo>
                  <a:pt x="565" y="511"/>
                </a:lnTo>
                <a:lnTo>
                  <a:pt x="565" y="511"/>
                </a:lnTo>
                <a:lnTo>
                  <a:pt x="564" y="511"/>
                </a:lnTo>
                <a:lnTo>
                  <a:pt x="563" y="512"/>
                </a:lnTo>
                <a:lnTo>
                  <a:pt x="560" y="512"/>
                </a:lnTo>
                <a:lnTo>
                  <a:pt x="557" y="513"/>
                </a:lnTo>
                <a:lnTo>
                  <a:pt x="553" y="514"/>
                </a:lnTo>
                <a:lnTo>
                  <a:pt x="548" y="514"/>
                </a:lnTo>
                <a:lnTo>
                  <a:pt x="545" y="514"/>
                </a:lnTo>
                <a:lnTo>
                  <a:pt x="543" y="515"/>
                </a:lnTo>
                <a:lnTo>
                  <a:pt x="541" y="516"/>
                </a:lnTo>
                <a:lnTo>
                  <a:pt x="540" y="516"/>
                </a:lnTo>
                <a:lnTo>
                  <a:pt x="539" y="517"/>
                </a:lnTo>
                <a:lnTo>
                  <a:pt x="538" y="518"/>
                </a:lnTo>
                <a:lnTo>
                  <a:pt x="537" y="518"/>
                </a:lnTo>
                <a:lnTo>
                  <a:pt x="536" y="520"/>
                </a:lnTo>
                <a:lnTo>
                  <a:pt x="535" y="521"/>
                </a:lnTo>
                <a:lnTo>
                  <a:pt x="535" y="522"/>
                </a:lnTo>
                <a:lnTo>
                  <a:pt x="534" y="523"/>
                </a:lnTo>
                <a:lnTo>
                  <a:pt x="535" y="524"/>
                </a:lnTo>
                <a:lnTo>
                  <a:pt x="535" y="527"/>
                </a:lnTo>
                <a:lnTo>
                  <a:pt x="535" y="528"/>
                </a:lnTo>
                <a:lnTo>
                  <a:pt x="535" y="528"/>
                </a:lnTo>
                <a:lnTo>
                  <a:pt x="534" y="529"/>
                </a:lnTo>
                <a:lnTo>
                  <a:pt x="534" y="530"/>
                </a:lnTo>
                <a:lnTo>
                  <a:pt x="533" y="530"/>
                </a:lnTo>
                <a:lnTo>
                  <a:pt x="533" y="531"/>
                </a:lnTo>
                <a:lnTo>
                  <a:pt x="532" y="532"/>
                </a:lnTo>
                <a:lnTo>
                  <a:pt x="528" y="534"/>
                </a:lnTo>
                <a:lnTo>
                  <a:pt x="527" y="535"/>
                </a:lnTo>
                <a:lnTo>
                  <a:pt x="526" y="535"/>
                </a:lnTo>
                <a:lnTo>
                  <a:pt x="524" y="535"/>
                </a:lnTo>
                <a:lnTo>
                  <a:pt x="521" y="536"/>
                </a:lnTo>
                <a:lnTo>
                  <a:pt x="516" y="537"/>
                </a:lnTo>
                <a:lnTo>
                  <a:pt x="513" y="538"/>
                </a:lnTo>
                <a:lnTo>
                  <a:pt x="512" y="538"/>
                </a:lnTo>
                <a:lnTo>
                  <a:pt x="511" y="538"/>
                </a:lnTo>
                <a:lnTo>
                  <a:pt x="507" y="537"/>
                </a:lnTo>
                <a:lnTo>
                  <a:pt x="504" y="537"/>
                </a:lnTo>
                <a:lnTo>
                  <a:pt x="503" y="536"/>
                </a:lnTo>
                <a:lnTo>
                  <a:pt x="500" y="536"/>
                </a:lnTo>
                <a:lnTo>
                  <a:pt x="498" y="535"/>
                </a:lnTo>
                <a:lnTo>
                  <a:pt x="495" y="535"/>
                </a:lnTo>
                <a:lnTo>
                  <a:pt x="494" y="535"/>
                </a:lnTo>
                <a:lnTo>
                  <a:pt x="493" y="535"/>
                </a:lnTo>
                <a:lnTo>
                  <a:pt x="492" y="535"/>
                </a:lnTo>
                <a:lnTo>
                  <a:pt x="491" y="535"/>
                </a:lnTo>
                <a:lnTo>
                  <a:pt x="490" y="536"/>
                </a:lnTo>
                <a:lnTo>
                  <a:pt x="488" y="537"/>
                </a:lnTo>
                <a:lnTo>
                  <a:pt x="487" y="538"/>
                </a:lnTo>
                <a:lnTo>
                  <a:pt x="485" y="540"/>
                </a:lnTo>
                <a:lnTo>
                  <a:pt x="483" y="540"/>
                </a:lnTo>
                <a:lnTo>
                  <a:pt x="481" y="541"/>
                </a:lnTo>
                <a:lnTo>
                  <a:pt x="479" y="541"/>
                </a:lnTo>
                <a:lnTo>
                  <a:pt x="477" y="541"/>
                </a:lnTo>
                <a:lnTo>
                  <a:pt x="476" y="541"/>
                </a:lnTo>
                <a:lnTo>
                  <a:pt x="475" y="541"/>
                </a:lnTo>
                <a:lnTo>
                  <a:pt x="474" y="541"/>
                </a:lnTo>
                <a:lnTo>
                  <a:pt x="472" y="540"/>
                </a:lnTo>
                <a:lnTo>
                  <a:pt x="471" y="540"/>
                </a:lnTo>
                <a:lnTo>
                  <a:pt x="470" y="539"/>
                </a:lnTo>
                <a:lnTo>
                  <a:pt x="466" y="537"/>
                </a:lnTo>
                <a:lnTo>
                  <a:pt x="465" y="536"/>
                </a:lnTo>
                <a:lnTo>
                  <a:pt x="464" y="535"/>
                </a:lnTo>
                <a:lnTo>
                  <a:pt x="464" y="534"/>
                </a:lnTo>
                <a:lnTo>
                  <a:pt x="462" y="532"/>
                </a:lnTo>
                <a:lnTo>
                  <a:pt x="461" y="531"/>
                </a:lnTo>
                <a:lnTo>
                  <a:pt x="460" y="530"/>
                </a:lnTo>
                <a:lnTo>
                  <a:pt x="460" y="529"/>
                </a:lnTo>
                <a:lnTo>
                  <a:pt x="459" y="529"/>
                </a:lnTo>
                <a:lnTo>
                  <a:pt x="459" y="529"/>
                </a:lnTo>
                <a:lnTo>
                  <a:pt x="458" y="529"/>
                </a:lnTo>
                <a:lnTo>
                  <a:pt x="457" y="529"/>
                </a:lnTo>
                <a:lnTo>
                  <a:pt x="456" y="529"/>
                </a:lnTo>
                <a:lnTo>
                  <a:pt x="455" y="529"/>
                </a:lnTo>
                <a:lnTo>
                  <a:pt x="453" y="530"/>
                </a:lnTo>
                <a:lnTo>
                  <a:pt x="451" y="531"/>
                </a:lnTo>
                <a:lnTo>
                  <a:pt x="450" y="531"/>
                </a:lnTo>
                <a:lnTo>
                  <a:pt x="449" y="532"/>
                </a:lnTo>
                <a:lnTo>
                  <a:pt x="449" y="532"/>
                </a:lnTo>
                <a:lnTo>
                  <a:pt x="448" y="533"/>
                </a:lnTo>
                <a:lnTo>
                  <a:pt x="445" y="536"/>
                </a:lnTo>
                <a:lnTo>
                  <a:pt x="444" y="537"/>
                </a:lnTo>
                <a:lnTo>
                  <a:pt x="443" y="538"/>
                </a:lnTo>
                <a:lnTo>
                  <a:pt x="442" y="539"/>
                </a:lnTo>
                <a:lnTo>
                  <a:pt x="441" y="539"/>
                </a:lnTo>
                <a:lnTo>
                  <a:pt x="440" y="540"/>
                </a:lnTo>
                <a:lnTo>
                  <a:pt x="440" y="540"/>
                </a:lnTo>
                <a:lnTo>
                  <a:pt x="439" y="540"/>
                </a:lnTo>
                <a:lnTo>
                  <a:pt x="438" y="540"/>
                </a:lnTo>
                <a:lnTo>
                  <a:pt x="437" y="541"/>
                </a:lnTo>
                <a:lnTo>
                  <a:pt x="436" y="540"/>
                </a:lnTo>
                <a:lnTo>
                  <a:pt x="433" y="540"/>
                </a:lnTo>
                <a:lnTo>
                  <a:pt x="432" y="540"/>
                </a:lnTo>
                <a:lnTo>
                  <a:pt x="431" y="540"/>
                </a:lnTo>
                <a:lnTo>
                  <a:pt x="430" y="540"/>
                </a:lnTo>
                <a:lnTo>
                  <a:pt x="430" y="540"/>
                </a:lnTo>
                <a:lnTo>
                  <a:pt x="429" y="540"/>
                </a:lnTo>
                <a:lnTo>
                  <a:pt x="429" y="541"/>
                </a:lnTo>
                <a:lnTo>
                  <a:pt x="428" y="541"/>
                </a:lnTo>
                <a:lnTo>
                  <a:pt x="427" y="542"/>
                </a:lnTo>
                <a:lnTo>
                  <a:pt x="427" y="543"/>
                </a:lnTo>
                <a:lnTo>
                  <a:pt x="426" y="544"/>
                </a:lnTo>
                <a:lnTo>
                  <a:pt x="425" y="546"/>
                </a:lnTo>
                <a:lnTo>
                  <a:pt x="424" y="550"/>
                </a:lnTo>
                <a:lnTo>
                  <a:pt x="423" y="551"/>
                </a:lnTo>
                <a:lnTo>
                  <a:pt x="423" y="552"/>
                </a:lnTo>
                <a:lnTo>
                  <a:pt x="422" y="553"/>
                </a:lnTo>
                <a:lnTo>
                  <a:pt x="421" y="554"/>
                </a:lnTo>
                <a:lnTo>
                  <a:pt x="421" y="554"/>
                </a:lnTo>
                <a:lnTo>
                  <a:pt x="420" y="554"/>
                </a:lnTo>
                <a:lnTo>
                  <a:pt x="419" y="555"/>
                </a:lnTo>
                <a:lnTo>
                  <a:pt x="418" y="555"/>
                </a:lnTo>
                <a:lnTo>
                  <a:pt x="416" y="555"/>
                </a:lnTo>
                <a:lnTo>
                  <a:pt x="413" y="555"/>
                </a:lnTo>
                <a:lnTo>
                  <a:pt x="412" y="555"/>
                </a:lnTo>
                <a:lnTo>
                  <a:pt x="409" y="555"/>
                </a:lnTo>
                <a:lnTo>
                  <a:pt x="406" y="556"/>
                </a:lnTo>
                <a:lnTo>
                  <a:pt x="404" y="557"/>
                </a:lnTo>
                <a:lnTo>
                  <a:pt x="400" y="558"/>
                </a:lnTo>
                <a:lnTo>
                  <a:pt x="398" y="559"/>
                </a:lnTo>
                <a:lnTo>
                  <a:pt x="396" y="560"/>
                </a:lnTo>
                <a:lnTo>
                  <a:pt x="394" y="561"/>
                </a:lnTo>
                <a:lnTo>
                  <a:pt x="394" y="562"/>
                </a:lnTo>
                <a:lnTo>
                  <a:pt x="393" y="563"/>
                </a:lnTo>
                <a:lnTo>
                  <a:pt x="392" y="564"/>
                </a:lnTo>
                <a:lnTo>
                  <a:pt x="390" y="566"/>
                </a:lnTo>
                <a:lnTo>
                  <a:pt x="389" y="568"/>
                </a:lnTo>
                <a:lnTo>
                  <a:pt x="387" y="571"/>
                </a:lnTo>
                <a:lnTo>
                  <a:pt x="385" y="572"/>
                </a:lnTo>
                <a:lnTo>
                  <a:pt x="383" y="573"/>
                </a:lnTo>
                <a:lnTo>
                  <a:pt x="382" y="574"/>
                </a:lnTo>
                <a:lnTo>
                  <a:pt x="381" y="575"/>
                </a:lnTo>
                <a:lnTo>
                  <a:pt x="377" y="577"/>
                </a:lnTo>
                <a:lnTo>
                  <a:pt x="376" y="578"/>
                </a:lnTo>
                <a:lnTo>
                  <a:pt x="375" y="579"/>
                </a:lnTo>
                <a:lnTo>
                  <a:pt x="374" y="579"/>
                </a:lnTo>
                <a:lnTo>
                  <a:pt x="372" y="581"/>
                </a:lnTo>
                <a:lnTo>
                  <a:pt x="370" y="583"/>
                </a:lnTo>
                <a:lnTo>
                  <a:pt x="368" y="585"/>
                </a:lnTo>
                <a:lnTo>
                  <a:pt x="367" y="586"/>
                </a:lnTo>
                <a:lnTo>
                  <a:pt x="366" y="588"/>
                </a:lnTo>
                <a:lnTo>
                  <a:pt x="364" y="591"/>
                </a:lnTo>
                <a:lnTo>
                  <a:pt x="363" y="592"/>
                </a:lnTo>
                <a:lnTo>
                  <a:pt x="362" y="593"/>
                </a:lnTo>
                <a:lnTo>
                  <a:pt x="361" y="593"/>
                </a:lnTo>
                <a:lnTo>
                  <a:pt x="361" y="593"/>
                </a:lnTo>
                <a:lnTo>
                  <a:pt x="360" y="593"/>
                </a:lnTo>
                <a:lnTo>
                  <a:pt x="359" y="593"/>
                </a:lnTo>
                <a:lnTo>
                  <a:pt x="358" y="593"/>
                </a:lnTo>
                <a:lnTo>
                  <a:pt x="358" y="593"/>
                </a:lnTo>
                <a:lnTo>
                  <a:pt x="357" y="592"/>
                </a:lnTo>
                <a:lnTo>
                  <a:pt x="354" y="590"/>
                </a:lnTo>
                <a:lnTo>
                  <a:pt x="352" y="589"/>
                </a:lnTo>
                <a:lnTo>
                  <a:pt x="351" y="588"/>
                </a:lnTo>
                <a:lnTo>
                  <a:pt x="349" y="588"/>
                </a:lnTo>
                <a:lnTo>
                  <a:pt x="348" y="587"/>
                </a:lnTo>
                <a:lnTo>
                  <a:pt x="346" y="587"/>
                </a:lnTo>
                <a:lnTo>
                  <a:pt x="345" y="587"/>
                </a:lnTo>
                <a:lnTo>
                  <a:pt x="343" y="587"/>
                </a:lnTo>
                <a:lnTo>
                  <a:pt x="338" y="588"/>
                </a:lnTo>
                <a:lnTo>
                  <a:pt x="336" y="588"/>
                </a:lnTo>
                <a:lnTo>
                  <a:pt x="335" y="588"/>
                </a:lnTo>
                <a:lnTo>
                  <a:pt x="335" y="589"/>
                </a:lnTo>
                <a:lnTo>
                  <a:pt x="334" y="589"/>
                </a:lnTo>
                <a:lnTo>
                  <a:pt x="333" y="589"/>
                </a:lnTo>
                <a:lnTo>
                  <a:pt x="333" y="590"/>
                </a:lnTo>
                <a:lnTo>
                  <a:pt x="332" y="591"/>
                </a:lnTo>
                <a:lnTo>
                  <a:pt x="330" y="594"/>
                </a:lnTo>
                <a:lnTo>
                  <a:pt x="328" y="596"/>
                </a:lnTo>
                <a:lnTo>
                  <a:pt x="327" y="597"/>
                </a:lnTo>
                <a:lnTo>
                  <a:pt x="326" y="598"/>
                </a:lnTo>
                <a:lnTo>
                  <a:pt x="325" y="599"/>
                </a:lnTo>
                <a:lnTo>
                  <a:pt x="325" y="600"/>
                </a:lnTo>
                <a:lnTo>
                  <a:pt x="324" y="600"/>
                </a:lnTo>
                <a:lnTo>
                  <a:pt x="323" y="601"/>
                </a:lnTo>
                <a:lnTo>
                  <a:pt x="322" y="601"/>
                </a:lnTo>
                <a:lnTo>
                  <a:pt x="322" y="601"/>
                </a:lnTo>
                <a:lnTo>
                  <a:pt x="320" y="601"/>
                </a:lnTo>
                <a:lnTo>
                  <a:pt x="319" y="600"/>
                </a:lnTo>
                <a:lnTo>
                  <a:pt x="317" y="600"/>
                </a:lnTo>
                <a:lnTo>
                  <a:pt x="316" y="600"/>
                </a:lnTo>
                <a:lnTo>
                  <a:pt x="315" y="599"/>
                </a:lnTo>
                <a:lnTo>
                  <a:pt x="314" y="599"/>
                </a:lnTo>
                <a:lnTo>
                  <a:pt x="312" y="597"/>
                </a:lnTo>
                <a:lnTo>
                  <a:pt x="311" y="596"/>
                </a:lnTo>
                <a:lnTo>
                  <a:pt x="310" y="595"/>
                </a:lnTo>
                <a:lnTo>
                  <a:pt x="309" y="595"/>
                </a:lnTo>
                <a:lnTo>
                  <a:pt x="308" y="595"/>
                </a:lnTo>
                <a:lnTo>
                  <a:pt x="307" y="595"/>
                </a:lnTo>
                <a:lnTo>
                  <a:pt x="305" y="595"/>
                </a:lnTo>
                <a:lnTo>
                  <a:pt x="304" y="595"/>
                </a:lnTo>
                <a:lnTo>
                  <a:pt x="302" y="595"/>
                </a:lnTo>
                <a:lnTo>
                  <a:pt x="301" y="596"/>
                </a:lnTo>
                <a:lnTo>
                  <a:pt x="300" y="596"/>
                </a:lnTo>
                <a:lnTo>
                  <a:pt x="299" y="597"/>
                </a:lnTo>
                <a:lnTo>
                  <a:pt x="299" y="597"/>
                </a:lnTo>
                <a:lnTo>
                  <a:pt x="299" y="598"/>
                </a:lnTo>
                <a:lnTo>
                  <a:pt x="298" y="598"/>
                </a:lnTo>
                <a:lnTo>
                  <a:pt x="298" y="598"/>
                </a:lnTo>
                <a:lnTo>
                  <a:pt x="298" y="598"/>
                </a:lnTo>
                <a:lnTo>
                  <a:pt x="297" y="597"/>
                </a:lnTo>
                <a:lnTo>
                  <a:pt x="297" y="596"/>
                </a:lnTo>
                <a:lnTo>
                  <a:pt x="295" y="593"/>
                </a:lnTo>
                <a:lnTo>
                  <a:pt x="295" y="592"/>
                </a:lnTo>
                <a:lnTo>
                  <a:pt x="294" y="591"/>
                </a:lnTo>
                <a:lnTo>
                  <a:pt x="293" y="590"/>
                </a:lnTo>
                <a:lnTo>
                  <a:pt x="293" y="589"/>
                </a:lnTo>
                <a:lnTo>
                  <a:pt x="292" y="588"/>
                </a:lnTo>
                <a:lnTo>
                  <a:pt x="291" y="587"/>
                </a:lnTo>
                <a:lnTo>
                  <a:pt x="288" y="585"/>
                </a:lnTo>
                <a:lnTo>
                  <a:pt x="287" y="584"/>
                </a:lnTo>
                <a:lnTo>
                  <a:pt x="285" y="584"/>
                </a:lnTo>
                <a:lnTo>
                  <a:pt x="283" y="582"/>
                </a:lnTo>
                <a:lnTo>
                  <a:pt x="280" y="581"/>
                </a:lnTo>
                <a:lnTo>
                  <a:pt x="278" y="580"/>
                </a:lnTo>
                <a:lnTo>
                  <a:pt x="276" y="579"/>
                </a:lnTo>
                <a:lnTo>
                  <a:pt x="275" y="578"/>
                </a:lnTo>
                <a:lnTo>
                  <a:pt x="274" y="577"/>
                </a:lnTo>
                <a:lnTo>
                  <a:pt x="273" y="576"/>
                </a:lnTo>
                <a:lnTo>
                  <a:pt x="272" y="575"/>
                </a:lnTo>
                <a:lnTo>
                  <a:pt x="271" y="572"/>
                </a:lnTo>
                <a:lnTo>
                  <a:pt x="270" y="571"/>
                </a:lnTo>
                <a:lnTo>
                  <a:pt x="269" y="570"/>
                </a:lnTo>
                <a:lnTo>
                  <a:pt x="268" y="569"/>
                </a:lnTo>
                <a:lnTo>
                  <a:pt x="268" y="569"/>
                </a:lnTo>
                <a:lnTo>
                  <a:pt x="267" y="569"/>
                </a:lnTo>
                <a:lnTo>
                  <a:pt x="266" y="568"/>
                </a:lnTo>
                <a:lnTo>
                  <a:pt x="265" y="568"/>
                </a:lnTo>
                <a:lnTo>
                  <a:pt x="264" y="568"/>
                </a:lnTo>
                <a:lnTo>
                  <a:pt x="261" y="568"/>
                </a:lnTo>
                <a:lnTo>
                  <a:pt x="261" y="568"/>
                </a:lnTo>
                <a:lnTo>
                  <a:pt x="260" y="567"/>
                </a:lnTo>
                <a:lnTo>
                  <a:pt x="259" y="567"/>
                </a:lnTo>
                <a:lnTo>
                  <a:pt x="259" y="567"/>
                </a:lnTo>
                <a:lnTo>
                  <a:pt x="259" y="566"/>
                </a:lnTo>
                <a:lnTo>
                  <a:pt x="259" y="565"/>
                </a:lnTo>
                <a:lnTo>
                  <a:pt x="259" y="565"/>
                </a:lnTo>
                <a:lnTo>
                  <a:pt x="259" y="564"/>
                </a:lnTo>
                <a:lnTo>
                  <a:pt x="259" y="563"/>
                </a:lnTo>
                <a:lnTo>
                  <a:pt x="259" y="563"/>
                </a:lnTo>
                <a:lnTo>
                  <a:pt x="260" y="561"/>
                </a:lnTo>
                <a:lnTo>
                  <a:pt x="261" y="560"/>
                </a:lnTo>
                <a:lnTo>
                  <a:pt x="262" y="558"/>
                </a:lnTo>
                <a:lnTo>
                  <a:pt x="264" y="555"/>
                </a:lnTo>
                <a:lnTo>
                  <a:pt x="265" y="555"/>
                </a:lnTo>
                <a:lnTo>
                  <a:pt x="267" y="553"/>
                </a:lnTo>
                <a:lnTo>
                  <a:pt x="270" y="549"/>
                </a:lnTo>
                <a:lnTo>
                  <a:pt x="271" y="548"/>
                </a:lnTo>
                <a:lnTo>
                  <a:pt x="272" y="547"/>
                </a:lnTo>
                <a:lnTo>
                  <a:pt x="272" y="546"/>
                </a:lnTo>
                <a:lnTo>
                  <a:pt x="273" y="545"/>
                </a:lnTo>
                <a:lnTo>
                  <a:pt x="274" y="541"/>
                </a:lnTo>
                <a:lnTo>
                  <a:pt x="275" y="540"/>
                </a:lnTo>
                <a:lnTo>
                  <a:pt x="275" y="539"/>
                </a:lnTo>
                <a:lnTo>
                  <a:pt x="277" y="535"/>
                </a:lnTo>
                <a:lnTo>
                  <a:pt x="278" y="534"/>
                </a:lnTo>
                <a:lnTo>
                  <a:pt x="279" y="533"/>
                </a:lnTo>
                <a:lnTo>
                  <a:pt x="279" y="532"/>
                </a:lnTo>
                <a:lnTo>
                  <a:pt x="279" y="531"/>
                </a:lnTo>
                <a:lnTo>
                  <a:pt x="280" y="528"/>
                </a:lnTo>
                <a:lnTo>
                  <a:pt x="280" y="527"/>
                </a:lnTo>
                <a:lnTo>
                  <a:pt x="281" y="525"/>
                </a:lnTo>
                <a:lnTo>
                  <a:pt x="282" y="524"/>
                </a:lnTo>
                <a:lnTo>
                  <a:pt x="283" y="522"/>
                </a:lnTo>
                <a:lnTo>
                  <a:pt x="284" y="519"/>
                </a:lnTo>
                <a:lnTo>
                  <a:pt x="285" y="518"/>
                </a:lnTo>
                <a:lnTo>
                  <a:pt x="286" y="518"/>
                </a:lnTo>
                <a:lnTo>
                  <a:pt x="286" y="517"/>
                </a:lnTo>
                <a:lnTo>
                  <a:pt x="287" y="517"/>
                </a:lnTo>
                <a:lnTo>
                  <a:pt x="288" y="517"/>
                </a:lnTo>
                <a:lnTo>
                  <a:pt x="289" y="516"/>
                </a:lnTo>
                <a:lnTo>
                  <a:pt x="292" y="516"/>
                </a:lnTo>
                <a:lnTo>
                  <a:pt x="295" y="515"/>
                </a:lnTo>
                <a:lnTo>
                  <a:pt x="296" y="514"/>
                </a:lnTo>
                <a:lnTo>
                  <a:pt x="298" y="514"/>
                </a:lnTo>
                <a:lnTo>
                  <a:pt x="298" y="513"/>
                </a:lnTo>
                <a:lnTo>
                  <a:pt x="299" y="513"/>
                </a:lnTo>
                <a:lnTo>
                  <a:pt x="300" y="512"/>
                </a:lnTo>
                <a:lnTo>
                  <a:pt x="300" y="512"/>
                </a:lnTo>
                <a:lnTo>
                  <a:pt x="301" y="510"/>
                </a:lnTo>
                <a:lnTo>
                  <a:pt x="301" y="508"/>
                </a:lnTo>
                <a:lnTo>
                  <a:pt x="302" y="507"/>
                </a:lnTo>
                <a:lnTo>
                  <a:pt x="302" y="506"/>
                </a:lnTo>
                <a:lnTo>
                  <a:pt x="302" y="505"/>
                </a:lnTo>
                <a:lnTo>
                  <a:pt x="301" y="504"/>
                </a:lnTo>
                <a:lnTo>
                  <a:pt x="301" y="503"/>
                </a:lnTo>
                <a:lnTo>
                  <a:pt x="300" y="502"/>
                </a:lnTo>
                <a:lnTo>
                  <a:pt x="297" y="498"/>
                </a:lnTo>
                <a:lnTo>
                  <a:pt x="296" y="497"/>
                </a:lnTo>
                <a:lnTo>
                  <a:pt x="296" y="496"/>
                </a:lnTo>
                <a:lnTo>
                  <a:pt x="294" y="496"/>
                </a:lnTo>
                <a:lnTo>
                  <a:pt x="292" y="494"/>
                </a:lnTo>
                <a:lnTo>
                  <a:pt x="290" y="493"/>
                </a:lnTo>
                <a:lnTo>
                  <a:pt x="289" y="492"/>
                </a:lnTo>
                <a:lnTo>
                  <a:pt x="288" y="491"/>
                </a:lnTo>
                <a:lnTo>
                  <a:pt x="288" y="490"/>
                </a:lnTo>
                <a:lnTo>
                  <a:pt x="287" y="490"/>
                </a:lnTo>
                <a:lnTo>
                  <a:pt x="287" y="489"/>
                </a:lnTo>
                <a:lnTo>
                  <a:pt x="287" y="488"/>
                </a:lnTo>
                <a:lnTo>
                  <a:pt x="287" y="487"/>
                </a:lnTo>
                <a:lnTo>
                  <a:pt x="287" y="486"/>
                </a:lnTo>
                <a:lnTo>
                  <a:pt x="288" y="485"/>
                </a:lnTo>
                <a:lnTo>
                  <a:pt x="288" y="485"/>
                </a:lnTo>
                <a:lnTo>
                  <a:pt x="288" y="484"/>
                </a:lnTo>
                <a:lnTo>
                  <a:pt x="287" y="483"/>
                </a:lnTo>
                <a:lnTo>
                  <a:pt x="287" y="482"/>
                </a:lnTo>
                <a:lnTo>
                  <a:pt x="287" y="481"/>
                </a:lnTo>
                <a:lnTo>
                  <a:pt x="286" y="481"/>
                </a:lnTo>
                <a:lnTo>
                  <a:pt x="285" y="480"/>
                </a:lnTo>
                <a:lnTo>
                  <a:pt x="284" y="479"/>
                </a:lnTo>
                <a:lnTo>
                  <a:pt x="283" y="479"/>
                </a:lnTo>
                <a:lnTo>
                  <a:pt x="282" y="478"/>
                </a:lnTo>
                <a:lnTo>
                  <a:pt x="281" y="478"/>
                </a:lnTo>
                <a:lnTo>
                  <a:pt x="280" y="478"/>
                </a:lnTo>
                <a:lnTo>
                  <a:pt x="280" y="478"/>
                </a:lnTo>
                <a:lnTo>
                  <a:pt x="279" y="478"/>
                </a:lnTo>
                <a:lnTo>
                  <a:pt x="278" y="478"/>
                </a:lnTo>
                <a:lnTo>
                  <a:pt x="277" y="478"/>
                </a:lnTo>
                <a:lnTo>
                  <a:pt x="277" y="478"/>
                </a:lnTo>
                <a:lnTo>
                  <a:pt x="275" y="479"/>
                </a:lnTo>
                <a:lnTo>
                  <a:pt x="273" y="480"/>
                </a:lnTo>
                <a:lnTo>
                  <a:pt x="273" y="480"/>
                </a:lnTo>
                <a:lnTo>
                  <a:pt x="269" y="480"/>
                </a:lnTo>
                <a:lnTo>
                  <a:pt x="267" y="481"/>
                </a:lnTo>
                <a:lnTo>
                  <a:pt x="265" y="481"/>
                </a:lnTo>
                <a:lnTo>
                  <a:pt x="262" y="483"/>
                </a:lnTo>
                <a:lnTo>
                  <a:pt x="260" y="483"/>
                </a:lnTo>
                <a:lnTo>
                  <a:pt x="259" y="484"/>
                </a:lnTo>
                <a:lnTo>
                  <a:pt x="257" y="484"/>
                </a:lnTo>
                <a:lnTo>
                  <a:pt x="255" y="484"/>
                </a:lnTo>
                <a:lnTo>
                  <a:pt x="251" y="484"/>
                </a:lnTo>
                <a:lnTo>
                  <a:pt x="248" y="484"/>
                </a:lnTo>
                <a:lnTo>
                  <a:pt x="246" y="484"/>
                </a:lnTo>
                <a:lnTo>
                  <a:pt x="244" y="484"/>
                </a:lnTo>
                <a:lnTo>
                  <a:pt x="243" y="483"/>
                </a:lnTo>
                <a:lnTo>
                  <a:pt x="238" y="482"/>
                </a:lnTo>
                <a:lnTo>
                  <a:pt x="237" y="482"/>
                </a:lnTo>
                <a:lnTo>
                  <a:pt x="236" y="482"/>
                </a:lnTo>
                <a:lnTo>
                  <a:pt x="235" y="481"/>
                </a:lnTo>
                <a:lnTo>
                  <a:pt x="234" y="481"/>
                </a:lnTo>
                <a:lnTo>
                  <a:pt x="232" y="482"/>
                </a:lnTo>
                <a:lnTo>
                  <a:pt x="231" y="482"/>
                </a:lnTo>
                <a:lnTo>
                  <a:pt x="229" y="483"/>
                </a:lnTo>
                <a:lnTo>
                  <a:pt x="228" y="483"/>
                </a:lnTo>
                <a:lnTo>
                  <a:pt x="228" y="483"/>
                </a:lnTo>
                <a:lnTo>
                  <a:pt x="227" y="483"/>
                </a:lnTo>
                <a:lnTo>
                  <a:pt x="227" y="483"/>
                </a:lnTo>
                <a:lnTo>
                  <a:pt x="226" y="483"/>
                </a:lnTo>
                <a:lnTo>
                  <a:pt x="225" y="483"/>
                </a:lnTo>
                <a:lnTo>
                  <a:pt x="222" y="481"/>
                </a:lnTo>
                <a:lnTo>
                  <a:pt x="215" y="477"/>
                </a:lnTo>
                <a:lnTo>
                  <a:pt x="213" y="475"/>
                </a:lnTo>
                <a:lnTo>
                  <a:pt x="211" y="474"/>
                </a:lnTo>
                <a:lnTo>
                  <a:pt x="210" y="473"/>
                </a:lnTo>
                <a:lnTo>
                  <a:pt x="206" y="469"/>
                </a:lnTo>
                <a:lnTo>
                  <a:pt x="202" y="467"/>
                </a:lnTo>
                <a:lnTo>
                  <a:pt x="201" y="465"/>
                </a:lnTo>
                <a:lnTo>
                  <a:pt x="198" y="463"/>
                </a:lnTo>
                <a:lnTo>
                  <a:pt x="197" y="462"/>
                </a:lnTo>
                <a:lnTo>
                  <a:pt x="196" y="461"/>
                </a:lnTo>
                <a:lnTo>
                  <a:pt x="196" y="460"/>
                </a:lnTo>
                <a:lnTo>
                  <a:pt x="195" y="458"/>
                </a:lnTo>
                <a:lnTo>
                  <a:pt x="194" y="456"/>
                </a:lnTo>
                <a:lnTo>
                  <a:pt x="193" y="454"/>
                </a:lnTo>
                <a:lnTo>
                  <a:pt x="193" y="453"/>
                </a:lnTo>
                <a:lnTo>
                  <a:pt x="193" y="451"/>
                </a:lnTo>
                <a:lnTo>
                  <a:pt x="193" y="449"/>
                </a:lnTo>
                <a:lnTo>
                  <a:pt x="193" y="446"/>
                </a:lnTo>
                <a:lnTo>
                  <a:pt x="194" y="442"/>
                </a:lnTo>
                <a:lnTo>
                  <a:pt x="194" y="439"/>
                </a:lnTo>
                <a:lnTo>
                  <a:pt x="194" y="438"/>
                </a:lnTo>
                <a:lnTo>
                  <a:pt x="194" y="437"/>
                </a:lnTo>
                <a:lnTo>
                  <a:pt x="194" y="435"/>
                </a:lnTo>
                <a:lnTo>
                  <a:pt x="194" y="434"/>
                </a:lnTo>
                <a:lnTo>
                  <a:pt x="193" y="432"/>
                </a:lnTo>
                <a:lnTo>
                  <a:pt x="193" y="429"/>
                </a:lnTo>
                <a:lnTo>
                  <a:pt x="192" y="428"/>
                </a:lnTo>
                <a:lnTo>
                  <a:pt x="192" y="427"/>
                </a:lnTo>
                <a:lnTo>
                  <a:pt x="191" y="426"/>
                </a:lnTo>
                <a:lnTo>
                  <a:pt x="190" y="425"/>
                </a:lnTo>
                <a:lnTo>
                  <a:pt x="190" y="424"/>
                </a:lnTo>
                <a:lnTo>
                  <a:pt x="189" y="423"/>
                </a:lnTo>
                <a:lnTo>
                  <a:pt x="188" y="423"/>
                </a:lnTo>
                <a:lnTo>
                  <a:pt x="187" y="423"/>
                </a:lnTo>
                <a:lnTo>
                  <a:pt x="186" y="422"/>
                </a:lnTo>
                <a:lnTo>
                  <a:pt x="185" y="422"/>
                </a:lnTo>
                <a:lnTo>
                  <a:pt x="183" y="422"/>
                </a:lnTo>
                <a:lnTo>
                  <a:pt x="181" y="422"/>
                </a:lnTo>
                <a:lnTo>
                  <a:pt x="180" y="422"/>
                </a:lnTo>
                <a:lnTo>
                  <a:pt x="176" y="423"/>
                </a:lnTo>
                <a:lnTo>
                  <a:pt x="172" y="423"/>
                </a:lnTo>
                <a:lnTo>
                  <a:pt x="171" y="423"/>
                </a:lnTo>
                <a:lnTo>
                  <a:pt x="169" y="424"/>
                </a:lnTo>
                <a:lnTo>
                  <a:pt x="165" y="425"/>
                </a:lnTo>
                <a:lnTo>
                  <a:pt x="163" y="425"/>
                </a:lnTo>
                <a:lnTo>
                  <a:pt x="158" y="426"/>
                </a:lnTo>
                <a:lnTo>
                  <a:pt x="157" y="426"/>
                </a:lnTo>
                <a:lnTo>
                  <a:pt x="157" y="426"/>
                </a:lnTo>
                <a:lnTo>
                  <a:pt x="156" y="425"/>
                </a:lnTo>
                <a:lnTo>
                  <a:pt x="155" y="425"/>
                </a:lnTo>
                <a:lnTo>
                  <a:pt x="154" y="424"/>
                </a:lnTo>
                <a:lnTo>
                  <a:pt x="153" y="422"/>
                </a:lnTo>
                <a:lnTo>
                  <a:pt x="152" y="422"/>
                </a:lnTo>
                <a:lnTo>
                  <a:pt x="151" y="421"/>
                </a:lnTo>
                <a:lnTo>
                  <a:pt x="149" y="420"/>
                </a:lnTo>
                <a:lnTo>
                  <a:pt x="147" y="419"/>
                </a:lnTo>
                <a:lnTo>
                  <a:pt x="144" y="418"/>
                </a:lnTo>
                <a:lnTo>
                  <a:pt x="139" y="416"/>
                </a:lnTo>
                <a:lnTo>
                  <a:pt x="132" y="415"/>
                </a:lnTo>
                <a:lnTo>
                  <a:pt x="131" y="414"/>
                </a:lnTo>
                <a:lnTo>
                  <a:pt x="130" y="414"/>
                </a:lnTo>
                <a:lnTo>
                  <a:pt x="129" y="414"/>
                </a:lnTo>
                <a:lnTo>
                  <a:pt x="128" y="414"/>
                </a:lnTo>
                <a:lnTo>
                  <a:pt x="128" y="414"/>
                </a:lnTo>
                <a:lnTo>
                  <a:pt x="127" y="415"/>
                </a:lnTo>
                <a:lnTo>
                  <a:pt x="125" y="415"/>
                </a:lnTo>
                <a:lnTo>
                  <a:pt x="121" y="417"/>
                </a:lnTo>
                <a:lnTo>
                  <a:pt x="120" y="418"/>
                </a:lnTo>
                <a:lnTo>
                  <a:pt x="118" y="419"/>
                </a:lnTo>
                <a:lnTo>
                  <a:pt x="117" y="419"/>
                </a:lnTo>
                <a:lnTo>
                  <a:pt x="115" y="419"/>
                </a:lnTo>
                <a:lnTo>
                  <a:pt x="114" y="419"/>
                </a:lnTo>
                <a:lnTo>
                  <a:pt x="112" y="419"/>
                </a:lnTo>
                <a:lnTo>
                  <a:pt x="110" y="418"/>
                </a:lnTo>
                <a:lnTo>
                  <a:pt x="109" y="418"/>
                </a:lnTo>
                <a:lnTo>
                  <a:pt x="109" y="417"/>
                </a:lnTo>
                <a:lnTo>
                  <a:pt x="108" y="417"/>
                </a:lnTo>
                <a:lnTo>
                  <a:pt x="107" y="416"/>
                </a:lnTo>
                <a:lnTo>
                  <a:pt x="106" y="415"/>
                </a:lnTo>
                <a:lnTo>
                  <a:pt x="105" y="415"/>
                </a:lnTo>
                <a:lnTo>
                  <a:pt x="102" y="411"/>
                </a:lnTo>
                <a:lnTo>
                  <a:pt x="101" y="409"/>
                </a:lnTo>
                <a:lnTo>
                  <a:pt x="99" y="408"/>
                </a:lnTo>
                <a:lnTo>
                  <a:pt x="98" y="407"/>
                </a:lnTo>
                <a:lnTo>
                  <a:pt x="97" y="406"/>
                </a:lnTo>
                <a:lnTo>
                  <a:pt x="96" y="406"/>
                </a:lnTo>
                <a:lnTo>
                  <a:pt x="96" y="406"/>
                </a:lnTo>
                <a:lnTo>
                  <a:pt x="95" y="405"/>
                </a:lnTo>
                <a:lnTo>
                  <a:pt x="94" y="405"/>
                </a:lnTo>
                <a:lnTo>
                  <a:pt x="92" y="405"/>
                </a:lnTo>
                <a:lnTo>
                  <a:pt x="88" y="404"/>
                </a:lnTo>
                <a:lnTo>
                  <a:pt x="87" y="404"/>
                </a:lnTo>
                <a:lnTo>
                  <a:pt x="86" y="404"/>
                </a:lnTo>
                <a:lnTo>
                  <a:pt x="85" y="403"/>
                </a:lnTo>
                <a:lnTo>
                  <a:pt x="84" y="403"/>
                </a:lnTo>
                <a:lnTo>
                  <a:pt x="83" y="402"/>
                </a:lnTo>
                <a:lnTo>
                  <a:pt x="82" y="402"/>
                </a:lnTo>
                <a:lnTo>
                  <a:pt x="82" y="402"/>
                </a:lnTo>
                <a:lnTo>
                  <a:pt x="82" y="401"/>
                </a:lnTo>
                <a:lnTo>
                  <a:pt x="82" y="401"/>
                </a:lnTo>
                <a:lnTo>
                  <a:pt x="83" y="401"/>
                </a:lnTo>
                <a:lnTo>
                  <a:pt x="84" y="400"/>
                </a:lnTo>
                <a:lnTo>
                  <a:pt x="85" y="399"/>
                </a:lnTo>
                <a:lnTo>
                  <a:pt x="86" y="399"/>
                </a:lnTo>
                <a:lnTo>
                  <a:pt x="86" y="398"/>
                </a:lnTo>
                <a:lnTo>
                  <a:pt x="87" y="397"/>
                </a:lnTo>
                <a:lnTo>
                  <a:pt x="87" y="397"/>
                </a:lnTo>
                <a:lnTo>
                  <a:pt x="87" y="396"/>
                </a:ln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  <a:close/>
              </a:path>
            </a:pathLst>
          </a:custGeom>
          <a:solidFill>
            <a:srgbClr val="31539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Freeform 282">
            <a:extLst>
              <a:ext uri="{FF2B5EF4-FFF2-40B4-BE49-F238E27FC236}">
                <a16:creationId xmlns:a16="http://schemas.microsoft.com/office/drawing/2014/main" id="{9A809131-3D8C-4483-8E72-095B1A36DDEA}"/>
              </a:ext>
            </a:extLst>
          </p:cNvPr>
          <p:cNvSpPr>
            <a:spLocks/>
          </p:cNvSpPr>
          <p:nvPr/>
        </p:nvSpPr>
        <p:spPr bwMode="auto">
          <a:xfrm>
            <a:off x="8791228" y="4625061"/>
            <a:ext cx="1073908" cy="1241490"/>
          </a:xfrm>
          <a:custGeom>
            <a:avLst/>
            <a:gdLst>
              <a:gd name="T0" fmla="*/ 223 w 565"/>
              <a:gd name="T1" fmla="*/ 29 h 597"/>
              <a:gd name="T2" fmla="*/ 251 w 565"/>
              <a:gd name="T3" fmla="*/ 30 h 597"/>
              <a:gd name="T4" fmla="*/ 278 w 565"/>
              <a:gd name="T5" fmla="*/ 46 h 597"/>
              <a:gd name="T6" fmla="*/ 295 w 565"/>
              <a:gd name="T7" fmla="*/ 60 h 597"/>
              <a:gd name="T8" fmla="*/ 323 w 565"/>
              <a:gd name="T9" fmla="*/ 73 h 597"/>
              <a:gd name="T10" fmla="*/ 329 w 565"/>
              <a:gd name="T11" fmla="*/ 91 h 597"/>
              <a:gd name="T12" fmla="*/ 363 w 565"/>
              <a:gd name="T13" fmla="*/ 107 h 597"/>
              <a:gd name="T14" fmla="*/ 384 w 565"/>
              <a:gd name="T15" fmla="*/ 80 h 597"/>
              <a:gd name="T16" fmla="*/ 401 w 565"/>
              <a:gd name="T17" fmla="*/ 87 h 597"/>
              <a:gd name="T18" fmla="*/ 432 w 565"/>
              <a:gd name="T19" fmla="*/ 105 h 597"/>
              <a:gd name="T20" fmla="*/ 470 w 565"/>
              <a:gd name="T21" fmla="*/ 115 h 597"/>
              <a:gd name="T22" fmla="*/ 512 w 565"/>
              <a:gd name="T23" fmla="*/ 148 h 597"/>
              <a:gd name="T24" fmla="*/ 556 w 565"/>
              <a:gd name="T25" fmla="*/ 175 h 597"/>
              <a:gd name="T26" fmla="*/ 555 w 565"/>
              <a:gd name="T27" fmla="*/ 200 h 597"/>
              <a:gd name="T28" fmla="*/ 564 w 565"/>
              <a:gd name="T29" fmla="*/ 218 h 597"/>
              <a:gd name="T30" fmla="*/ 545 w 565"/>
              <a:gd name="T31" fmla="*/ 230 h 597"/>
              <a:gd name="T32" fmla="*/ 553 w 565"/>
              <a:gd name="T33" fmla="*/ 247 h 597"/>
              <a:gd name="T34" fmla="*/ 542 w 565"/>
              <a:gd name="T35" fmla="*/ 257 h 597"/>
              <a:gd name="T36" fmla="*/ 526 w 565"/>
              <a:gd name="T37" fmla="*/ 252 h 597"/>
              <a:gd name="T38" fmla="*/ 529 w 565"/>
              <a:gd name="T39" fmla="*/ 264 h 597"/>
              <a:gd name="T40" fmla="*/ 518 w 565"/>
              <a:gd name="T41" fmla="*/ 274 h 597"/>
              <a:gd name="T42" fmla="*/ 493 w 565"/>
              <a:gd name="T43" fmla="*/ 295 h 597"/>
              <a:gd name="T44" fmla="*/ 489 w 565"/>
              <a:gd name="T45" fmla="*/ 326 h 597"/>
              <a:gd name="T46" fmla="*/ 500 w 565"/>
              <a:gd name="T47" fmla="*/ 342 h 597"/>
              <a:gd name="T48" fmla="*/ 514 w 565"/>
              <a:gd name="T49" fmla="*/ 352 h 597"/>
              <a:gd name="T50" fmla="*/ 507 w 565"/>
              <a:gd name="T51" fmla="*/ 376 h 597"/>
              <a:gd name="T52" fmla="*/ 502 w 565"/>
              <a:gd name="T53" fmla="*/ 394 h 597"/>
              <a:gd name="T54" fmla="*/ 496 w 565"/>
              <a:gd name="T55" fmla="*/ 415 h 597"/>
              <a:gd name="T56" fmla="*/ 508 w 565"/>
              <a:gd name="T57" fmla="*/ 435 h 597"/>
              <a:gd name="T58" fmla="*/ 493 w 565"/>
              <a:gd name="T59" fmla="*/ 451 h 597"/>
              <a:gd name="T60" fmla="*/ 486 w 565"/>
              <a:gd name="T61" fmla="*/ 467 h 597"/>
              <a:gd name="T62" fmla="*/ 498 w 565"/>
              <a:gd name="T63" fmla="*/ 485 h 597"/>
              <a:gd name="T64" fmla="*/ 487 w 565"/>
              <a:gd name="T65" fmla="*/ 503 h 597"/>
              <a:gd name="T66" fmla="*/ 457 w 565"/>
              <a:gd name="T67" fmla="*/ 513 h 597"/>
              <a:gd name="T68" fmla="*/ 445 w 565"/>
              <a:gd name="T69" fmla="*/ 531 h 597"/>
              <a:gd name="T70" fmla="*/ 409 w 565"/>
              <a:gd name="T71" fmla="*/ 531 h 597"/>
              <a:gd name="T72" fmla="*/ 382 w 565"/>
              <a:gd name="T73" fmla="*/ 531 h 597"/>
              <a:gd name="T74" fmla="*/ 366 w 565"/>
              <a:gd name="T75" fmla="*/ 529 h 597"/>
              <a:gd name="T76" fmla="*/ 347 w 565"/>
              <a:gd name="T77" fmla="*/ 536 h 597"/>
              <a:gd name="T78" fmla="*/ 331 w 565"/>
              <a:gd name="T79" fmla="*/ 551 h 597"/>
              <a:gd name="T80" fmla="*/ 300 w 565"/>
              <a:gd name="T81" fmla="*/ 570 h 597"/>
              <a:gd name="T82" fmla="*/ 277 w 565"/>
              <a:gd name="T83" fmla="*/ 589 h 597"/>
              <a:gd name="T84" fmla="*/ 251 w 565"/>
              <a:gd name="T85" fmla="*/ 585 h 597"/>
              <a:gd name="T86" fmla="*/ 233 w 565"/>
              <a:gd name="T87" fmla="*/ 595 h 597"/>
              <a:gd name="T88" fmla="*/ 216 w 565"/>
              <a:gd name="T89" fmla="*/ 594 h 597"/>
              <a:gd name="T90" fmla="*/ 194 w 565"/>
              <a:gd name="T91" fmla="*/ 575 h 597"/>
              <a:gd name="T92" fmla="*/ 177 w 565"/>
              <a:gd name="T93" fmla="*/ 563 h 597"/>
              <a:gd name="T94" fmla="*/ 190 w 565"/>
              <a:gd name="T95" fmla="*/ 542 h 597"/>
              <a:gd name="T96" fmla="*/ 204 w 565"/>
              <a:gd name="T97" fmla="*/ 514 h 597"/>
              <a:gd name="T98" fmla="*/ 220 w 565"/>
              <a:gd name="T99" fmla="*/ 501 h 597"/>
              <a:gd name="T100" fmla="*/ 205 w 565"/>
              <a:gd name="T101" fmla="*/ 482 h 597"/>
              <a:gd name="T102" fmla="*/ 195 w 565"/>
              <a:gd name="T103" fmla="*/ 474 h 597"/>
              <a:gd name="T104" fmla="*/ 161 w 565"/>
              <a:gd name="T105" fmla="*/ 479 h 597"/>
              <a:gd name="T106" fmla="*/ 131 w 565"/>
              <a:gd name="T107" fmla="*/ 471 h 597"/>
              <a:gd name="T108" fmla="*/ 112 w 565"/>
              <a:gd name="T109" fmla="*/ 438 h 597"/>
              <a:gd name="T110" fmla="*/ 103 w 565"/>
              <a:gd name="T111" fmla="*/ 418 h 597"/>
              <a:gd name="T112" fmla="*/ 70 w 565"/>
              <a:gd name="T113" fmla="*/ 418 h 597"/>
              <a:gd name="T114" fmla="*/ 35 w 565"/>
              <a:gd name="T115" fmla="*/ 415 h 597"/>
              <a:gd name="T116" fmla="*/ 14 w 565"/>
              <a:gd name="T117" fmla="*/ 402 h 597"/>
              <a:gd name="T118" fmla="*/ 4 w 565"/>
              <a:gd name="T119" fmla="*/ 395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65" h="597">
                <a:moveTo>
                  <a:pt x="180" y="0"/>
                </a:moveTo>
                <a:lnTo>
                  <a:pt x="188" y="6"/>
                </a:lnTo>
                <a:lnTo>
                  <a:pt x="190" y="8"/>
                </a:lnTo>
                <a:lnTo>
                  <a:pt x="195" y="11"/>
                </a:lnTo>
                <a:lnTo>
                  <a:pt x="205" y="18"/>
                </a:lnTo>
                <a:lnTo>
                  <a:pt x="206" y="19"/>
                </a:lnTo>
                <a:lnTo>
                  <a:pt x="209" y="22"/>
                </a:lnTo>
                <a:lnTo>
                  <a:pt x="210" y="23"/>
                </a:lnTo>
                <a:lnTo>
                  <a:pt x="213" y="25"/>
                </a:lnTo>
                <a:lnTo>
                  <a:pt x="214" y="27"/>
                </a:lnTo>
                <a:lnTo>
                  <a:pt x="215" y="27"/>
                </a:lnTo>
                <a:lnTo>
                  <a:pt x="216" y="27"/>
                </a:lnTo>
                <a:lnTo>
                  <a:pt x="217" y="28"/>
                </a:lnTo>
                <a:lnTo>
                  <a:pt x="218" y="28"/>
                </a:lnTo>
                <a:lnTo>
                  <a:pt x="220" y="28"/>
                </a:lnTo>
                <a:lnTo>
                  <a:pt x="222" y="29"/>
                </a:lnTo>
                <a:lnTo>
                  <a:pt x="223" y="29"/>
                </a:lnTo>
                <a:lnTo>
                  <a:pt x="225" y="29"/>
                </a:lnTo>
                <a:lnTo>
                  <a:pt x="230" y="28"/>
                </a:lnTo>
                <a:lnTo>
                  <a:pt x="231" y="28"/>
                </a:lnTo>
                <a:lnTo>
                  <a:pt x="232" y="28"/>
                </a:lnTo>
                <a:lnTo>
                  <a:pt x="233" y="28"/>
                </a:lnTo>
                <a:lnTo>
                  <a:pt x="236" y="29"/>
                </a:lnTo>
                <a:lnTo>
                  <a:pt x="238" y="29"/>
                </a:lnTo>
                <a:lnTo>
                  <a:pt x="239" y="29"/>
                </a:lnTo>
                <a:lnTo>
                  <a:pt x="240" y="29"/>
                </a:lnTo>
                <a:lnTo>
                  <a:pt x="241" y="29"/>
                </a:lnTo>
                <a:lnTo>
                  <a:pt x="243" y="28"/>
                </a:lnTo>
                <a:lnTo>
                  <a:pt x="244" y="28"/>
                </a:lnTo>
                <a:lnTo>
                  <a:pt x="245" y="28"/>
                </a:lnTo>
                <a:lnTo>
                  <a:pt x="246" y="28"/>
                </a:lnTo>
                <a:lnTo>
                  <a:pt x="247" y="28"/>
                </a:lnTo>
                <a:lnTo>
                  <a:pt x="250" y="29"/>
                </a:lnTo>
                <a:lnTo>
                  <a:pt x="251" y="30"/>
                </a:lnTo>
                <a:lnTo>
                  <a:pt x="252" y="30"/>
                </a:lnTo>
                <a:lnTo>
                  <a:pt x="253" y="31"/>
                </a:lnTo>
                <a:lnTo>
                  <a:pt x="255" y="32"/>
                </a:lnTo>
                <a:lnTo>
                  <a:pt x="256" y="32"/>
                </a:lnTo>
                <a:lnTo>
                  <a:pt x="260" y="34"/>
                </a:lnTo>
                <a:lnTo>
                  <a:pt x="262" y="35"/>
                </a:lnTo>
                <a:lnTo>
                  <a:pt x="263" y="36"/>
                </a:lnTo>
                <a:lnTo>
                  <a:pt x="264" y="36"/>
                </a:lnTo>
                <a:lnTo>
                  <a:pt x="264" y="36"/>
                </a:lnTo>
                <a:lnTo>
                  <a:pt x="268" y="40"/>
                </a:lnTo>
                <a:lnTo>
                  <a:pt x="269" y="41"/>
                </a:lnTo>
                <a:lnTo>
                  <a:pt x="270" y="42"/>
                </a:lnTo>
                <a:lnTo>
                  <a:pt x="271" y="43"/>
                </a:lnTo>
                <a:lnTo>
                  <a:pt x="273" y="44"/>
                </a:lnTo>
                <a:lnTo>
                  <a:pt x="275" y="45"/>
                </a:lnTo>
                <a:lnTo>
                  <a:pt x="276" y="46"/>
                </a:lnTo>
                <a:lnTo>
                  <a:pt x="278" y="46"/>
                </a:lnTo>
                <a:lnTo>
                  <a:pt x="279" y="47"/>
                </a:lnTo>
                <a:lnTo>
                  <a:pt x="283" y="47"/>
                </a:lnTo>
                <a:lnTo>
                  <a:pt x="285" y="48"/>
                </a:lnTo>
                <a:lnTo>
                  <a:pt x="288" y="49"/>
                </a:lnTo>
                <a:lnTo>
                  <a:pt x="289" y="50"/>
                </a:lnTo>
                <a:lnTo>
                  <a:pt x="290" y="50"/>
                </a:lnTo>
                <a:lnTo>
                  <a:pt x="291" y="50"/>
                </a:lnTo>
                <a:lnTo>
                  <a:pt x="291" y="51"/>
                </a:lnTo>
                <a:lnTo>
                  <a:pt x="291" y="51"/>
                </a:lnTo>
                <a:lnTo>
                  <a:pt x="292" y="52"/>
                </a:lnTo>
                <a:lnTo>
                  <a:pt x="292" y="52"/>
                </a:lnTo>
                <a:lnTo>
                  <a:pt x="292" y="53"/>
                </a:lnTo>
                <a:lnTo>
                  <a:pt x="293" y="57"/>
                </a:lnTo>
                <a:lnTo>
                  <a:pt x="294" y="58"/>
                </a:lnTo>
                <a:lnTo>
                  <a:pt x="294" y="59"/>
                </a:lnTo>
                <a:lnTo>
                  <a:pt x="295" y="60"/>
                </a:lnTo>
                <a:lnTo>
                  <a:pt x="295" y="60"/>
                </a:lnTo>
                <a:lnTo>
                  <a:pt x="296" y="61"/>
                </a:lnTo>
                <a:lnTo>
                  <a:pt x="297" y="61"/>
                </a:lnTo>
                <a:lnTo>
                  <a:pt x="298" y="62"/>
                </a:lnTo>
                <a:lnTo>
                  <a:pt x="299" y="62"/>
                </a:lnTo>
                <a:lnTo>
                  <a:pt x="301" y="63"/>
                </a:lnTo>
                <a:lnTo>
                  <a:pt x="303" y="63"/>
                </a:lnTo>
                <a:lnTo>
                  <a:pt x="305" y="64"/>
                </a:lnTo>
                <a:lnTo>
                  <a:pt x="307" y="65"/>
                </a:lnTo>
                <a:lnTo>
                  <a:pt x="309" y="65"/>
                </a:lnTo>
                <a:lnTo>
                  <a:pt x="311" y="66"/>
                </a:lnTo>
                <a:lnTo>
                  <a:pt x="312" y="67"/>
                </a:lnTo>
                <a:lnTo>
                  <a:pt x="315" y="69"/>
                </a:lnTo>
                <a:lnTo>
                  <a:pt x="317" y="70"/>
                </a:lnTo>
                <a:lnTo>
                  <a:pt x="318" y="71"/>
                </a:lnTo>
                <a:lnTo>
                  <a:pt x="320" y="72"/>
                </a:lnTo>
                <a:lnTo>
                  <a:pt x="321" y="72"/>
                </a:lnTo>
                <a:lnTo>
                  <a:pt x="323" y="73"/>
                </a:lnTo>
                <a:lnTo>
                  <a:pt x="324" y="73"/>
                </a:lnTo>
                <a:lnTo>
                  <a:pt x="327" y="74"/>
                </a:lnTo>
                <a:lnTo>
                  <a:pt x="328" y="74"/>
                </a:lnTo>
                <a:lnTo>
                  <a:pt x="328" y="74"/>
                </a:lnTo>
                <a:lnTo>
                  <a:pt x="329" y="75"/>
                </a:lnTo>
                <a:lnTo>
                  <a:pt x="329" y="76"/>
                </a:lnTo>
                <a:lnTo>
                  <a:pt x="329" y="77"/>
                </a:lnTo>
                <a:lnTo>
                  <a:pt x="329" y="78"/>
                </a:lnTo>
                <a:lnTo>
                  <a:pt x="329" y="78"/>
                </a:lnTo>
                <a:lnTo>
                  <a:pt x="329" y="79"/>
                </a:lnTo>
                <a:lnTo>
                  <a:pt x="328" y="82"/>
                </a:lnTo>
                <a:lnTo>
                  <a:pt x="328" y="84"/>
                </a:lnTo>
                <a:lnTo>
                  <a:pt x="328" y="86"/>
                </a:lnTo>
                <a:lnTo>
                  <a:pt x="328" y="87"/>
                </a:lnTo>
                <a:lnTo>
                  <a:pt x="328" y="89"/>
                </a:lnTo>
                <a:lnTo>
                  <a:pt x="328" y="90"/>
                </a:lnTo>
                <a:lnTo>
                  <a:pt x="329" y="91"/>
                </a:lnTo>
                <a:lnTo>
                  <a:pt x="330" y="93"/>
                </a:lnTo>
                <a:lnTo>
                  <a:pt x="331" y="94"/>
                </a:lnTo>
                <a:lnTo>
                  <a:pt x="332" y="95"/>
                </a:lnTo>
                <a:lnTo>
                  <a:pt x="333" y="96"/>
                </a:lnTo>
                <a:lnTo>
                  <a:pt x="334" y="97"/>
                </a:lnTo>
                <a:lnTo>
                  <a:pt x="337" y="98"/>
                </a:lnTo>
                <a:lnTo>
                  <a:pt x="345" y="103"/>
                </a:lnTo>
                <a:lnTo>
                  <a:pt x="350" y="105"/>
                </a:lnTo>
                <a:lnTo>
                  <a:pt x="352" y="106"/>
                </a:lnTo>
                <a:lnTo>
                  <a:pt x="353" y="106"/>
                </a:lnTo>
                <a:lnTo>
                  <a:pt x="354" y="107"/>
                </a:lnTo>
                <a:lnTo>
                  <a:pt x="355" y="107"/>
                </a:lnTo>
                <a:lnTo>
                  <a:pt x="356" y="107"/>
                </a:lnTo>
                <a:lnTo>
                  <a:pt x="358" y="107"/>
                </a:lnTo>
                <a:lnTo>
                  <a:pt x="360" y="107"/>
                </a:lnTo>
                <a:lnTo>
                  <a:pt x="362" y="107"/>
                </a:lnTo>
                <a:lnTo>
                  <a:pt x="363" y="107"/>
                </a:lnTo>
                <a:lnTo>
                  <a:pt x="364" y="107"/>
                </a:lnTo>
                <a:lnTo>
                  <a:pt x="366" y="106"/>
                </a:lnTo>
                <a:lnTo>
                  <a:pt x="366" y="106"/>
                </a:lnTo>
                <a:lnTo>
                  <a:pt x="367" y="105"/>
                </a:lnTo>
                <a:lnTo>
                  <a:pt x="368" y="104"/>
                </a:lnTo>
                <a:lnTo>
                  <a:pt x="369" y="104"/>
                </a:lnTo>
                <a:lnTo>
                  <a:pt x="371" y="100"/>
                </a:lnTo>
                <a:lnTo>
                  <a:pt x="373" y="98"/>
                </a:lnTo>
                <a:lnTo>
                  <a:pt x="374" y="96"/>
                </a:lnTo>
                <a:lnTo>
                  <a:pt x="375" y="95"/>
                </a:lnTo>
                <a:lnTo>
                  <a:pt x="375" y="94"/>
                </a:lnTo>
                <a:lnTo>
                  <a:pt x="377" y="90"/>
                </a:lnTo>
                <a:lnTo>
                  <a:pt x="378" y="87"/>
                </a:lnTo>
                <a:lnTo>
                  <a:pt x="380" y="85"/>
                </a:lnTo>
                <a:lnTo>
                  <a:pt x="381" y="83"/>
                </a:lnTo>
                <a:lnTo>
                  <a:pt x="382" y="82"/>
                </a:lnTo>
                <a:lnTo>
                  <a:pt x="384" y="80"/>
                </a:lnTo>
                <a:lnTo>
                  <a:pt x="385" y="79"/>
                </a:lnTo>
                <a:lnTo>
                  <a:pt x="386" y="78"/>
                </a:lnTo>
                <a:lnTo>
                  <a:pt x="387" y="77"/>
                </a:lnTo>
                <a:lnTo>
                  <a:pt x="388" y="77"/>
                </a:lnTo>
                <a:lnTo>
                  <a:pt x="389" y="77"/>
                </a:lnTo>
                <a:lnTo>
                  <a:pt x="389" y="77"/>
                </a:lnTo>
                <a:lnTo>
                  <a:pt x="390" y="78"/>
                </a:lnTo>
                <a:lnTo>
                  <a:pt x="391" y="78"/>
                </a:lnTo>
                <a:lnTo>
                  <a:pt x="392" y="79"/>
                </a:lnTo>
                <a:lnTo>
                  <a:pt x="394" y="82"/>
                </a:lnTo>
                <a:lnTo>
                  <a:pt x="395" y="83"/>
                </a:lnTo>
                <a:lnTo>
                  <a:pt x="396" y="84"/>
                </a:lnTo>
                <a:lnTo>
                  <a:pt x="397" y="85"/>
                </a:lnTo>
                <a:lnTo>
                  <a:pt x="398" y="85"/>
                </a:lnTo>
                <a:lnTo>
                  <a:pt x="399" y="86"/>
                </a:lnTo>
                <a:lnTo>
                  <a:pt x="400" y="87"/>
                </a:lnTo>
                <a:lnTo>
                  <a:pt x="401" y="87"/>
                </a:lnTo>
                <a:lnTo>
                  <a:pt x="403" y="88"/>
                </a:lnTo>
                <a:lnTo>
                  <a:pt x="405" y="89"/>
                </a:lnTo>
                <a:lnTo>
                  <a:pt x="408" y="89"/>
                </a:lnTo>
                <a:lnTo>
                  <a:pt x="412" y="90"/>
                </a:lnTo>
                <a:lnTo>
                  <a:pt x="414" y="91"/>
                </a:lnTo>
                <a:lnTo>
                  <a:pt x="416" y="91"/>
                </a:lnTo>
                <a:lnTo>
                  <a:pt x="417" y="92"/>
                </a:lnTo>
                <a:lnTo>
                  <a:pt x="418" y="93"/>
                </a:lnTo>
                <a:lnTo>
                  <a:pt x="419" y="93"/>
                </a:lnTo>
                <a:lnTo>
                  <a:pt x="420" y="94"/>
                </a:lnTo>
                <a:lnTo>
                  <a:pt x="421" y="95"/>
                </a:lnTo>
                <a:lnTo>
                  <a:pt x="423" y="97"/>
                </a:lnTo>
                <a:lnTo>
                  <a:pt x="425" y="98"/>
                </a:lnTo>
                <a:lnTo>
                  <a:pt x="428" y="102"/>
                </a:lnTo>
                <a:lnTo>
                  <a:pt x="430" y="104"/>
                </a:lnTo>
                <a:lnTo>
                  <a:pt x="431" y="105"/>
                </a:lnTo>
                <a:lnTo>
                  <a:pt x="432" y="105"/>
                </a:lnTo>
                <a:lnTo>
                  <a:pt x="433" y="106"/>
                </a:lnTo>
                <a:lnTo>
                  <a:pt x="433" y="106"/>
                </a:lnTo>
                <a:lnTo>
                  <a:pt x="434" y="106"/>
                </a:lnTo>
                <a:lnTo>
                  <a:pt x="435" y="106"/>
                </a:lnTo>
                <a:lnTo>
                  <a:pt x="436" y="107"/>
                </a:lnTo>
                <a:lnTo>
                  <a:pt x="438" y="107"/>
                </a:lnTo>
                <a:lnTo>
                  <a:pt x="444" y="107"/>
                </a:lnTo>
                <a:lnTo>
                  <a:pt x="446" y="107"/>
                </a:lnTo>
                <a:lnTo>
                  <a:pt x="447" y="107"/>
                </a:lnTo>
                <a:lnTo>
                  <a:pt x="448" y="108"/>
                </a:lnTo>
                <a:lnTo>
                  <a:pt x="449" y="108"/>
                </a:lnTo>
                <a:lnTo>
                  <a:pt x="453" y="110"/>
                </a:lnTo>
                <a:lnTo>
                  <a:pt x="454" y="110"/>
                </a:lnTo>
                <a:lnTo>
                  <a:pt x="460" y="112"/>
                </a:lnTo>
                <a:lnTo>
                  <a:pt x="465" y="113"/>
                </a:lnTo>
                <a:lnTo>
                  <a:pt x="469" y="115"/>
                </a:lnTo>
                <a:lnTo>
                  <a:pt x="470" y="115"/>
                </a:lnTo>
                <a:lnTo>
                  <a:pt x="472" y="115"/>
                </a:lnTo>
                <a:lnTo>
                  <a:pt x="477" y="119"/>
                </a:lnTo>
                <a:lnTo>
                  <a:pt x="483" y="121"/>
                </a:lnTo>
                <a:lnTo>
                  <a:pt x="485" y="122"/>
                </a:lnTo>
                <a:lnTo>
                  <a:pt x="487" y="123"/>
                </a:lnTo>
                <a:lnTo>
                  <a:pt x="489" y="125"/>
                </a:lnTo>
                <a:lnTo>
                  <a:pt x="491" y="126"/>
                </a:lnTo>
                <a:lnTo>
                  <a:pt x="493" y="128"/>
                </a:lnTo>
                <a:lnTo>
                  <a:pt x="495" y="129"/>
                </a:lnTo>
                <a:lnTo>
                  <a:pt x="500" y="135"/>
                </a:lnTo>
                <a:lnTo>
                  <a:pt x="502" y="137"/>
                </a:lnTo>
                <a:lnTo>
                  <a:pt x="503" y="139"/>
                </a:lnTo>
                <a:lnTo>
                  <a:pt x="505" y="142"/>
                </a:lnTo>
                <a:lnTo>
                  <a:pt x="507" y="143"/>
                </a:lnTo>
                <a:lnTo>
                  <a:pt x="508" y="145"/>
                </a:lnTo>
                <a:lnTo>
                  <a:pt x="510" y="146"/>
                </a:lnTo>
                <a:lnTo>
                  <a:pt x="512" y="148"/>
                </a:lnTo>
                <a:lnTo>
                  <a:pt x="513" y="148"/>
                </a:lnTo>
                <a:lnTo>
                  <a:pt x="514" y="148"/>
                </a:lnTo>
                <a:lnTo>
                  <a:pt x="515" y="149"/>
                </a:lnTo>
                <a:lnTo>
                  <a:pt x="518" y="149"/>
                </a:lnTo>
                <a:lnTo>
                  <a:pt x="519" y="150"/>
                </a:lnTo>
                <a:lnTo>
                  <a:pt x="525" y="151"/>
                </a:lnTo>
                <a:lnTo>
                  <a:pt x="530" y="153"/>
                </a:lnTo>
                <a:lnTo>
                  <a:pt x="532" y="154"/>
                </a:lnTo>
                <a:lnTo>
                  <a:pt x="534" y="155"/>
                </a:lnTo>
                <a:lnTo>
                  <a:pt x="536" y="156"/>
                </a:lnTo>
                <a:lnTo>
                  <a:pt x="541" y="159"/>
                </a:lnTo>
                <a:lnTo>
                  <a:pt x="545" y="162"/>
                </a:lnTo>
                <a:lnTo>
                  <a:pt x="546" y="163"/>
                </a:lnTo>
                <a:lnTo>
                  <a:pt x="547" y="164"/>
                </a:lnTo>
                <a:lnTo>
                  <a:pt x="549" y="165"/>
                </a:lnTo>
                <a:lnTo>
                  <a:pt x="550" y="167"/>
                </a:lnTo>
                <a:lnTo>
                  <a:pt x="556" y="175"/>
                </a:lnTo>
                <a:lnTo>
                  <a:pt x="556" y="176"/>
                </a:lnTo>
                <a:lnTo>
                  <a:pt x="556" y="177"/>
                </a:lnTo>
                <a:lnTo>
                  <a:pt x="556" y="178"/>
                </a:lnTo>
                <a:lnTo>
                  <a:pt x="556" y="180"/>
                </a:lnTo>
                <a:lnTo>
                  <a:pt x="555" y="182"/>
                </a:lnTo>
                <a:lnTo>
                  <a:pt x="554" y="185"/>
                </a:lnTo>
                <a:lnTo>
                  <a:pt x="552" y="191"/>
                </a:lnTo>
                <a:lnTo>
                  <a:pt x="552" y="192"/>
                </a:lnTo>
                <a:lnTo>
                  <a:pt x="551" y="193"/>
                </a:lnTo>
                <a:lnTo>
                  <a:pt x="551" y="194"/>
                </a:lnTo>
                <a:lnTo>
                  <a:pt x="551" y="195"/>
                </a:lnTo>
                <a:lnTo>
                  <a:pt x="551" y="195"/>
                </a:lnTo>
                <a:lnTo>
                  <a:pt x="552" y="196"/>
                </a:lnTo>
                <a:lnTo>
                  <a:pt x="552" y="197"/>
                </a:lnTo>
                <a:lnTo>
                  <a:pt x="553" y="198"/>
                </a:lnTo>
                <a:lnTo>
                  <a:pt x="554" y="200"/>
                </a:lnTo>
                <a:lnTo>
                  <a:pt x="555" y="200"/>
                </a:lnTo>
                <a:lnTo>
                  <a:pt x="557" y="201"/>
                </a:lnTo>
                <a:lnTo>
                  <a:pt x="560" y="203"/>
                </a:lnTo>
                <a:lnTo>
                  <a:pt x="561" y="204"/>
                </a:lnTo>
                <a:lnTo>
                  <a:pt x="562" y="205"/>
                </a:lnTo>
                <a:lnTo>
                  <a:pt x="563" y="206"/>
                </a:lnTo>
                <a:lnTo>
                  <a:pt x="564" y="206"/>
                </a:lnTo>
                <a:lnTo>
                  <a:pt x="564" y="207"/>
                </a:lnTo>
                <a:lnTo>
                  <a:pt x="565" y="208"/>
                </a:lnTo>
                <a:lnTo>
                  <a:pt x="565" y="209"/>
                </a:lnTo>
                <a:lnTo>
                  <a:pt x="565" y="210"/>
                </a:lnTo>
                <a:lnTo>
                  <a:pt x="565" y="211"/>
                </a:lnTo>
                <a:lnTo>
                  <a:pt x="565" y="212"/>
                </a:lnTo>
                <a:lnTo>
                  <a:pt x="565" y="213"/>
                </a:lnTo>
                <a:lnTo>
                  <a:pt x="565" y="214"/>
                </a:lnTo>
                <a:lnTo>
                  <a:pt x="565" y="215"/>
                </a:lnTo>
                <a:lnTo>
                  <a:pt x="565" y="216"/>
                </a:lnTo>
                <a:lnTo>
                  <a:pt x="564" y="218"/>
                </a:lnTo>
                <a:lnTo>
                  <a:pt x="563" y="220"/>
                </a:lnTo>
                <a:lnTo>
                  <a:pt x="562" y="221"/>
                </a:lnTo>
                <a:lnTo>
                  <a:pt x="560" y="223"/>
                </a:lnTo>
                <a:lnTo>
                  <a:pt x="558" y="225"/>
                </a:lnTo>
                <a:lnTo>
                  <a:pt x="557" y="227"/>
                </a:lnTo>
                <a:lnTo>
                  <a:pt x="555" y="228"/>
                </a:lnTo>
                <a:lnTo>
                  <a:pt x="554" y="228"/>
                </a:lnTo>
                <a:lnTo>
                  <a:pt x="553" y="229"/>
                </a:lnTo>
                <a:lnTo>
                  <a:pt x="552" y="229"/>
                </a:lnTo>
                <a:lnTo>
                  <a:pt x="551" y="230"/>
                </a:lnTo>
                <a:lnTo>
                  <a:pt x="550" y="230"/>
                </a:lnTo>
                <a:lnTo>
                  <a:pt x="549" y="230"/>
                </a:lnTo>
                <a:lnTo>
                  <a:pt x="547" y="230"/>
                </a:lnTo>
                <a:lnTo>
                  <a:pt x="546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0"/>
                </a:lnTo>
                <a:lnTo>
                  <a:pt x="545" y="231"/>
                </a:lnTo>
                <a:lnTo>
                  <a:pt x="545" y="232"/>
                </a:lnTo>
                <a:lnTo>
                  <a:pt x="545" y="233"/>
                </a:lnTo>
                <a:lnTo>
                  <a:pt x="546" y="234"/>
                </a:lnTo>
                <a:lnTo>
                  <a:pt x="546" y="235"/>
                </a:lnTo>
                <a:lnTo>
                  <a:pt x="547" y="236"/>
                </a:lnTo>
                <a:lnTo>
                  <a:pt x="548" y="237"/>
                </a:lnTo>
                <a:lnTo>
                  <a:pt x="550" y="239"/>
                </a:lnTo>
                <a:lnTo>
                  <a:pt x="551" y="240"/>
                </a:lnTo>
                <a:lnTo>
                  <a:pt x="552" y="241"/>
                </a:lnTo>
                <a:lnTo>
                  <a:pt x="553" y="243"/>
                </a:lnTo>
                <a:lnTo>
                  <a:pt x="553" y="244"/>
                </a:lnTo>
                <a:lnTo>
                  <a:pt x="553" y="245"/>
                </a:lnTo>
                <a:lnTo>
                  <a:pt x="553" y="246"/>
                </a:lnTo>
                <a:lnTo>
                  <a:pt x="553" y="247"/>
                </a:lnTo>
                <a:lnTo>
                  <a:pt x="553" y="247"/>
                </a:lnTo>
                <a:lnTo>
                  <a:pt x="553" y="248"/>
                </a:lnTo>
                <a:lnTo>
                  <a:pt x="553" y="249"/>
                </a:lnTo>
                <a:lnTo>
                  <a:pt x="552" y="252"/>
                </a:lnTo>
                <a:lnTo>
                  <a:pt x="551" y="255"/>
                </a:lnTo>
                <a:lnTo>
                  <a:pt x="551" y="256"/>
                </a:lnTo>
                <a:lnTo>
                  <a:pt x="550" y="257"/>
                </a:lnTo>
                <a:lnTo>
                  <a:pt x="550" y="257"/>
                </a:lnTo>
                <a:lnTo>
                  <a:pt x="549" y="258"/>
                </a:lnTo>
                <a:lnTo>
                  <a:pt x="548" y="258"/>
                </a:lnTo>
                <a:lnTo>
                  <a:pt x="548" y="258"/>
                </a:lnTo>
                <a:lnTo>
                  <a:pt x="547" y="259"/>
                </a:lnTo>
                <a:lnTo>
                  <a:pt x="545" y="259"/>
                </a:lnTo>
                <a:lnTo>
                  <a:pt x="544" y="259"/>
                </a:lnTo>
                <a:lnTo>
                  <a:pt x="544" y="258"/>
                </a:lnTo>
                <a:lnTo>
                  <a:pt x="543" y="258"/>
                </a:lnTo>
                <a:lnTo>
                  <a:pt x="542" y="258"/>
                </a:lnTo>
                <a:lnTo>
                  <a:pt x="542" y="257"/>
                </a:lnTo>
                <a:lnTo>
                  <a:pt x="541" y="256"/>
                </a:lnTo>
                <a:lnTo>
                  <a:pt x="540" y="255"/>
                </a:lnTo>
                <a:lnTo>
                  <a:pt x="540" y="255"/>
                </a:lnTo>
                <a:lnTo>
                  <a:pt x="539" y="253"/>
                </a:lnTo>
                <a:lnTo>
                  <a:pt x="538" y="251"/>
                </a:lnTo>
                <a:lnTo>
                  <a:pt x="538" y="251"/>
                </a:lnTo>
                <a:lnTo>
                  <a:pt x="537" y="251"/>
                </a:lnTo>
                <a:lnTo>
                  <a:pt x="537" y="250"/>
                </a:lnTo>
                <a:lnTo>
                  <a:pt x="536" y="250"/>
                </a:lnTo>
                <a:lnTo>
                  <a:pt x="535" y="250"/>
                </a:lnTo>
                <a:lnTo>
                  <a:pt x="534" y="249"/>
                </a:lnTo>
                <a:lnTo>
                  <a:pt x="533" y="249"/>
                </a:lnTo>
                <a:lnTo>
                  <a:pt x="531" y="250"/>
                </a:lnTo>
                <a:lnTo>
                  <a:pt x="530" y="250"/>
                </a:lnTo>
                <a:lnTo>
                  <a:pt x="529" y="251"/>
                </a:lnTo>
                <a:lnTo>
                  <a:pt x="527" y="251"/>
                </a:lnTo>
                <a:lnTo>
                  <a:pt x="526" y="252"/>
                </a:lnTo>
                <a:lnTo>
                  <a:pt x="525" y="253"/>
                </a:lnTo>
                <a:lnTo>
                  <a:pt x="524" y="254"/>
                </a:lnTo>
                <a:lnTo>
                  <a:pt x="522" y="256"/>
                </a:lnTo>
                <a:lnTo>
                  <a:pt x="521" y="257"/>
                </a:lnTo>
                <a:lnTo>
                  <a:pt x="521" y="258"/>
                </a:lnTo>
                <a:lnTo>
                  <a:pt x="520" y="259"/>
                </a:lnTo>
                <a:lnTo>
                  <a:pt x="520" y="259"/>
                </a:lnTo>
                <a:lnTo>
                  <a:pt x="520" y="260"/>
                </a:lnTo>
                <a:lnTo>
                  <a:pt x="520" y="260"/>
                </a:lnTo>
                <a:lnTo>
                  <a:pt x="520" y="261"/>
                </a:lnTo>
                <a:lnTo>
                  <a:pt x="520" y="261"/>
                </a:lnTo>
                <a:lnTo>
                  <a:pt x="521" y="261"/>
                </a:lnTo>
                <a:lnTo>
                  <a:pt x="522" y="261"/>
                </a:lnTo>
                <a:lnTo>
                  <a:pt x="526" y="262"/>
                </a:lnTo>
                <a:lnTo>
                  <a:pt x="527" y="263"/>
                </a:lnTo>
                <a:lnTo>
                  <a:pt x="528" y="263"/>
                </a:lnTo>
                <a:lnTo>
                  <a:pt x="529" y="264"/>
                </a:lnTo>
                <a:lnTo>
                  <a:pt x="529" y="264"/>
                </a:lnTo>
                <a:lnTo>
                  <a:pt x="530" y="265"/>
                </a:lnTo>
                <a:lnTo>
                  <a:pt x="530" y="265"/>
                </a:lnTo>
                <a:lnTo>
                  <a:pt x="531" y="266"/>
                </a:lnTo>
                <a:lnTo>
                  <a:pt x="531" y="267"/>
                </a:lnTo>
                <a:lnTo>
                  <a:pt x="531" y="267"/>
                </a:lnTo>
                <a:lnTo>
                  <a:pt x="531" y="268"/>
                </a:lnTo>
                <a:lnTo>
                  <a:pt x="530" y="269"/>
                </a:lnTo>
                <a:lnTo>
                  <a:pt x="530" y="269"/>
                </a:lnTo>
                <a:lnTo>
                  <a:pt x="530" y="270"/>
                </a:lnTo>
                <a:lnTo>
                  <a:pt x="529" y="271"/>
                </a:lnTo>
                <a:lnTo>
                  <a:pt x="528" y="272"/>
                </a:lnTo>
                <a:lnTo>
                  <a:pt x="527" y="272"/>
                </a:lnTo>
                <a:lnTo>
                  <a:pt x="526" y="273"/>
                </a:lnTo>
                <a:lnTo>
                  <a:pt x="524" y="273"/>
                </a:lnTo>
                <a:lnTo>
                  <a:pt x="521" y="274"/>
                </a:lnTo>
                <a:lnTo>
                  <a:pt x="518" y="274"/>
                </a:lnTo>
                <a:lnTo>
                  <a:pt x="514" y="274"/>
                </a:lnTo>
                <a:lnTo>
                  <a:pt x="512" y="275"/>
                </a:lnTo>
                <a:lnTo>
                  <a:pt x="510" y="275"/>
                </a:lnTo>
                <a:lnTo>
                  <a:pt x="509" y="276"/>
                </a:lnTo>
                <a:lnTo>
                  <a:pt x="507" y="277"/>
                </a:lnTo>
                <a:lnTo>
                  <a:pt x="506" y="278"/>
                </a:lnTo>
                <a:lnTo>
                  <a:pt x="505" y="278"/>
                </a:lnTo>
                <a:lnTo>
                  <a:pt x="505" y="279"/>
                </a:lnTo>
                <a:lnTo>
                  <a:pt x="504" y="280"/>
                </a:lnTo>
                <a:lnTo>
                  <a:pt x="503" y="281"/>
                </a:lnTo>
                <a:lnTo>
                  <a:pt x="502" y="282"/>
                </a:lnTo>
                <a:lnTo>
                  <a:pt x="501" y="284"/>
                </a:lnTo>
                <a:lnTo>
                  <a:pt x="499" y="288"/>
                </a:lnTo>
                <a:lnTo>
                  <a:pt x="498" y="289"/>
                </a:lnTo>
                <a:lnTo>
                  <a:pt x="497" y="291"/>
                </a:lnTo>
                <a:lnTo>
                  <a:pt x="495" y="294"/>
                </a:lnTo>
                <a:lnTo>
                  <a:pt x="493" y="295"/>
                </a:lnTo>
                <a:lnTo>
                  <a:pt x="492" y="297"/>
                </a:lnTo>
                <a:lnTo>
                  <a:pt x="491" y="299"/>
                </a:lnTo>
                <a:lnTo>
                  <a:pt x="491" y="300"/>
                </a:lnTo>
                <a:lnTo>
                  <a:pt x="491" y="301"/>
                </a:lnTo>
                <a:lnTo>
                  <a:pt x="490" y="303"/>
                </a:lnTo>
                <a:lnTo>
                  <a:pt x="490" y="307"/>
                </a:lnTo>
                <a:lnTo>
                  <a:pt x="490" y="310"/>
                </a:lnTo>
                <a:lnTo>
                  <a:pt x="490" y="312"/>
                </a:lnTo>
                <a:lnTo>
                  <a:pt x="489" y="315"/>
                </a:lnTo>
                <a:lnTo>
                  <a:pt x="488" y="319"/>
                </a:lnTo>
                <a:lnTo>
                  <a:pt x="488" y="321"/>
                </a:lnTo>
                <a:lnTo>
                  <a:pt x="488" y="322"/>
                </a:lnTo>
                <a:lnTo>
                  <a:pt x="488" y="323"/>
                </a:lnTo>
                <a:lnTo>
                  <a:pt x="488" y="324"/>
                </a:lnTo>
                <a:lnTo>
                  <a:pt x="488" y="325"/>
                </a:lnTo>
                <a:lnTo>
                  <a:pt x="489" y="325"/>
                </a:lnTo>
                <a:lnTo>
                  <a:pt x="489" y="326"/>
                </a:lnTo>
                <a:lnTo>
                  <a:pt x="490" y="327"/>
                </a:lnTo>
                <a:lnTo>
                  <a:pt x="491" y="327"/>
                </a:lnTo>
                <a:lnTo>
                  <a:pt x="495" y="331"/>
                </a:lnTo>
                <a:lnTo>
                  <a:pt x="502" y="336"/>
                </a:lnTo>
                <a:lnTo>
                  <a:pt x="503" y="336"/>
                </a:lnTo>
                <a:lnTo>
                  <a:pt x="503" y="337"/>
                </a:lnTo>
                <a:lnTo>
                  <a:pt x="503" y="337"/>
                </a:lnTo>
                <a:lnTo>
                  <a:pt x="504" y="338"/>
                </a:lnTo>
                <a:lnTo>
                  <a:pt x="503" y="338"/>
                </a:lnTo>
                <a:lnTo>
                  <a:pt x="503" y="338"/>
                </a:lnTo>
                <a:lnTo>
                  <a:pt x="503" y="339"/>
                </a:lnTo>
                <a:lnTo>
                  <a:pt x="501" y="340"/>
                </a:lnTo>
                <a:lnTo>
                  <a:pt x="501" y="340"/>
                </a:lnTo>
                <a:lnTo>
                  <a:pt x="500" y="341"/>
                </a:lnTo>
                <a:lnTo>
                  <a:pt x="500" y="341"/>
                </a:lnTo>
                <a:lnTo>
                  <a:pt x="500" y="342"/>
                </a:lnTo>
                <a:lnTo>
                  <a:pt x="500" y="342"/>
                </a:lnTo>
                <a:lnTo>
                  <a:pt x="500" y="343"/>
                </a:lnTo>
                <a:lnTo>
                  <a:pt x="501" y="343"/>
                </a:lnTo>
                <a:lnTo>
                  <a:pt x="501" y="344"/>
                </a:lnTo>
                <a:lnTo>
                  <a:pt x="502" y="344"/>
                </a:lnTo>
                <a:lnTo>
                  <a:pt x="503" y="345"/>
                </a:lnTo>
                <a:lnTo>
                  <a:pt x="504" y="345"/>
                </a:lnTo>
                <a:lnTo>
                  <a:pt x="506" y="346"/>
                </a:lnTo>
                <a:lnTo>
                  <a:pt x="507" y="346"/>
                </a:lnTo>
                <a:lnTo>
                  <a:pt x="511" y="347"/>
                </a:lnTo>
                <a:lnTo>
                  <a:pt x="512" y="348"/>
                </a:lnTo>
                <a:lnTo>
                  <a:pt x="512" y="348"/>
                </a:lnTo>
                <a:lnTo>
                  <a:pt x="513" y="349"/>
                </a:lnTo>
                <a:lnTo>
                  <a:pt x="513" y="349"/>
                </a:lnTo>
                <a:lnTo>
                  <a:pt x="514" y="350"/>
                </a:lnTo>
                <a:lnTo>
                  <a:pt x="514" y="351"/>
                </a:lnTo>
                <a:lnTo>
                  <a:pt x="514" y="351"/>
                </a:lnTo>
                <a:lnTo>
                  <a:pt x="514" y="352"/>
                </a:lnTo>
                <a:lnTo>
                  <a:pt x="514" y="353"/>
                </a:lnTo>
                <a:lnTo>
                  <a:pt x="514" y="354"/>
                </a:lnTo>
                <a:lnTo>
                  <a:pt x="513" y="355"/>
                </a:lnTo>
                <a:lnTo>
                  <a:pt x="513" y="356"/>
                </a:lnTo>
                <a:lnTo>
                  <a:pt x="512" y="358"/>
                </a:lnTo>
                <a:lnTo>
                  <a:pt x="511" y="360"/>
                </a:lnTo>
                <a:lnTo>
                  <a:pt x="507" y="365"/>
                </a:lnTo>
                <a:lnTo>
                  <a:pt x="506" y="366"/>
                </a:lnTo>
                <a:lnTo>
                  <a:pt x="506" y="367"/>
                </a:lnTo>
                <a:lnTo>
                  <a:pt x="505" y="368"/>
                </a:lnTo>
                <a:lnTo>
                  <a:pt x="505" y="369"/>
                </a:lnTo>
                <a:lnTo>
                  <a:pt x="505" y="370"/>
                </a:lnTo>
                <a:lnTo>
                  <a:pt x="505" y="371"/>
                </a:lnTo>
                <a:lnTo>
                  <a:pt x="505" y="372"/>
                </a:lnTo>
                <a:lnTo>
                  <a:pt x="506" y="374"/>
                </a:lnTo>
                <a:lnTo>
                  <a:pt x="506" y="375"/>
                </a:lnTo>
                <a:lnTo>
                  <a:pt x="507" y="376"/>
                </a:lnTo>
                <a:lnTo>
                  <a:pt x="507" y="377"/>
                </a:lnTo>
                <a:lnTo>
                  <a:pt x="509" y="379"/>
                </a:lnTo>
                <a:lnTo>
                  <a:pt x="510" y="381"/>
                </a:lnTo>
                <a:lnTo>
                  <a:pt x="511" y="382"/>
                </a:lnTo>
                <a:lnTo>
                  <a:pt x="511" y="383"/>
                </a:lnTo>
                <a:lnTo>
                  <a:pt x="512" y="384"/>
                </a:lnTo>
                <a:lnTo>
                  <a:pt x="512" y="384"/>
                </a:lnTo>
                <a:lnTo>
                  <a:pt x="512" y="385"/>
                </a:lnTo>
                <a:lnTo>
                  <a:pt x="512" y="386"/>
                </a:lnTo>
                <a:lnTo>
                  <a:pt x="511" y="387"/>
                </a:lnTo>
                <a:lnTo>
                  <a:pt x="511" y="387"/>
                </a:lnTo>
                <a:lnTo>
                  <a:pt x="510" y="388"/>
                </a:lnTo>
                <a:lnTo>
                  <a:pt x="510" y="388"/>
                </a:lnTo>
                <a:lnTo>
                  <a:pt x="508" y="390"/>
                </a:lnTo>
                <a:lnTo>
                  <a:pt x="505" y="392"/>
                </a:lnTo>
                <a:lnTo>
                  <a:pt x="503" y="393"/>
                </a:lnTo>
                <a:lnTo>
                  <a:pt x="502" y="394"/>
                </a:lnTo>
                <a:lnTo>
                  <a:pt x="501" y="396"/>
                </a:lnTo>
                <a:lnTo>
                  <a:pt x="500" y="397"/>
                </a:lnTo>
                <a:lnTo>
                  <a:pt x="499" y="399"/>
                </a:lnTo>
                <a:lnTo>
                  <a:pt x="498" y="400"/>
                </a:lnTo>
                <a:lnTo>
                  <a:pt x="497" y="402"/>
                </a:lnTo>
                <a:lnTo>
                  <a:pt x="497" y="403"/>
                </a:lnTo>
                <a:lnTo>
                  <a:pt x="496" y="405"/>
                </a:lnTo>
                <a:lnTo>
                  <a:pt x="496" y="406"/>
                </a:lnTo>
                <a:lnTo>
                  <a:pt x="495" y="408"/>
                </a:lnTo>
                <a:lnTo>
                  <a:pt x="495" y="409"/>
                </a:lnTo>
                <a:lnTo>
                  <a:pt x="495" y="410"/>
                </a:lnTo>
                <a:lnTo>
                  <a:pt x="495" y="411"/>
                </a:lnTo>
                <a:lnTo>
                  <a:pt x="495" y="412"/>
                </a:lnTo>
                <a:lnTo>
                  <a:pt x="495" y="413"/>
                </a:lnTo>
                <a:lnTo>
                  <a:pt x="496" y="414"/>
                </a:lnTo>
                <a:lnTo>
                  <a:pt x="496" y="415"/>
                </a:lnTo>
                <a:lnTo>
                  <a:pt x="496" y="415"/>
                </a:lnTo>
                <a:lnTo>
                  <a:pt x="497" y="416"/>
                </a:lnTo>
                <a:lnTo>
                  <a:pt x="498" y="417"/>
                </a:lnTo>
                <a:lnTo>
                  <a:pt x="500" y="418"/>
                </a:lnTo>
                <a:lnTo>
                  <a:pt x="503" y="421"/>
                </a:lnTo>
                <a:lnTo>
                  <a:pt x="504" y="422"/>
                </a:lnTo>
                <a:lnTo>
                  <a:pt x="505" y="423"/>
                </a:lnTo>
                <a:lnTo>
                  <a:pt x="506" y="423"/>
                </a:lnTo>
                <a:lnTo>
                  <a:pt x="506" y="424"/>
                </a:lnTo>
                <a:lnTo>
                  <a:pt x="507" y="425"/>
                </a:lnTo>
                <a:lnTo>
                  <a:pt x="507" y="426"/>
                </a:lnTo>
                <a:lnTo>
                  <a:pt x="508" y="427"/>
                </a:lnTo>
                <a:lnTo>
                  <a:pt x="508" y="428"/>
                </a:lnTo>
                <a:lnTo>
                  <a:pt x="508" y="429"/>
                </a:lnTo>
                <a:lnTo>
                  <a:pt x="508" y="431"/>
                </a:lnTo>
                <a:lnTo>
                  <a:pt x="508" y="433"/>
                </a:lnTo>
                <a:lnTo>
                  <a:pt x="508" y="434"/>
                </a:lnTo>
                <a:lnTo>
                  <a:pt x="508" y="435"/>
                </a:lnTo>
                <a:lnTo>
                  <a:pt x="507" y="436"/>
                </a:lnTo>
                <a:lnTo>
                  <a:pt x="507" y="437"/>
                </a:lnTo>
                <a:lnTo>
                  <a:pt x="506" y="438"/>
                </a:lnTo>
                <a:lnTo>
                  <a:pt x="504" y="439"/>
                </a:lnTo>
                <a:lnTo>
                  <a:pt x="502" y="440"/>
                </a:lnTo>
                <a:lnTo>
                  <a:pt x="501" y="441"/>
                </a:lnTo>
                <a:lnTo>
                  <a:pt x="498" y="442"/>
                </a:lnTo>
                <a:lnTo>
                  <a:pt x="497" y="443"/>
                </a:lnTo>
                <a:lnTo>
                  <a:pt x="496" y="444"/>
                </a:lnTo>
                <a:lnTo>
                  <a:pt x="495" y="444"/>
                </a:lnTo>
                <a:lnTo>
                  <a:pt x="495" y="445"/>
                </a:lnTo>
                <a:lnTo>
                  <a:pt x="494" y="446"/>
                </a:lnTo>
                <a:lnTo>
                  <a:pt x="494" y="446"/>
                </a:lnTo>
                <a:lnTo>
                  <a:pt x="493" y="448"/>
                </a:lnTo>
                <a:lnTo>
                  <a:pt x="493" y="449"/>
                </a:lnTo>
                <a:lnTo>
                  <a:pt x="493" y="450"/>
                </a:lnTo>
                <a:lnTo>
                  <a:pt x="493" y="451"/>
                </a:lnTo>
                <a:lnTo>
                  <a:pt x="493" y="452"/>
                </a:lnTo>
                <a:lnTo>
                  <a:pt x="494" y="455"/>
                </a:lnTo>
                <a:lnTo>
                  <a:pt x="494" y="457"/>
                </a:lnTo>
                <a:lnTo>
                  <a:pt x="495" y="458"/>
                </a:lnTo>
                <a:lnTo>
                  <a:pt x="495" y="459"/>
                </a:lnTo>
                <a:lnTo>
                  <a:pt x="495" y="460"/>
                </a:lnTo>
                <a:lnTo>
                  <a:pt x="495" y="460"/>
                </a:lnTo>
                <a:lnTo>
                  <a:pt x="494" y="461"/>
                </a:lnTo>
                <a:lnTo>
                  <a:pt x="494" y="462"/>
                </a:lnTo>
                <a:lnTo>
                  <a:pt x="493" y="463"/>
                </a:lnTo>
                <a:lnTo>
                  <a:pt x="492" y="464"/>
                </a:lnTo>
                <a:lnTo>
                  <a:pt x="492" y="465"/>
                </a:lnTo>
                <a:lnTo>
                  <a:pt x="491" y="465"/>
                </a:lnTo>
                <a:lnTo>
                  <a:pt x="489" y="466"/>
                </a:lnTo>
                <a:lnTo>
                  <a:pt x="488" y="466"/>
                </a:lnTo>
                <a:lnTo>
                  <a:pt x="487" y="467"/>
                </a:lnTo>
                <a:lnTo>
                  <a:pt x="486" y="467"/>
                </a:lnTo>
                <a:lnTo>
                  <a:pt x="485" y="467"/>
                </a:lnTo>
                <a:lnTo>
                  <a:pt x="485" y="468"/>
                </a:lnTo>
                <a:lnTo>
                  <a:pt x="485" y="468"/>
                </a:lnTo>
                <a:lnTo>
                  <a:pt x="485" y="468"/>
                </a:lnTo>
                <a:lnTo>
                  <a:pt x="485" y="469"/>
                </a:lnTo>
                <a:lnTo>
                  <a:pt x="485" y="470"/>
                </a:lnTo>
                <a:lnTo>
                  <a:pt x="485" y="471"/>
                </a:lnTo>
                <a:lnTo>
                  <a:pt x="486" y="472"/>
                </a:lnTo>
                <a:lnTo>
                  <a:pt x="487" y="473"/>
                </a:lnTo>
                <a:lnTo>
                  <a:pt x="489" y="475"/>
                </a:lnTo>
                <a:lnTo>
                  <a:pt x="490" y="476"/>
                </a:lnTo>
                <a:lnTo>
                  <a:pt x="494" y="480"/>
                </a:lnTo>
                <a:lnTo>
                  <a:pt x="496" y="481"/>
                </a:lnTo>
                <a:lnTo>
                  <a:pt x="496" y="482"/>
                </a:lnTo>
                <a:lnTo>
                  <a:pt x="497" y="483"/>
                </a:lnTo>
                <a:lnTo>
                  <a:pt x="498" y="484"/>
                </a:lnTo>
                <a:lnTo>
                  <a:pt x="498" y="485"/>
                </a:lnTo>
                <a:lnTo>
                  <a:pt x="499" y="486"/>
                </a:lnTo>
                <a:lnTo>
                  <a:pt x="499" y="487"/>
                </a:lnTo>
                <a:lnTo>
                  <a:pt x="498" y="487"/>
                </a:lnTo>
                <a:lnTo>
                  <a:pt x="498" y="488"/>
                </a:lnTo>
                <a:lnTo>
                  <a:pt x="498" y="489"/>
                </a:lnTo>
                <a:lnTo>
                  <a:pt x="497" y="490"/>
                </a:lnTo>
                <a:lnTo>
                  <a:pt x="496" y="491"/>
                </a:lnTo>
                <a:lnTo>
                  <a:pt x="495" y="491"/>
                </a:lnTo>
                <a:lnTo>
                  <a:pt x="493" y="494"/>
                </a:lnTo>
                <a:lnTo>
                  <a:pt x="492" y="495"/>
                </a:lnTo>
                <a:lnTo>
                  <a:pt x="491" y="495"/>
                </a:lnTo>
                <a:lnTo>
                  <a:pt x="491" y="496"/>
                </a:lnTo>
                <a:lnTo>
                  <a:pt x="490" y="497"/>
                </a:lnTo>
                <a:lnTo>
                  <a:pt x="489" y="500"/>
                </a:lnTo>
                <a:lnTo>
                  <a:pt x="489" y="501"/>
                </a:lnTo>
                <a:lnTo>
                  <a:pt x="488" y="502"/>
                </a:lnTo>
                <a:lnTo>
                  <a:pt x="487" y="503"/>
                </a:lnTo>
                <a:lnTo>
                  <a:pt x="486" y="504"/>
                </a:lnTo>
                <a:lnTo>
                  <a:pt x="486" y="505"/>
                </a:lnTo>
                <a:lnTo>
                  <a:pt x="485" y="505"/>
                </a:lnTo>
                <a:lnTo>
                  <a:pt x="484" y="506"/>
                </a:lnTo>
                <a:lnTo>
                  <a:pt x="483" y="507"/>
                </a:lnTo>
                <a:lnTo>
                  <a:pt x="483" y="507"/>
                </a:lnTo>
                <a:lnTo>
                  <a:pt x="482" y="507"/>
                </a:lnTo>
                <a:lnTo>
                  <a:pt x="481" y="508"/>
                </a:lnTo>
                <a:lnTo>
                  <a:pt x="478" y="508"/>
                </a:lnTo>
                <a:lnTo>
                  <a:pt x="475" y="509"/>
                </a:lnTo>
                <a:lnTo>
                  <a:pt x="471" y="510"/>
                </a:lnTo>
                <a:lnTo>
                  <a:pt x="466" y="510"/>
                </a:lnTo>
                <a:lnTo>
                  <a:pt x="463" y="510"/>
                </a:lnTo>
                <a:lnTo>
                  <a:pt x="461" y="511"/>
                </a:lnTo>
                <a:lnTo>
                  <a:pt x="459" y="512"/>
                </a:lnTo>
                <a:lnTo>
                  <a:pt x="458" y="512"/>
                </a:lnTo>
                <a:lnTo>
                  <a:pt x="457" y="513"/>
                </a:lnTo>
                <a:lnTo>
                  <a:pt x="456" y="514"/>
                </a:lnTo>
                <a:lnTo>
                  <a:pt x="455" y="514"/>
                </a:lnTo>
                <a:lnTo>
                  <a:pt x="454" y="516"/>
                </a:lnTo>
                <a:lnTo>
                  <a:pt x="453" y="517"/>
                </a:lnTo>
                <a:lnTo>
                  <a:pt x="453" y="518"/>
                </a:lnTo>
                <a:lnTo>
                  <a:pt x="452" y="519"/>
                </a:lnTo>
                <a:lnTo>
                  <a:pt x="453" y="520"/>
                </a:lnTo>
                <a:lnTo>
                  <a:pt x="453" y="523"/>
                </a:lnTo>
                <a:lnTo>
                  <a:pt x="453" y="524"/>
                </a:lnTo>
                <a:lnTo>
                  <a:pt x="453" y="524"/>
                </a:lnTo>
                <a:lnTo>
                  <a:pt x="452" y="525"/>
                </a:lnTo>
                <a:lnTo>
                  <a:pt x="452" y="526"/>
                </a:lnTo>
                <a:lnTo>
                  <a:pt x="451" y="526"/>
                </a:lnTo>
                <a:lnTo>
                  <a:pt x="451" y="527"/>
                </a:lnTo>
                <a:lnTo>
                  <a:pt x="450" y="528"/>
                </a:lnTo>
                <a:lnTo>
                  <a:pt x="446" y="530"/>
                </a:lnTo>
                <a:lnTo>
                  <a:pt x="445" y="531"/>
                </a:lnTo>
                <a:lnTo>
                  <a:pt x="444" y="531"/>
                </a:lnTo>
                <a:lnTo>
                  <a:pt x="442" y="531"/>
                </a:lnTo>
                <a:lnTo>
                  <a:pt x="439" y="532"/>
                </a:lnTo>
                <a:lnTo>
                  <a:pt x="434" y="533"/>
                </a:lnTo>
                <a:lnTo>
                  <a:pt x="431" y="534"/>
                </a:lnTo>
                <a:lnTo>
                  <a:pt x="430" y="534"/>
                </a:lnTo>
                <a:lnTo>
                  <a:pt x="429" y="534"/>
                </a:lnTo>
                <a:lnTo>
                  <a:pt x="425" y="533"/>
                </a:lnTo>
                <a:lnTo>
                  <a:pt x="422" y="533"/>
                </a:lnTo>
                <a:lnTo>
                  <a:pt x="421" y="532"/>
                </a:lnTo>
                <a:lnTo>
                  <a:pt x="418" y="532"/>
                </a:lnTo>
                <a:lnTo>
                  <a:pt x="416" y="531"/>
                </a:lnTo>
                <a:lnTo>
                  <a:pt x="413" y="531"/>
                </a:lnTo>
                <a:lnTo>
                  <a:pt x="412" y="531"/>
                </a:lnTo>
                <a:lnTo>
                  <a:pt x="411" y="531"/>
                </a:lnTo>
                <a:lnTo>
                  <a:pt x="410" y="531"/>
                </a:lnTo>
                <a:lnTo>
                  <a:pt x="409" y="531"/>
                </a:lnTo>
                <a:lnTo>
                  <a:pt x="408" y="532"/>
                </a:lnTo>
                <a:lnTo>
                  <a:pt x="406" y="533"/>
                </a:lnTo>
                <a:lnTo>
                  <a:pt x="405" y="534"/>
                </a:lnTo>
                <a:lnTo>
                  <a:pt x="403" y="536"/>
                </a:lnTo>
                <a:lnTo>
                  <a:pt x="401" y="536"/>
                </a:lnTo>
                <a:lnTo>
                  <a:pt x="399" y="537"/>
                </a:lnTo>
                <a:lnTo>
                  <a:pt x="397" y="537"/>
                </a:lnTo>
                <a:lnTo>
                  <a:pt x="395" y="537"/>
                </a:lnTo>
                <a:lnTo>
                  <a:pt x="394" y="537"/>
                </a:lnTo>
                <a:lnTo>
                  <a:pt x="393" y="537"/>
                </a:lnTo>
                <a:lnTo>
                  <a:pt x="392" y="537"/>
                </a:lnTo>
                <a:lnTo>
                  <a:pt x="390" y="536"/>
                </a:lnTo>
                <a:lnTo>
                  <a:pt x="389" y="536"/>
                </a:lnTo>
                <a:lnTo>
                  <a:pt x="388" y="535"/>
                </a:lnTo>
                <a:lnTo>
                  <a:pt x="384" y="533"/>
                </a:lnTo>
                <a:lnTo>
                  <a:pt x="383" y="532"/>
                </a:lnTo>
                <a:lnTo>
                  <a:pt x="382" y="531"/>
                </a:lnTo>
                <a:lnTo>
                  <a:pt x="382" y="530"/>
                </a:lnTo>
                <a:lnTo>
                  <a:pt x="380" y="528"/>
                </a:lnTo>
                <a:lnTo>
                  <a:pt x="379" y="527"/>
                </a:lnTo>
                <a:lnTo>
                  <a:pt x="378" y="526"/>
                </a:lnTo>
                <a:lnTo>
                  <a:pt x="378" y="525"/>
                </a:lnTo>
                <a:lnTo>
                  <a:pt x="377" y="525"/>
                </a:lnTo>
                <a:lnTo>
                  <a:pt x="377" y="525"/>
                </a:lnTo>
                <a:lnTo>
                  <a:pt x="376" y="525"/>
                </a:lnTo>
                <a:lnTo>
                  <a:pt x="375" y="525"/>
                </a:lnTo>
                <a:lnTo>
                  <a:pt x="374" y="525"/>
                </a:lnTo>
                <a:lnTo>
                  <a:pt x="373" y="525"/>
                </a:lnTo>
                <a:lnTo>
                  <a:pt x="371" y="526"/>
                </a:lnTo>
                <a:lnTo>
                  <a:pt x="369" y="527"/>
                </a:lnTo>
                <a:lnTo>
                  <a:pt x="368" y="527"/>
                </a:lnTo>
                <a:lnTo>
                  <a:pt x="367" y="528"/>
                </a:lnTo>
                <a:lnTo>
                  <a:pt x="367" y="528"/>
                </a:lnTo>
                <a:lnTo>
                  <a:pt x="366" y="529"/>
                </a:lnTo>
                <a:lnTo>
                  <a:pt x="363" y="532"/>
                </a:lnTo>
                <a:lnTo>
                  <a:pt x="362" y="533"/>
                </a:lnTo>
                <a:lnTo>
                  <a:pt x="361" y="534"/>
                </a:lnTo>
                <a:lnTo>
                  <a:pt x="360" y="535"/>
                </a:lnTo>
                <a:lnTo>
                  <a:pt x="359" y="535"/>
                </a:lnTo>
                <a:lnTo>
                  <a:pt x="358" y="536"/>
                </a:lnTo>
                <a:lnTo>
                  <a:pt x="358" y="536"/>
                </a:lnTo>
                <a:lnTo>
                  <a:pt x="357" y="536"/>
                </a:lnTo>
                <a:lnTo>
                  <a:pt x="356" y="536"/>
                </a:lnTo>
                <a:lnTo>
                  <a:pt x="355" y="537"/>
                </a:lnTo>
                <a:lnTo>
                  <a:pt x="354" y="536"/>
                </a:lnTo>
                <a:lnTo>
                  <a:pt x="351" y="536"/>
                </a:lnTo>
                <a:lnTo>
                  <a:pt x="350" y="536"/>
                </a:lnTo>
                <a:lnTo>
                  <a:pt x="349" y="536"/>
                </a:lnTo>
                <a:lnTo>
                  <a:pt x="348" y="536"/>
                </a:lnTo>
                <a:lnTo>
                  <a:pt x="348" y="536"/>
                </a:lnTo>
                <a:lnTo>
                  <a:pt x="347" y="536"/>
                </a:lnTo>
                <a:lnTo>
                  <a:pt x="347" y="537"/>
                </a:lnTo>
                <a:lnTo>
                  <a:pt x="346" y="537"/>
                </a:lnTo>
                <a:lnTo>
                  <a:pt x="345" y="538"/>
                </a:lnTo>
                <a:lnTo>
                  <a:pt x="345" y="539"/>
                </a:lnTo>
                <a:lnTo>
                  <a:pt x="344" y="540"/>
                </a:lnTo>
                <a:lnTo>
                  <a:pt x="343" y="542"/>
                </a:lnTo>
                <a:lnTo>
                  <a:pt x="342" y="546"/>
                </a:lnTo>
                <a:lnTo>
                  <a:pt x="341" y="547"/>
                </a:lnTo>
                <a:lnTo>
                  <a:pt x="341" y="548"/>
                </a:lnTo>
                <a:lnTo>
                  <a:pt x="340" y="549"/>
                </a:lnTo>
                <a:lnTo>
                  <a:pt x="339" y="550"/>
                </a:lnTo>
                <a:lnTo>
                  <a:pt x="339" y="550"/>
                </a:lnTo>
                <a:lnTo>
                  <a:pt x="338" y="550"/>
                </a:lnTo>
                <a:lnTo>
                  <a:pt x="337" y="551"/>
                </a:lnTo>
                <a:lnTo>
                  <a:pt x="336" y="551"/>
                </a:lnTo>
                <a:lnTo>
                  <a:pt x="334" y="551"/>
                </a:lnTo>
                <a:lnTo>
                  <a:pt x="331" y="551"/>
                </a:lnTo>
                <a:lnTo>
                  <a:pt x="330" y="551"/>
                </a:lnTo>
                <a:lnTo>
                  <a:pt x="327" y="551"/>
                </a:lnTo>
                <a:lnTo>
                  <a:pt x="324" y="552"/>
                </a:lnTo>
                <a:lnTo>
                  <a:pt x="322" y="553"/>
                </a:lnTo>
                <a:lnTo>
                  <a:pt x="318" y="554"/>
                </a:lnTo>
                <a:lnTo>
                  <a:pt x="316" y="555"/>
                </a:lnTo>
                <a:lnTo>
                  <a:pt x="314" y="556"/>
                </a:lnTo>
                <a:lnTo>
                  <a:pt x="312" y="557"/>
                </a:lnTo>
                <a:lnTo>
                  <a:pt x="312" y="558"/>
                </a:lnTo>
                <a:lnTo>
                  <a:pt x="311" y="559"/>
                </a:lnTo>
                <a:lnTo>
                  <a:pt x="310" y="560"/>
                </a:lnTo>
                <a:lnTo>
                  <a:pt x="308" y="562"/>
                </a:lnTo>
                <a:lnTo>
                  <a:pt x="307" y="564"/>
                </a:lnTo>
                <a:lnTo>
                  <a:pt x="305" y="567"/>
                </a:lnTo>
                <a:lnTo>
                  <a:pt x="303" y="568"/>
                </a:lnTo>
                <a:lnTo>
                  <a:pt x="301" y="569"/>
                </a:lnTo>
                <a:lnTo>
                  <a:pt x="300" y="570"/>
                </a:lnTo>
                <a:lnTo>
                  <a:pt x="299" y="571"/>
                </a:lnTo>
                <a:lnTo>
                  <a:pt x="295" y="573"/>
                </a:lnTo>
                <a:lnTo>
                  <a:pt x="294" y="574"/>
                </a:lnTo>
                <a:lnTo>
                  <a:pt x="293" y="575"/>
                </a:lnTo>
                <a:lnTo>
                  <a:pt x="292" y="575"/>
                </a:lnTo>
                <a:lnTo>
                  <a:pt x="290" y="577"/>
                </a:lnTo>
                <a:lnTo>
                  <a:pt x="288" y="579"/>
                </a:lnTo>
                <a:lnTo>
                  <a:pt x="286" y="581"/>
                </a:lnTo>
                <a:lnTo>
                  <a:pt x="285" y="582"/>
                </a:lnTo>
                <a:lnTo>
                  <a:pt x="284" y="584"/>
                </a:lnTo>
                <a:lnTo>
                  <a:pt x="282" y="587"/>
                </a:lnTo>
                <a:lnTo>
                  <a:pt x="281" y="588"/>
                </a:lnTo>
                <a:lnTo>
                  <a:pt x="280" y="589"/>
                </a:lnTo>
                <a:lnTo>
                  <a:pt x="279" y="589"/>
                </a:lnTo>
                <a:lnTo>
                  <a:pt x="279" y="589"/>
                </a:lnTo>
                <a:lnTo>
                  <a:pt x="278" y="589"/>
                </a:lnTo>
                <a:lnTo>
                  <a:pt x="277" y="589"/>
                </a:lnTo>
                <a:lnTo>
                  <a:pt x="276" y="589"/>
                </a:lnTo>
                <a:lnTo>
                  <a:pt x="276" y="589"/>
                </a:lnTo>
                <a:lnTo>
                  <a:pt x="275" y="588"/>
                </a:lnTo>
                <a:lnTo>
                  <a:pt x="272" y="586"/>
                </a:lnTo>
                <a:lnTo>
                  <a:pt x="270" y="585"/>
                </a:lnTo>
                <a:lnTo>
                  <a:pt x="269" y="584"/>
                </a:lnTo>
                <a:lnTo>
                  <a:pt x="267" y="584"/>
                </a:lnTo>
                <a:lnTo>
                  <a:pt x="266" y="583"/>
                </a:lnTo>
                <a:lnTo>
                  <a:pt x="264" y="583"/>
                </a:lnTo>
                <a:lnTo>
                  <a:pt x="263" y="583"/>
                </a:lnTo>
                <a:lnTo>
                  <a:pt x="261" y="583"/>
                </a:lnTo>
                <a:lnTo>
                  <a:pt x="256" y="584"/>
                </a:lnTo>
                <a:lnTo>
                  <a:pt x="254" y="584"/>
                </a:lnTo>
                <a:lnTo>
                  <a:pt x="253" y="584"/>
                </a:lnTo>
                <a:lnTo>
                  <a:pt x="253" y="585"/>
                </a:lnTo>
                <a:lnTo>
                  <a:pt x="252" y="585"/>
                </a:lnTo>
                <a:lnTo>
                  <a:pt x="251" y="585"/>
                </a:lnTo>
                <a:lnTo>
                  <a:pt x="251" y="586"/>
                </a:lnTo>
                <a:lnTo>
                  <a:pt x="250" y="587"/>
                </a:lnTo>
                <a:lnTo>
                  <a:pt x="248" y="590"/>
                </a:lnTo>
                <a:lnTo>
                  <a:pt x="246" y="592"/>
                </a:lnTo>
                <a:lnTo>
                  <a:pt x="245" y="593"/>
                </a:lnTo>
                <a:lnTo>
                  <a:pt x="244" y="594"/>
                </a:lnTo>
                <a:lnTo>
                  <a:pt x="243" y="595"/>
                </a:lnTo>
                <a:lnTo>
                  <a:pt x="243" y="596"/>
                </a:lnTo>
                <a:lnTo>
                  <a:pt x="242" y="596"/>
                </a:lnTo>
                <a:lnTo>
                  <a:pt x="241" y="597"/>
                </a:lnTo>
                <a:lnTo>
                  <a:pt x="240" y="597"/>
                </a:lnTo>
                <a:lnTo>
                  <a:pt x="240" y="597"/>
                </a:lnTo>
                <a:lnTo>
                  <a:pt x="238" y="597"/>
                </a:lnTo>
                <a:lnTo>
                  <a:pt x="237" y="596"/>
                </a:lnTo>
                <a:lnTo>
                  <a:pt x="235" y="596"/>
                </a:lnTo>
                <a:lnTo>
                  <a:pt x="234" y="596"/>
                </a:lnTo>
                <a:lnTo>
                  <a:pt x="233" y="595"/>
                </a:lnTo>
                <a:lnTo>
                  <a:pt x="232" y="595"/>
                </a:lnTo>
                <a:lnTo>
                  <a:pt x="230" y="593"/>
                </a:lnTo>
                <a:lnTo>
                  <a:pt x="229" y="592"/>
                </a:lnTo>
                <a:lnTo>
                  <a:pt x="228" y="591"/>
                </a:lnTo>
                <a:lnTo>
                  <a:pt x="227" y="591"/>
                </a:lnTo>
                <a:lnTo>
                  <a:pt x="226" y="591"/>
                </a:lnTo>
                <a:lnTo>
                  <a:pt x="225" y="591"/>
                </a:lnTo>
                <a:lnTo>
                  <a:pt x="223" y="591"/>
                </a:lnTo>
                <a:lnTo>
                  <a:pt x="222" y="591"/>
                </a:lnTo>
                <a:lnTo>
                  <a:pt x="220" y="591"/>
                </a:lnTo>
                <a:lnTo>
                  <a:pt x="219" y="592"/>
                </a:lnTo>
                <a:lnTo>
                  <a:pt x="218" y="592"/>
                </a:lnTo>
                <a:lnTo>
                  <a:pt x="217" y="593"/>
                </a:lnTo>
                <a:lnTo>
                  <a:pt x="217" y="593"/>
                </a:lnTo>
                <a:lnTo>
                  <a:pt x="217" y="594"/>
                </a:lnTo>
                <a:lnTo>
                  <a:pt x="216" y="594"/>
                </a:lnTo>
                <a:lnTo>
                  <a:pt x="216" y="594"/>
                </a:lnTo>
                <a:lnTo>
                  <a:pt x="216" y="594"/>
                </a:lnTo>
                <a:lnTo>
                  <a:pt x="215" y="593"/>
                </a:lnTo>
                <a:lnTo>
                  <a:pt x="215" y="592"/>
                </a:lnTo>
                <a:lnTo>
                  <a:pt x="213" y="589"/>
                </a:lnTo>
                <a:lnTo>
                  <a:pt x="213" y="588"/>
                </a:lnTo>
                <a:lnTo>
                  <a:pt x="212" y="587"/>
                </a:lnTo>
                <a:lnTo>
                  <a:pt x="211" y="586"/>
                </a:lnTo>
                <a:lnTo>
                  <a:pt x="211" y="585"/>
                </a:lnTo>
                <a:lnTo>
                  <a:pt x="210" y="584"/>
                </a:lnTo>
                <a:lnTo>
                  <a:pt x="209" y="583"/>
                </a:lnTo>
                <a:lnTo>
                  <a:pt x="206" y="581"/>
                </a:lnTo>
                <a:lnTo>
                  <a:pt x="205" y="580"/>
                </a:lnTo>
                <a:lnTo>
                  <a:pt x="203" y="580"/>
                </a:lnTo>
                <a:lnTo>
                  <a:pt x="201" y="578"/>
                </a:lnTo>
                <a:lnTo>
                  <a:pt x="198" y="577"/>
                </a:lnTo>
                <a:lnTo>
                  <a:pt x="196" y="576"/>
                </a:lnTo>
                <a:lnTo>
                  <a:pt x="194" y="575"/>
                </a:lnTo>
                <a:lnTo>
                  <a:pt x="193" y="574"/>
                </a:lnTo>
                <a:lnTo>
                  <a:pt x="192" y="573"/>
                </a:lnTo>
                <a:lnTo>
                  <a:pt x="191" y="572"/>
                </a:lnTo>
                <a:lnTo>
                  <a:pt x="190" y="571"/>
                </a:lnTo>
                <a:lnTo>
                  <a:pt x="189" y="568"/>
                </a:lnTo>
                <a:lnTo>
                  <a:pt x="188" y="567"/>
                </a:lnTo>
                <a:lnTo>
                  <a:pt x="187" y="566"/>
                </a:lnTo>
                <a:lnTo>
                  <a:pt x="186" y="565"/>
                </a:lnTo>
                <a:lnTo>
                  <a:pt x="186" y="565"/>
                </a:lnTo>
                <a:lnTo>
                  <a:pt x="185" y="565"/>
                </a:lnTo>
                <a:lnTo>
                  <a:pt x="184" y="564"/>
                </a:lnTo>
                <a:lnTo>
                  <a:pt x="183" y="564"/>
                </a:lnTo>
                <a:lnTo>
                  <a:pt x="182" y="564"/>
                </a:lnTo>
                <a:lnTo>
                  <a:pt x="179" y="564"/>
                </a:lnTo>
                <a:lnTo>
                  <a:pt x="179" y="564"/>
                </a:lnTo>
                <a:lnTo>
                  <a:pt x="178" y="563"/>
                </a:lnTo>
                <a:lnTo>
                  <a:pt x="177" y="563"/>
                </a:lnTo>
                <a:lnTo>
                  <a:pt x="177" y="563"/>
                </a:lnTo>
                <a:lnTo>
                  <a:pt x="177" y="562"/>
                </a:lnTo>
                <a:lnTo>
                  <a:pt x="177" y="561"/>
                </a:lnTo>
                <a:lnTo>
                  <a:pt x="177" y="561"/>
                </a:lnTo>
                <a:lnTo>
                  <a:pt x="177" y="560"/>
                </a:lnTo>
                <a:lnTo>
                  <a:pt x="177" y="559"/>
                </a:lnTo>
                <a:lnTo>
                  <a:pt x="177" y="559"/>
                </a:lnTo>
                <a:lnTo>
                  <a:pt x="178" y="557"/>
                </a:lnTo>
                <a:lnTo>
                  <a:pt x="179" y="556"/>
                </a:lnTo>
                <a:lnTo>
                  <a:pt x="180" y="554"/>
                </a:lnTo>
                <a:lnTo>
                  <a:pt x="182" y="551"/>
                </a:lnTo>
                <a:lnTo>
                  <a:pt x="183" y="551"/>
                </a:lnTo>
                <a:lnTo>
                  <a:pt x="185" y="549"/>
                </a:lnTo>
                <a:lnTo>
                  <a:pt x="188" y="545"/>
                </a:lnTo>
                <a:lnTo>
                  <a:pt x="189" y="544"/>
                </a:lnTo>
                <a:lnTo>
                  <a:pt x="190" y="543"/>
                </a:lnTo>
                <a:lnTo>
                  <a:pt x="190" y="542"/>
                </a:lnTo>
                <a:lnTo>
                  <a:pt x="191" y="541"/>
                </a:lnTo>
                <a:lnTo>
                  <a:pt x="192" y="537"/>
                </a:lnTo>
                <a:lnTo>
                  <a:pt x="193" y="536"/>
                </a:lnTo>
                <a:lnTo>
                  <a:pt x="193" y="535"/>
                </a:lnTo>
                <a:lnTo>
                  <a:pt x="195" y="531"/>
                </a:lnTo>
                <a:lnTo>
                  <a:pt x="196" y="530"/>
                </a:lnTo>
                <a:lnTo>
                  <a:pt x="197" y="529"/>
                </a:lnTo>
                <a:lnTo>
                  <a:pt x="197" y="528"/>
                </a:lnTo>
                <a:lnTo>
                  <a:pt x="197" y="527"/>
                </a:lnTo>
                <a:lnTo>
                  <a:pt x="198" y="524"/>
                </a:lnTo>
                <a:lnTo>
                  <a:pt x="198" y="523"/>
                </a:lnTo>
                <a:lnTo>
                  <a:pt x="199" y="521"/>
                </a:lnTo>
                <a:lnTo>
                  <a:pt x="200" y="520"/>
                </a:lnTo>
                <a:lnTo>
                  <a:pt x="201" y="518"/>
                </a:lnTo>
                <a:lnTo>
                  <a:pt x="202" y="515"/>
                </a:lnTo>
                <a:lnTo>
                  <a:pt x="203" y="514"/>
                </a:lnTo>
                <a:lnTo>
                  <a:pt x="204" y="514"/>
                </a:lnTo>
                <a:lnTo>
                  <a:pt x="204" y="513"/>
                </a:lnTo>
                <a:lnTo>
                  <a:pt x="205" y="513"/>
                </a:lnTo>
                <a:lnTo>
                  <a:pt x="206" y="513"/>
                </a:lnTo>
                <a:lnTo>
                  <a:pt x="207" y="512"/>
                </a:lnTo>
                <a:lnTo>
                  <a:pt x="210" y="512"/>
                </a:lnTo>
                <a:lnTo>
                  <a:pt x="213" y="511"/>
                </a:lnTo>
                <a:lnTo>
                  <a:pt x="214" y="510"/>
                </a:lnTo>
                <a:lnTo>
                  <a:pt x="216" y="510"/>
                </a:lnTo>
                <a:lnTo>
                  <a:pt x="216" y="509"/>
                </a:lnTo>
                <a:lnTo>
                  <a:pt x="217" y="509"/>
                </a:lnTo>
                <a:lnTo>
                  <a:pt x="218" y="508"/>
                </a:lnTo>
                <a:lnTo>
                  <a:pt x="218" y="508"/>
                </a:lnTo>
                <a:lnTo>
                  <a:pt x="219" y="506"/>
                </a:lnTo>
                <a:lnTo>
                  <a:pt x="219" y="504"/>
                </a:lnTo>
                <a:lnTo>
                  <a:pt x="220" y="503"/>
                </a:lnTo>
                <a:lnTo>
                  <a:pt x="220" y="502"/>
                </a:lnTo>
                <a:lnTo>
                  <a:pt x="220" y="501"/>
                </a:lnTo>
                <a:lnTo>
                  <a:pt x="219" y="500"/>
                </a:lnTo>
                <a:lnTo>
                  <a:pt x="219" y="499"/>
                </a:lnTo>
                <a:lnTo>
                  <a:pt x="218" y="498"/>
                </a:lnTo>
                <a:lnTo>
                  <a:pt x="215" y="494"/>
                </a:lnTo>
                <a:lnTo>
                  <a:pt x="214" y="493"/>
                </a:lnTo>
                <a:lnTo>
                  <a:pt x="214" y="492"/>
                </a:lnTo>
                <a:lnTo>
                  <a:pt x="212" y="492"/>
                </a:lnTo>
                <a:lnTo>
                  <a:pt x="210" y="490"/>
                </a:lnTo>
                <a:lnTo>
                  <a:pt x="208" y="489"/>
                </a:lnTo>
                <a:lnTo>
                  <a:pt x="207" y="488"/>
                </a:lnTo>
                <a:lnTo>
                  <a:pt x="206" y="487"/>
                </a:lnTo>
                <a:lnTo>
                  <a:pt x="206" y="486"/>
                </a:lnTo>
                <a:lnTo>
                  <a:pt x="205" y="486"/>
                </a:lnTo>
                <a:lnTo>
                  <a:pt x="205" y="485"/>
                </a:lnTo>
                <a:lnTo>
                  <a:pt x="205" y="484"/>
                </a:lnTo>
                <a:lnTo>
                  <a:pt x="205" y="483"/>
                </a:lnTo>
                <a:lnTo>
                  <a:pt x="205" y="482"/>
                </a:lnTo>
                <a:lnTo>
                  <a:pt x="206" y="481"/>
                </a:lnTo>
                <a:lnTo>
                  <a:pt x="206" y="481"/>
                </a:lnTo>
                <a:lnTo>
                  <a:pt x="206" y="480"/>
                </a:lnTo>
                <a:lnTo>
                  <a:pt x="205" y="479"/>
                </a:lnTo>
                <a:lnTo>
                  <a:pt x="205" y="478"/>
                </a:lnTo>
                <a:lnTo>
                  <a:pt x="205" y="477"/>
                </a:lnTo>
                <a:lnTo>
                  <a:pt x="204" y="477"/>
                </a:lnTo>
                <a:lnTo>
                  <a:pt x="203" y="476"/>
                </a:lnTo>
                <a:lnTo>
                  <a:pt x="202" y="475"/>
                </a:lnTo>
                <a:lnTo>
                  <a:pt x="201" y="475"/>
                </a:lnTo>
                <a:lnTo>
                  <a:pt x="200" y="474"/>
                </a:lnTo>
                <a:lnTo>
                  <a:pt x="199" y="474"/>
                </a:lnTo>
                <a:lnTo>
                  <a:pt x="198" y="474"/>
                </a:lnTo>
                <a:lnTo>
                  <a:pt x="198" y="474"/>
                </a:lnTo>
                <a:lnTo>
                  <a:pt x="197" y="474"/>
                </a:lnTo>
                <a:lnTo>
                  <a:pt x="196" y="474"/>
                </a:lnTo>
                <a:lnTo>
                  <a:pt x="195" y="474"/>
                </a:lnTo>
                <a:lnTo>
                  <a:pt x="195" y="474"/>
                </a:lnTo>
                <a:lnTo>
                  <a:pt x="193" y="475"/>
                </a:lnTo>
                <a:lnTo>
                  <a:pt x="191" y="476"/>
                </a:lnTo>
                <a:lnTo>
                  <a:pt x="191" y="476"/>
                </a:lnTo>
                <a:lnTo>
                  <a:pt x="187" y="476"/>
                </a:lnTo>
                <a:lnTo>
                  <a:pt x="185" y="477"/>
                </a:lnTo>
                <a:lnTo>
                  <a:pt x="183" y="477"/>
                </a:lnTo>
                <a:lnTo>
                  <a:pt x="180" y="479"/>
                </a:lnTo>
                <a:lnTo>
                  <a:pt x="178" y="479"/>
                </a:lnTo>
                <a:lnTo>
                  <a:pt x="177" y="480"/>
                </a:lnTo>
                <a:lnTo>
                  <a:pt x="175" y="480"/>
                </a:lnTo>
                <a:lnTo>
                  <a:pt x="173" y="480"/>
                </a:lnTo>
                <a:lnTo>
                  <a:pt x="169" y="480"/>
                </a:lnTo>
                <a:lnTo>
                  <a:pt x="166" y="480"/>
                </a:lnTo>
                <a:lnTo>
                  <a:pt x="164" y="480"/>
                </a:lnTo>
                <a:lnTo>
                  <a:pt x="162" y="480"/>
                </a:lnTo>
                <a:lnTo>
                  <a:pt x="161" y="479"/>
                </a:lnTo>
                <a:lnTo>
                  <a:pt x="156" y="478"/>
                </a:lnTo>
                <a:lnTo>
                  <a:pt x="155" y="478"/>
                </a:lnTo>
                <a:lnTo>
                  <a:pt x="154" y="478"/>
                </a:lnTo>
                <a:lnTo>
                  <a:pt x="153" y="477"/>
                </a:lnTo>
                <a:lnTo>
                  <a:pt x="152" y="477"/>
                </a:lnTo>
                <a:lnTo>
                  <a:pt x="150" y="478"/>
                </a:lnTo>
                <a:lnTo>
                  <a:pt x="149" y="478"/>
                </a:lnTo>
                <a:lnTo>
                  <a:pt x="147" y="479"/>
                </a:lnTo>
                <a:lnTo>
                  <a:pt x="146" y="479"/>
                </a:lnTo>
                <a:lnTo>
                  <a:pt x="146" y="479"/>
                </a:lnTo>
                <a:lnTo>
                  <a:pt x="145" y="479"/>
                </a:lnTo>
                <a:lnTo>
                  <a:pt x="145" y="479"/>
                </a:lnTo>
                <a:lnTo>
                  <a:pt x="144" y="479"/>
                </a:lnTo>
                <a:lnTo>
                  <a:pt x="143" y="479"/>
                </a:lnTo>
                <a:lnTo>
                  <a:pt x="140" y="477"/>
                </a:lnTo>
                <a:lnTo>
                  <a:pt x="133" y="473"/>
                </a:lnTo>
                <a:lnTo>
                  <a:pt x="131" y="471"/>
                </a:lnTo>
                <a:lnTo>
                  <a:pt x="129" y="470"/>
                </a:lnTo>
                <a:lnTo>
                  <a:pt x="128" y="469"/>
                </a:lnTo>
                <a:lnTo>
                  <a:pt x="124" y="465"/>
                </a:lnTo>
                <a:lnTo>
                  <a:pt x="120" y="463"/>
                </a:lnTo>
                <a:lnTo>
                  <a:pt x="119" y="461"/>
                </a:lnTo>
                <a:lnTo>
                  <a:pt x="116" y="459"/>
                </a:lnTo>
                <a:lnTo>
                  <a:pt x="115" y="458"/>
                </a:lnTo>
                <a:lnTo>
                  <a:pt x="114" y="457"/>
                </a:lnTo>
                <a:lnTo>
                  <a:pt x="114" y="456"/>
                </a:lnTo>
                <a:lnTo>
                  <a:pt x="113" y="454"/>
                </a:lnTo>
                <a:lnTo>
                  <a:pt x="112" y="452"/>
                </a:lnTo>
                <a:lnTo>
                  <a:pt x="111" y="450"/>
                </a:lnTo>
                <a:lnTo>
                  <a:pt x="111" y="449"/>
                </a:lnTo>
                <a:lnTo>
                  <a:pt x="111" y="447"/>
                </a:lnTo>
                <a:lnTo>
                  <a:pt x="111" y="445"/>
                </a:lnTo>
                <a:lnTo>
                  <a:pt x="111" y="442"/>
                </a:lnTo>
                <a:lnTo>
                  <a:pt x="112" y="438"/>
                </a:lnTo>
                <a:lnTo>
                  <a:pt x="112" y="435"/>
                </a:lnTo>
                <a:lnTo>
                  <a:pt x="112" y="434"/>
                </a:lnTo>
                <a:lnTo>
                  <a:pt x="112" y="433"/>
                </a:lnTo>
                <a:lnTo>
                  <a:pt x="112" y="431"/>
                </a:lnTo>
                <a:lnTo>
                  <a:pt x="112" y="430"/>
                </a:lnTo>
                <a:lnTo>
                  <a:pt x="111" y="428"/>
                </a:lnTo>
                <a:lnTo>
                  <a:pt x="111" y="425"/>
                </a:lnTo>
                <a:lnTo>
                  <a:pt x="110" y="424"/>
                </a:lnTo>
                <a:lnTo>
                  <a:pt x="110" y="423"/>
                </a:lnTo>
                <a:lnTo>
                  <a:pt x="109" y="422"/>
                </a:lnTo>
                <a:lnTo>
                  <a:pt x="108" y="421"/>
                </a:lnTo>
                <a:lnTo>
                  <a:pt x="108" y="420"/>
                </a:lnTo>
                <a:lnTo>
                  <a:pt x="107" y="419"/>
                </a:lnTo>
                <a:lnTo>
                  <a:pt x="106" y="419"/>
                </a:lnTo>
                <a:lnTo>
                  <a:pt x="105" y="419"/>
                </a:lnTo>
                <a:lnTo>
                  <a:pt x="104" y="418"/>
                </a:lnTo>
                <a:lnTo>
                  <a:pt x="103" y="418"/>
                </a:lnTo>
                <a:lnTo>
                  <a:pt x="101" y="418"/>
                </a:lnTo>
                <a:lnTo>
                  <a:pt x="99" y="418"/>
                </a:lnTo>
                <a:lnTo>
                  <a:pt x="98" y="418"/>
                </a:lnTo>
                <a:lnTo>
                  <a:pt x="94" y="419"/>
                </a:lnTo>
                <a:lnTo>
                  <a:pt x="90" y="419"/>
                </a:lnTo>
                <a:lnTo>
                  <a:pt x="89" y="419"/>
                </a:lnTo>
                <a:lnTo>
                  <a:pt x="87" y="420"/>
                </a:lnTo>
                <a:lnTo>
                  <a:pt x="83" y="421"/>
                </a:lnTo>
                <a:lnTo>
                  <a:pt x="81" y="421"/>
                </a:lnTo>
                <a:lnTo>
                  <a:pt x="76" y="422"/>
                </a:lnTo>
                <a:lnTo>
                  <a:pt x="75" y="422"/>
                </a:lnTo>
                <a:lnTo>
                  <a:pt x="75" y="422"/>
                </a:lnTo>
                <a:lnTo>
                  <a:pt x="74" y="421"/>
                </a:lnTo>
                <a:lnTo>
                  <a:pt x="73" y="421"/>
                </a:lnTo>
                <a:lnTo>
                  <a:pt x="72" y="420"/>
                </a:lnTo>
                <a:lnTo>
                  <a:pt x="71" y="418"/>
                </a:lnTo>
                <a:lnTo>
                  <a:pt x="70" y="418"/>
                </a:lnTo>
                <a:lnTo>
                  <a:pt x="69" y="417"/>
                </a:lnTo>
                <a:lnTo>
                  <a:pt x="67" y="416"/>
                </a:lnTo>
                <a:lnTo>
                  <a:pt x="65" y="415"/>
                </a:lnTo>
                <a:lnTo>
                  <a:pt x="62" y="414"/>
                </a:lnTo>
                <a:lnTo>
                  <a:pt x="57" y="412"/>
                </a:lnTo>
                <a:lnTo>
                  <a:pt x="50" y="411"/>
                </a:lnTo>
                <a:lnTo>
                  <a:pt x="49" y="410"/>
                </a:lnTo>
                <a:lnTo>
                  <a:pt x="48" y="410"/>
                </a:lnTo>
                <a:lnTo>
                  <a:pt x="47" y="410"/>
                </a:lnTo>
                <a:lnTo>
                  <a:pt x="46" y="410"/>
                </a:lnTo>
                <a:lnTo>
                  <a:pt x="46" y="410"/>
                </a:lnTo>
                <a:lnTo>
                  <a:pt x="45" y="411"/>
                </a:lnTo>
                <a:lnTo>
                  <a:pt x="43" y="411"/>
                </a:lnTo>
                <a:lnTo>
                  <a:pt x="39" y="413"/>
                </a:lnTo>
                <a:lnTo>
                  <a:pt x="38" y="414"/>
                </a:lnTo>
                <a:lnTo>
                  <a:pt x="36" y="415"/>
                </a:lnTo>
                <a:lnTo>
                  <a:pt x="35" y="415"/>
                </a:lnTo>
                <a:lnTo>
                  <a:pt x="33" y="415"/>
                </a:lnTo>
                <a:lnTo>
                  <a:pt x="32" y="415"/>
                </a:lnTo>
                <a:lnTo>
                  <a:pt x="30" y="415"/>
                </a:lnTo>
                <a:lnTo>
                  <a:pt x="28" y="414"/>
                </a:lnTo>
                <a:lnTo>
                  <a:pt x="27" y="414"/>
                </a:lnTo>
                <a:lnTo>
                  <a:pt x="27" y="413"/>
                </a:lnTo>
                <a:lnTo>
                  <a:pt x="26" y="413"/>
                </a:lnTo>
                <a:lnTo>
                  <a:pt x="25" y="412"/>
                </a:lnTo>
                <a:lnTo>
                  <a:pt x="24" y="411"/>
                </a:lnTo>
                <a:lnTo>
                  <a:pt x="23" y="411"/>
                </a:lnTo>
                <a:lnTo>
                  <a:pt x="20" y="407"/>
                </a:lnTo>
                <a:lnTo>
                  <a:pt x="19" y="405"/>
                </a:lnTo>
                <a:lnTo>
                  <a:pt x="17" y="404"/>
                </a:lnTo>
                <a:lnTo>
                  <a:pt x="16" y="403"/>
                </a:lnTo>
                <a:lnTo>
                  <a:pt x="15" y="402"/>
                </a:lnTo>
                <a:lnTo>
                  <a:pt x="14" y="402"/>
                </a:lnTo>
                <a:lnTo>
                  <a:pt x="14" y="402"/>
                </a:lnTo>
                <a:lnTo>
                  <a:pt x="13" y="401"/>
                </a:lnTo>
                <a:lnTo>
                  <a:pt x="12" y="401"/>
                </a:lnTo>
                <a:lnTo>
                  <a:pt x="10" y="401"/>
                </a:lnTo>
                <a:lnTo>
                  <a:pt x="6" y="400"/>
                </a:lnTo>
                <a:lnTo>
                  <a:pt x="5" y="400"/>
                </a:lnTo>
                <a:lnTo>
                  <a:pt x="4" y="400"/>
                </a:lnTo>
                <a:lnTo>
                  <a:pt x="3" y="399"/>
                </a:lnTo>
                <a:lnTo>
                  <a:pt x="2" y="399"/>
                </a:lnTo>
                <a:lnTo>
                  <a:pt x="1" y="398"/>
                </a:lnTo>
                <a:lnTo>
                  <a:pt x="0" y="398"/>
                </a:lnTo>
                <a:lnTo>
                  <a:pt x="0" y="398"/>
                </a:lnTo>
                <a:lnTo>
                  <a:pt x="0" y="397"/>
                </a:lnTo>
                <a:lnTo>
                  <a:pt x="0" y="397"/>
                </a:lnTo>
                <a:lnTo>
                  <a:pt x="1" y="397"/>
                </a:lnTo>
                <a:lnTo>
                  <a:pt x="2" y="396"/>
                </a:lnTo>
                <a:lnTo>
                  <a:pt x="3" y="395"/>
                </a:lnTo>
                <a:lnTo>
                  <a:pt x="4" y="395"/>
                </a:lnTo>
                <a:lnTo>
                  <a:pt x="4" y="394"/>
                </a:lnTo>
                <a:lnTo>
                  <a:pt x="5" y="393"/>
                </a:lnTo>
                <a:lnTo>
                  <a:pt x="5" y="393"/>
                </a:lnTo>
                <a:lnTo>
                  <a:pt x="5" y="392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0" name="Freeform 283">
            <a:extLst>
              <a:ext uri="{FF2B5EF4-FFF2-40B4-BE49-F238E27FC236}">
                <a16:creationId xmlns:a16="http://schemas.microsoft.com/office/drawing/2014/main" id="{05D02C98-11ED-443F-93A8-3C18DAF8E1F0}"/>
              </a:ext>
            </a:extLst>
          </p:cNvPr>
          <p:cNvSpPr>
            <a:spLocks/>
          </p:cNvSpPr>
          <p:nvPr/>
        </p:nvSpPr>
        <p:spPr bwMode="auto">
          <a:xfrm>
            <a:off x="8635368" y="4616744"/>
            <a:ext cx="497989" cy="823501"/>
          </a:xfrm>
          <a:custGeom>
            <a:avLst/>
            <a:gdLst>
              <a:gd name="T0" fmla="*/ 87 w 262"/>
              <a:gd name="T1" fmla="*/ 390 h 396"/>
              <a:gd name="T2" fmla="*/ 75 w 262"/>
              <a:gd name="T3" fmla="*/ 385 h 396"/>
              <a:gd name="T4" fmla="*/ 62 w 262"/>
              <a:gd name="T5" fmla="*/ 376 h 396"/>
              <a:gd name="T6" fmla="*/ 54 w 262"/>
              <a:gd name="T7" fmla="*/ 375 h 396"/>
              <a:gd name="T8" fmla="*/ 40 w 262"/>
              <a:gd name="T9" fmla="*/ 381 h 396"/>
              <a:gd name="T10" fmla="*/ 30 w 262"/>
              <a:gd name="T11" fmla="*/ 376 h 396"/>
              <a:gd name="T12" fmla="*/ 15 w 262"/>
              <a:gd name="T13" fmla="*/ 360 h 396"/>
              <a:gd name="T14" fmla="*/ 7 w 262"/>
              <a:gd name="T15" fmla="*/ 346 h 396"/>
              <a:gd name="T16" fmla="*/ 11 w 262"/>
              <a:gd name="T17" fmla="*/ 337 h 396"/>
              <a:gd name="T18" fmla="*/ 13 w 262"/>
              <a:gd name="T19" fmla="*/ 331 h 396"/>
              <a:gd name="T20" fmla="*/ 4 w 262"/>
              <a:gd name="T21" fmla="*/ 321 h 396"/>
              <a:gd name="T22" fmla="*/ 0 w 262"/>
              <a:gd name="T23" fmla="*/ 313 h 396"/>
              <a:gd name="T24" fmla="*/ 4 w 262"/>
              <a:gd name="T25" fmla="*/ 299 h 396"/>
              <a:gd name="T26" fmla="*/ 5 w 262"/>
              <a:gd name="T27" fmla="*/ 286 h 396"/>
              <a:gd name="T28" fmla="*/ 11 w 262"/>
              <a:gd name="T29" fmla="*/ 268 h 396"/>
              <a:gd name="T30" fmla="*/ 13 w 262"/>
              <a:gd name="T31" fmla="*/ 254 h 396"/>
              <a:gd name="T32" fmla="*/ 13 w 262"/>
              <a:gd name="T33" fmla="*/ 240 h 396"/>
              <a:gd name="T34" fmla="*/ 7 w 262"/>
              <a:gd name="T35" fmla="*/ 228 h 396"/>
              <a:gd name="T36" fmla="*/ 8 w 262"/>
              <a:gd name="T37" fmla="*/ 224 h 396"/>
              <a:gd name="T38" fmla="*/ 16 w 262"/>
              <a:gd name="T39" fmla="*/ 220 h 396"/>
              <a:gd name="T40" fmla="*/ 17 w 262"/>
              <a:gd name="T41" fmla="*/ 213 h 396"/>
              <a:gd name="T42" fmla="*/ 18 w 262"/>
              <a:gd name="T43" fmla="*/ 200 h 396"/>
              <a:gd name="T44" fmla="*/ 21 w 262"/>
              <a:gd name="T45" fmla="*/ 189 h 396"/>
              <a:gd name="T46" fmla="*/ 33 w 262"/>
              <a:gd name="T47" fmla="*/ 185 h 396"/>
              <a:gd name="T48" fmla="*/ 37 w 262"/>
              <a:gd name="T49" fmla="*/ 181 h 396"/>
              <a:gd name="T50" fmla="*/ 36 w 262"/>
              <a:gd name="T51" fmla="*/ 173 h 396"/>
              <a:gd name="T52" fmla="*/ 40 w 262"/>
              <a:gd name="T53" fmla="*/ 170 h 396"/>
              <a:gd name="T54" fmla="*/ 53 w 262"/>
              <a:gd name="T55" fmla="*/ 171 h 396"/>
              <a:gd name="T56" fmla="*/ 71 w 262"/>
              <a:gd name="T57" fmla="*/ 173 h 396"/>
              <a:gd name="T58" fmla="*/ 88 w 262"/>
              <a:gd name="T59" fmla="*/ 169 h 396"/>
              <a:gd name="T60" fmla="*/ 98 w 262"/>
              <a:gd name="T61" fmla="*/ 169 h 396"/>
              <a:gd name="T62" fmla="*/ 110 w 262"/>
              <a:gd name="T63" fmla="*/ 174 h 396"/>
              <a:gd name="T64" fmla="*/ 114 w 262"/>
              <a:gd name="T65" fmla="*/ 174 h 396"/>
              <a:gd name="T66" fmla="*/ 119 w 262"/>
              <a:gd name="T67" fmla="*/ 165 h 396"/>
              <a:gd name="T68" fmla="*/ 125 w 262"/>
              <a:gd name="T69" fmla="*/ 161 h 396"/>
              <a:gd name="T70" fmla="*/ 137 w 262"/>
              <a:gd name="T71" fmla="*/ 162 h 396"/>
              <a:gd name="T72" fmla="*/ 147 w 262"/>
              <a:gd name="T73" fmla="*/ 156 h 396"/>
              <a:gd name="T74" fmla="*/ 150 w 262"/>
              <a:gd name="T75" fmla="*/ 149 h 396"/>
              <a:gd name="T76" fmla="*/ 148 w 262"/>
              <a:gd name="T77" fmla="*/ 139 h 396"/>
              <a:gd name="T78" fmla="*/ 141 w 262"/>
              <a:gd name="T79" fmla="*/ 131 h 396"/>
              <a:gd name="T80" fmla="*/ 125 w 262"/>
              <a:gd name="T81" fmla="*/ 124 h 396"/>
              <a:gd name="T82" fmla="*/ 122 w 262"/>
              <a:gd name="T83" fmla="*/ 114 h 396"/>
              <a:gd name="T84" fmla="*/ 123 w 262"/>
              <a:gd name="T85" fmla="*/ 104 h 396"/>
              <a:gd name="T86" fmla="*/ 135 w 262"/>
              <a:gd name="T87" fmla="*/ 87 h 396"/>
              <a:gd name="T88" fmla="*/ 141 w 262"/>
              <a:gd name="T89" fmla="*/ 73 h 396"/>
              <a:gd name="T90" fmla="*/ 147 w 262"/>
              <a:gd name="T91" fmla="*/ 68 h 396"/>
              <a:gd name="T92" fmla="*/ 154 w 262"/>
              <a:gd name="T93" fmla="*/ 69 h 396"/>
              <a:gd name="T94" fmla="*/ 161 w 262"/>
              <a:gd name="T95" fmla="*/ 69 h 396"/>
              <a:gd name="T96" fmla="*/ 177 w 262"/>
              <a:gd name="T97" fmla="*/ 62 h 396"/>
              <a:gd name="T98" fmla="*/ 194 w 262"/>
              <a:gd name="T99" fmla="*/ 57 h 396"/>
              <a:gd name="T100" fmla="*/ 205 w 262"/>
              <a:gd name="T101" fmla="*/ 46 h 396"/>
              <a:gd name="T102" fmla="*/ 213 w 262"/>
              <a:gd name="T103" fmla="*/ 43 h 396"/>
              <a:gd name="T104" fmla="*/ 225 w 262"/>
              <a:gd name="T105" fmla="*/ 42 h 396"/>
              <a:gd name="T106" fmla="*/ 228 w 262"/>
              <a:gd name="T107" fmla="*/ 38 h 396"/>
              <a:gd name="T108" fmla="*/ 225 w 262"/>
              <a:gd name="T109" fmla="*/ 28 h 396"/>
              <a:gd name="T110" fmla="*/ 225 w 262"/>
              <a:gd name="T111" fmla="*/ 22 h 396"/>
              <a:gd name="T112" fmla="*/ 231 w 262"/>
              <a:gd name="T113" fmla="*/ 15 h 396"/>
              <a:gd name="T114" fmla="*/ 241 w 262"/>
              <a:gd name="T115" fmla="*/ 12 h 396"/>
              <a:gd name="T116" fmla="*/ 252 w 262"/>
              <a:gd name="T117" fmla="*/ 4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2" h="396">
                <a:moveTo>
                  <a:pt x="87" y="396"/>
                </a:moveTo>
                <a:lnTo>
                  <a:pt x="88" y="394"/>
                </a:lnTo>
                <a:lnTo>
                  <a:pt x="88" y="393"/>
                </a:lnTo>
                <a:lnTo>
                  <a:pt x="88" y="393"/>
                </a:lnTo>
                <a:lnTo>
                  <a:pt x="88" y="392"/>
                </a:lnTo>
                <a:lnTo>
                  <a:pt x="87" y="391"/>
                </a:lnTo>
                <a:lnTo>
                  <a:pt x="87" y="390"/>
                </a:lnTo>
                <a:lnTo>
                  <a:pt x="86" y="390"/>
                </a:lnTo>
                <a:lnTo>
                  <a:pt x="86" y="389"/>
                </a:lnTo>
                <a:lnTo>
                  <a:pt x="85" y="389"/>
                </a:lnTo>
                <a:lnTo>
                  <a:pt x="84" y="388"/>
                </a:lnTo>
                <a:lnTo>
                  <a:pt x="82" y="387"/>
                </a:lnTo>
                <a:lnTo>
                  <a:pt x="80" y="387"/>
                </a:lnTo>
                <a:lnTo>
                  <a:pt x="75" y="385"/>
                </a:lnTo>
                <a:lnTo>
                  <a:pt x="74" y="384"/>
                </a:lnTo>
                <a:lnTo>
                  <a:pt x="72" y="384"/>
                </a:lnTo>
                <a:lnTo>
                  <a:pt x="70" y="383"/>
                </a:lnTo>
                <a:lnTo>
                  <a:pt x="68" y="381"/>
                </a:lnTo>
                <a:lnTo>
                  <a:pt x="66" y="380"/>
                </a:lnTo>
                <a:lnTo>
                  <a:pt x="63" y="377"/>
                </a:lnTo>
                <a:lnTo>
                  <a:pt x="62" y="376"/>
                </a:lnTo>
                <a:lnTo>
                  <a:pt x="61" y="376"/>
                </a:lnTo>
                <a:lnTo>
                  <a:pt x="60" y="375"/>
                </a:lnTo>
                <a:lnTo>
                  <a:pt x="59" y="375"/>
                </a:lnTo>
                <a:lnTo>
                  <a:pt x="58" y="375"/>
                </a:lnTo>
                <a:lnTo>
                  <a:pt x="57" y="375"/>
                </a:lnTo>
                <a:lnTo>
                  <a:pt x="56" y="375"/>
                </a:lnTo>
                <a:lnTo>
                  <a:pt x="54" y="375"/>
                </a:lnTo>
                <a:lnTo>
                  <a:pt x="53" y="376"/>
                </a:lnTo>
                <a:lnTo>
                  <a:pt x="51" y="376"/>
                </a:lnTo>
                <a:lnTo>
                  <a:pt x="49" y="377"/>
                </a:lnTo>
                <a:lnTo>
                  <a:pt x="44" y="380"/>
                </a:lnTo>
                <a:lnTo>
                  <a:pt x="42" y="380"/>
                </a:lnTo>
                <a:lnTo>
                  <a:pt x="41" y="381"/>
                </a:lnTo>
                <a:lnTo>
                  <a:pt x="40" y="381"/>
                </a:lnTo>
                <a:lnTo>
                  <a:pt x="39" y="381"/>
                </a:lnTo>
                <a:lnTo>
                  <a:pt x="38" y="381"/>
                </a:lnTo>
                <a:lnTo>
                  <a:pt x="36" y="380"/>
                </a:lnTo>
                <a:lnTo>
                  <a:pt x="36" y="380"/>
                </a:lnTo>
                <a:lnTo>
                  <a:pt x="35" y="380"/>
                </a:lnTo>
                <a:lnTo>
                  <a:pt x="33" y="378"/>
                </a:lnTo>
                <a:lnTo>
                  <a:pt x="30" y="376"/>
                </a:lnTo>
                <a:lnTo>
                  <a:pt x="27" y="373"/>
                </a:lnTo>
                <a:lnTo>
                  <a:pt x="25" y="371"/>
                </a:lnTo>
                <a:lnTo>
                  <a:pt x="22" y="368"/>
                </a:lnTo>
                <a:lnTo>
                  <a:pt x="21" y="367"/>
                </a:lnTo>
                <a:lnTo>
                  <a:pt x="16" y="362"/>
                </a:lnTo>
                <a:lnTo>
                  <a:pt x="15" y="361"/>
                </a:lnTo>
                <a:lnTo>
                  <a:pt x="15" y="360"/>
                </a:lnTo>
                <a:lnTo>
                  <a:pt x="12" y="356"/>
                </a:lnTo>
                <a:lnTo>
                  <a:pt x="9" y="352"/>
                </a:lnTo>
                <a:lnTo>
                  <a:pt x="8" y="350"/>
                </a:lnTo>
                <a:lnTo>
                  <a:pt x="8" y="349"/>
                </a:lnTo>
                <a:lnTo>
                  <a:pt x="7" y="348"/>
                </a:lnTo>
                <a:lnTo>
                  <a:pt x="7" y="347"/>
                </a:lnTo>
                <a:lnTo>
                  <a:pt x="7" y="346"/>
                </a:lnTo>
                <a:lnTo>
                  <a:pt x="7" y="345"/>
                </a:lnTo>
                <a:lnTo>
                  <a:pt x="7" y="344"/>
                </a:lnTo>
                <a:lnTo>
                  <a:pt x="7" y="343"/>
                </a:lnTo>
                <a:lnTo>
                  <a:pt x="8" y="342"/>
                </a:lnTo>
                <a:lnTo>
                  <a:pt x="9" y="341"/>
                </a:lnTo>
                <a:lnTo>
                  <a:pt x="10" y="339"/>
                </a:lnTo>
                <a:lnTo>
                  <a:pt x="11" y="337"/>
                </a:lnTo>
                <a:lnTo>
                  <a:pt x="13" y="335"/>
                </a:lnTo>
                <a:lnTo>
                  <a:pt x="13" y="334"/>
                </a:lnTo>
                <a:lnTo>
                  <a:pt x="14" y="333"/>
                </a:lnTo>
                <a:lnTo>
                  <a:pt x="14" y="333"/>
                </a:lnTo>
                <a:lnTo>
                  <a:pt x="14" y="332"/>
                </a:lnTo>
                <a:lnTo>
                  <a:pt x="14" y="332"/>
                </a:lnTo>
                <a:lnTo>
                  <a:pt x="13" y="331"/>
                </a:lnTo>
                <a:lnTo>
                  <a:pt x="12" y="329"/>
                </a:lnTo>
                <a:lnTo>
                  <a:pt x="11" y="328"/>
                </a:lnTo>
                <a:lnTo>
                  <a:pt x="11" y="327"/>
                </a:lnTo>
                <a:lnTo>
                  <a:pt x="10" y="326"/>
                </a:lnTo>
                <a:lnTo>
                  <a:pt x="9" y="325"/>
                </a:lnTo>
                <a:lnTo>
                  <a:pt x="6" y="323"/>
                </a:lnTo>
                <a:lnTo>
                  <a:pt x="4" y="321"/>
                </a:lnTo>
                <a:lnTo>
                  <a:pt x="3" y="320"/>
                </a:lnTo>
                <a:lnTo>
                  <a:pt x="2" y="319"/>
                </a:lnTo>
                <a:lnTo>
                  <a:pt x="1" y="317"/>
                </a:lnTo>
                <a:lnTo>
                  <a:pt x="1" y="316"/>
                </a:lnTo>
                <a:lnTo>
                  <a:pt x="1" y="316"/>
                </a:lnTo>
                <a:lnTo>
                  <a:pt x="0" y="314"/>
                </a:lnTo>
                <a:lnTo>
                  <a:pt x="0" y="313"/>
                </a:lnTo>
                <a:lnTo>
                  <a:pt x="0" y="312"/>
                </a:lnTo>
                <a:lnTo>
                  <a:pt x="0" y="310"/>
                </a:lnTo>
                <a:lnTo>
                  <a:pt x="1" y="308"/>
                </a:lnTo>
                <a:lnTo>
                  <a:pt x="1" y="307"/>
                </a:lnTo>
                <a:lnTo>
                  <a:pt x="2" y="303"/>
                </a:lnTo>
                <a:lnTo>
                  <a:pt x="3" y="301"/>
                </a:lnTo>
                <a:lnTo>
                  <a:pt x="4" y="299"/>
                </a:lnTo>
                <a:lnTo>
                  <a:pt x="5" y="295"/>
                </a:lnTo>
                <a:lnTo>
                  <a:pt x="6" y="290"/>
                </a:lnTo>
                <a:lnTo>
                  <a:pt x="6" y="289"/>
                </a:lnTo>
                <a:lnTo>
                  <a:pt x="6" y="289"/>
                </a:lnTo>
                <a:lnTo>
                  <a:pt x="6" y="288"/>
                </a:lnTo>
                <a:lnTo>
                  <a:pt x="5" y="287"/>
                </a:lnTo>
                <a:lnTo>
                  <a:pt x="5" y="286"/>
                </a:lnTo>
                <a:lnTo>
                  <a:pt x="5" y="285"/>
                </a:lnTo>
                <a:lnTo>
                  <a:pt x="6" y="284"/>
                </a:lnTo>
                <a:lnTo>
                  <a:pt x="6" y="283"/>
                </a:lnTo>
                <a:lnTo>
                  <a:pt x="7" y="279"/>
                </a:lnTo>
                <a:lnTo>
                  <a:pt x="9" y="275"/>
                </a:lnTo>
                <a:lnTo>
                  <a:pt x="11" y="270"/>
                </a:lnTo>
                <a:lnTo>
                  <a:pt x="11" y="268"/>
                </a:lnTo>
                <a:lnTo>
                  <a:pt x="12" y="266"/>
                </a:lnTo>
                <a:lnTo>
                  <a:pt x="12" y="265"/>
                </a:lnTo>
                <a:lnTo>
                  <a:pt x="13" y="263"/>
                </a:lnTo>
                <a:lnTo>
                  <a:pt x="13" y="260"/>
                </a:lnTo>
                <a:lnTo>
                  <a:pt x="13" y="259"/>
                </a:lnTo>
                <a:lnTo>
                  <a:pt x="13" y="255"/>
                </a:lnTo>
                <a:lnTo>
                  <a:pt x="13" y="254"/>
                </a:lnTo>
                <a:lnTo>
                  <a:pt x="13" y="252"/>
                </a:lnTo>
                <a:lnTo>
                  <a:pt x="14" y="248"/>
                </a:lnTo>
                <a:lnTo>
                  <a:pt x="14" y="247"/>
                </a:lnTo>
                <a:lnTo>
                  <a:pt x="14" y="245"/>
                </a:lnTo>
                <a:lnTo>
                  <a:pt x="13" y="242"/>
                </a:lnTo>
                <a:lnTo>
                  <a:pt x="13" y="241"/>
                </a:lnTo>
                <a:lnTo>
                  <a:pt x="13" y="240"/>
                </a:lnTo>
                <a:lnTo>
                  <a:pt x="12" y="238"/>
                </a:lnTo>
                <a:lnTo>
                  <a:pt x="12" y="237"/>
                </a:lnTo>
                <a:lnTo>
                  <a:pt x="11" y="235"/>
                </a:lnTo>
                <a:lnTo>
                  <a:pt x="11" y="234"/>
                </a:lnTo>
                <a:lnTo>
                  <a:pt x="8" y="230"/>
                </a:lnTo>
                <a:lnTo>
                  <a:pt x="7" y="229"/>
                </a:lnTo>
                <a:lnTo>
                  <a:pt x="7" y="228"/>
                </a:lnTo>
                <a:lnTo>
                  <a:pt x="7" y="227"/>
                </a:lnTo>
                <a:lnTo>
                  <a:pt x="7" y="227"/>
                </a:lnTo>
                <a:lnTo>
                  <a:pt x="7" y="226"/>
                </a:lnTo>
                <a:lnTo>
                  <a:pt x="7" y="225"/>
                </a:lnTo>
                <a:lnTo>
                  <a:pt x="7" y="225"/>
                </a:lnTo>
                <a:lnTo>
                  <a:pt x="8" y="225"/>
                </a:lnTo>
                <a:lnTo>
                  <a:pt x="8" y="224"/>
                </a:lnTo>
                <a:lnTo>
                  <a:pt x="9" y="223"/>
                </a:lnTo>
                <a:lnTo>
                  <a:pt x="10" y="223"/>
                </a:lnTo>
                <a:lnTo>
                  <a:pt x="11" y="222"/>
                </a:lnTo>
                <a:lnTo>
                  <a:pt x="13" y="222"/>
                </a:lnTo>
                <a:lnTo>
                  <a:pt x="14" y="221"/>
                </a:lnTo>
                <a:lnTo>
                  <a:pt x="15" y="221"/>
                </a:lnTo>
                <a:lnTo>
                  <a:pt x="16" y="220"/>
                </a:lnTo>
                <a:lnTo>
                  <a:pt x="16" y="219"/>
                </a:lnTo>
                <a:lnTo>
                  <a:pt x="17" y="218"/>
                </a:lnTo>
                <a:lnTo>
                  <a:pt x="17" y="217"/>
                </a:lnTo>
                <a:lnTo>
                  <a:pt x="17" y="217"/>
                </a:lnTo>
                <a:lnTo>
                  <a:pt x="17" y="216"/>
                </a:lnTo>
                <a:lnTo>
                  <a:pt x="17" y="215"/>
                </a:lnTo>
                <a:lnTo>
                  <a:pt x="17" y="213"/>
                </a:lnTo>
                <a:lnTo>
                  <a:pt x="17" y="212"/>
                </a:lnTo>
                <a:lnTo>
                  <a:pt x="16" y="206"/>
                </a:lnTo>
                <a:lnTo>
                  <a:pt x="16" y="205"/>
                </a:lnTo>
                <a:lnTo>
                  <a:pt x="16" y="205"/>
                </a:lnTo>
                <a:lnTo>
                  <a:pt x="16" y="204"/>
                </a:lnTo>
                <a:lnTo>
                  <a:pt x="18" y="201"/>
                </a:lnTo>
                <a:lnTo>
                  <a:pt x="18" y="200"/>
                </a:lnTo>
                <a:lnTo>
                  <a:pt x="19" y="198"/>
                </a:lnTo>
                <a:lnTo>
                  <a:pt x="19" y="194"/>
                </a:lnTo>
                <a:lnTo>
                  <a:pt x="20" y="193"/>
                </a:lnTo>
                <a:lnTo>
                  <a:pt x="20" y="192"/>
                </a:lnTo>
                <a:lnTo>
                  <a:pt x="20" y="191"/>
                </a:lnTo>
                <a:lnTo>
                  <a:pt x="21" y="190"/>
                </a:lnTo>
                <a:lnTo>
                  <a:pt x="21" y="189"/>
                </a:lnTo>
                <a:lnTo>
                  <a:pt x="22" y="188"/>
                </a:lnTo>
                <a:lnTo>
                  <a:pt x="22" y="188"/>
                </a:lnTo>
                <a:lnTo>
                  <a:pt x="23" y="188"/>
                </a:lnTo>
                <a:lnTo>
                  <a:pt x="23" y="187"/>
                </a:lnTo>
                <a:lnTo>
                  <a:pt x="25" y="187"/>
                </a:lnTo>
                <a:lnTo>
                  <a:pt x="31" y="185"/>
                </a:lnTo>
                <a:lnTo>
                  <a:pt x="33" y="185"/>
                </a:lnTo>
                <a:lnTo>
                  <a:pt x="34" y="184"/>
                </a:lnTo>
                <a:lnTo>
                  <a:pt x="35" y="184"/>
                </a:lnTo>
                <a:lnTo>
                  <a:pt x="36" y="183"/>
                </a:lnTo>
                <a:lnTo>
                  <a:pt x="36" y="183"/>
                </a:lnTo>
                <a:lnTo>
                  <a:pt x="37" y="182"/>
                </a:lnTo>
                <a:lnTo>
                  <a:pt x="37" y="182"/>
                </a:lnTo>
                <a:lnTo>
                  <a:pt x="37" y="181"/>
                </a:lnTo>
                <a:lnTo>
                  <a:pt x="37" y="181"/>
                </a:lnTo>
                <a:lnTo>
                  <a:pt x="37" y="180"/>
                </a:lnTo>
                <a:lnTo>
                  <a:pt x="37" y="179"/>
                </a:lnTo>
                <a:lnTo>
                  <a:pt x="36" y="176"/>
                </a:lnTo>
                <a:lnTo>
                  <a:pt x="36" y="175"/>
                </a:lnTo>
                <a:lnTo>
                  <a:pt x="36" y="174"/>
                </a:lnTo>
                <a:lnTo>
                  <a:pt x="36" y="173"/>
                </a:lnTo>
                <a:lnTo>
                  <a:pt x="36" y="173"/>
                </a:lnTo>
                <a:lnTo>
                  <a:pt x="37" y="172"/>
                </a:lnTo>
                <a:lnTo>
                  <a:pt x="37" y="171"/>
                </a:lnTo>
                <a:lnTo>
                  <a:pt x="38" y="171"/>
                </a:lnTo>
                <a:lnTo>
                  <a:pt x="39" y="170"/>
                </a:lnTo>
                <a:lnTo>
                  <a:pt x="39" y="170"/>
                </a:lnTo>
                <a:lnTo>
                  <a:pt x="40" y="170"/>
                </a:lnTo>
                <a:lnTo>
                  <a:pt x="41" y="169"/>
                </a:lnTo>
                <a:lnTo>
                  <a:pt x="42" y="169"/>
                </a:lnTo>
                <a:lnTo>
                  <a:pt x="43" y="169"/>
                </a:lnTo>
                <a:lnTo>
                  <a:pt x="45" y="169"/>
                </a:lnTo>
                <a:lnTo>
                  <a:pt x="46" y="169"/>
                </a:lnTo>
                <a:lnTo>
                  <a:pt x="51" y="171"/>
                </a:lnTo>
                <a:lnTo>
                  <a:pt x="53" y="171"/>
                </a:lnTo>
                <a:lnTo>
                  <a:pt x="55" y="171"/>
                </a:lnTo>
                <a:lnTo>
                  <a:pt x="56" y="172"/>
                </a:lnTo>
                <a:lnTo>
                  <a:pt x="60" y="172"/>
                </a:lnTo>
                <a:lnTo>
                  <a:pt x="62" y="172"/>
                </a:lnTo>
                <a:lnTo>
                  <a:pt x="68" y="173"/>
                </a:lnTo>
                <a:lnTo>
                  <a:pt x="69" y="173"/>
                </a:lnTo>
                <a:lnTo>
                  <a:pt x="71" y="173"/>
                </a:lnTo>
                <a:lnTo>
                  <a:pt x="73" y="173"/>
                </a:lnTo>
                <a:lnTo>
                  <a:pt x="75" y="173"/>
                </a:lnTo>
                <a:lnTo>
                  <a:pt x="77" y="173"/>
                </a:lnTo>
                <a:lnTo>
                  <a:pt x="79" y="172"/>
                </a:lnTo>
                <a:lnTo>
                  <a:pt x="80" y="172"/>
                </a:lnTo>
                <a:lnTo>
                  <a:pt x="83" y="171"/>
                </a:lnTo>
                <a:lnTo>
                  <a:pt x="88" y="169"/>
                </a:lnTo>
                <a:lnTo>
                  <a:pt x="90" y="168"/>
                </a:lnTo>
                <a:lnTo>
                  <a:pt x="92" y="167"/>
                </a:lnTo>
                <a:lnTo>
                  <a:pt x="93" y="167"/>
                </a:lnTo>
                <a:lnTo>
                  <a:pt x="93" y="167"/>
                </a:lnTo>
                <a:lnTo>
                  <a:pt x="94" y="167"/>
                </a:lnTo>
                <a:lnTo>
                  <a:pt x="94" y="168"/>
                </a:lnTo>
                <a:lnTo>
                  <a:pt x="98" y="169"/>
                </a:lnTo>
                <a:lnTo>
                  <a:pt x="100" y="170"/>
                </a:lnTo>
                <a:lnTo>
                  <a:pt x="101" y="170"/>
                </a:lnTo>
                <a:lnTo>
                  <a:pt x="104" y="171"/>
                </a:lnTo>
                <a:lnTo>
                  <a:pt x="106" y="171"/>
                </a:lnTo>
                <a:lnTo>
                  <a:pt x="106" y="172"/>
                </a:lnTo>
                <a:lnTo>
                  <a:pt x="108" y="172"/>
                </a:lnTo>
                <a:lnTo>
                  <a:pt x="110" y="174"/>
                </a:lnTo>
                <a:lnTo>
                  <a:pt x="111" y="175"/>
                </a:lnTo>
                <a:lnTo>
                  <a:pt x="112" y="175"/>
                </a:lnTo>
                <a:lnTo>
                  <a:pt x="112" y="175"/>
                </a:lnTo>
                <a:lnTo>
                  <a:pt x="113" y="175"/>
                </a:lnTo>
                <a:lnTo>
                  <a:pt x="113" y="175"/>
                </a:lnTo>
                <a:lnTo>
                  <a:pt x="114" y="175"/>
                </a:lnTo>
                <a:lnTo>
                  <a:pt x="114" y="174"/>
                </a:lnTo>
                <a:lnTo>
                  <a:pt x="115" y="174"/>
                </a:lnTo>
                <a:lnTo>
                  <a:pt x="116" y="172"/>
                </a:lnTo>
                <a:lnTo>
                  <a:pt x="117" y="171"/>
                </a:lnTo>
                <a:lnTo>
                  <a:pt x="117" y="169"/>
                </a:lnTo>
                <a:lnTo>
                  <a:pt x="118" y="166"/>
                </a:lnTo>
                <a:lnTo>
                  <a:pt x="119" y="166"/>
                </a:lnTo>
                <a:lnTo>
                  <a:pt x="119" y="165"/>
                </a:lnTo>
                <a:lnTo>
                  <a:pt x="120" y="165"/>
                </a:lnTo>
                <a:lnTo>
                  <a:pt x="120" y="164"/>
                </a:lnTo>
                <a:lnTo>
                  <a:pt x="122" y="163"/>
                </a:lnTo>
                <a:lnTo>
                  <a:pt x="123" y="162"/>
                </a:lnTo>
                <a:lnTo>
                  <a:pt x="124" y="162"/>
                </a:lnTo>
                <a:lnTo>
                  <a:pt x="125" y="162"/>
                </a:lnTo>
                <a:lnTo>
                  <a:pt x="125" y="161"/>
                </a:lnTo>
                <a:lnTo>
                  <a:pt x="126" y="161"/>
                </a:lnTo>
                <a:lnTo>
                  <a:pt x="128" y="162"/>
                </a:lnTo>
                <a:lnTo>
                  <a:pt x="131" y="162"/>
                </a:lnTo>
                <a:lnTo>
                  <a:pt x="132" y="162"/>
                </a:lnTo>
                <a:lnTo>
                  <a:pt x="135" y="162"/>
                </a:lnTo>
                <a:lnTo>
                  <a:pt x="136" y="162"/>
                </a:lnTo>
                <a:lnTo>
                  <a:pt x="137" y="162"/>
                </a:lnTo>
                <a:lnTo>
                  <a:pt x="139" y="162"/>
                </a:lnTo>
                <a:lnTo>
                  <a:pt x="140" y="161"/>
                </a:lnTo>
                <a:lnTo>
                  <a:pt x="141" y="161"/>
                </a:lnTo>
                <a:lnTo>
                  <a:pt x="143" y="160"/>
                </a:lnTo>
                <a:lnTo>
                  <a:pt x="145" y="158"/>
                </a:lnTo>
                <a:lnTo>
                  <a:pt x="146" y="157"/>
                </a:lnTo>
                <a:lnTo>
                  <a:pt x="147" y="156"/>
                </a:lnTo>
                <a:lnTo>
                  <a:pt x="147" y="155"/>
                </a:lnTo>
                <a:lnTo>
                  <a:pt x="148" y="155"/>
                </a:lnTo>
                <a:lnTo>
                  <a:pt x="149" y="154"/>
                </a:lnTo>
                <a:lnTo>
                  <a:pt x="149" y="152"/>
                </a:lnTo>
                <a:lnTo>
                  <a:pt x="149" y="151"/>
                </a:lnTo>
                <a:lnTo>
                  <a:pt x="150" y="150"/>
                </a:lnTo>
                <a:lnTo>
                  <a:pt x="150" y="149"/>
                </a:lnTo>
                <a:lnTo>
                  <a:pt x="150" y="147"/>
                </a:lnTo>
                <a:lnTo>
                  <a:pt x="150" y="146"/>
                </a:lnTo>
                <a:lnTo>
                  <a:pt x="150" y="144"/>
                </a:lnTo>
                <a:lnTo>
                  <a:pt x="149" y="143"/>
                </a:lnTo>
                <a:lnTo>
                  <a:pt x="149" y="142"/>
                </a:lnTo>
                <a:lnTo>
                  <a:pt x="148" y="140"/>
                </a:lnTo>
                <a:lnTo>
                  <a:pt x="148" y="139"/>
                </a:lnTo>
                <a:lnTo>
                  <a:pt x="146" y="137"/>
                </a:lnTo>
                <a:lnTo>
                  <a:pt x="145" y="134"/>
                </a:lnTo>
                <a:lnTo>
                  <a:pt x="144" y="134"/>
                </a:lnTo>
                <a:lnTo>
                  <a:pt x="143" y="133"/>
                </a:lnTo>
                <a:lnTo>
                  <a:pt x="143" y="132"/>
                </a:lnTo>
                <a:lnTo>
                  <a:pt x="142" y="132"/>
                </a:lnTo>
                <a:lnTo>
                  <a:pt x="141" y="131"/>
                </a:lnTo>
                <a:lnTo>
                  <a:pt x="139" y="130"/>
                </a:lnTo>
                <a:lnTo>
                  <a:pt x="138" y="130"/>
                </a:lnTo>
                <a:lnTo>
                  <a:pt x="134" y="129"/>
                </a:lnTo>
                <a:lnTo>
                  <a:pt x="132" y="128"/>
                </a:lnTo>
                <a:lnTo>
                  <a:pt x="127" y="125"/>
                </a:lnTo>
                <a:lnTo>
                  <a:pt x="126" y="125"/>
                </a:lnTo>
                <a:lnTo>
                  <a:pt x="125" y="124"/>
                </a:lnTo>
                <a:lnTo>
                  <a:pt x="124" y="123"/>
                </a:lnTo>
                <a:lnTo>
                  <a:pt x="124" y="122"/>
                </a:lnTo>
                <a:lnTo>
                  <a:pt x="123" y="121"/>
                </a:lnTo>
                <a:lnTo>
                  <a:pt x="123" y="119"/>
                </a:lnTo>
                <a:lnTo>
                  <a:pt x="122" y="118"/>
                </a:lnTo>
                <a:lnTo>
                  <a:pt x="122" y="116"/>
                </a:lnTo>
                <a:lnTo>
                  <a:pt x="122" y="114"/>
                </a:lnTo>
                <a:lnTo>
                  <a:pt x="122" y="113"/>
                </a:lnTo>
                <a:lnTo>
                  <a:pt x="121" y="111"/>
                </a:lnTo>
                <a:lnTo>
                  <a:pt x="122" y="110"/>
                </a:lnTo>
                <a:lnTo>
                  <a:pt x="122" y="108"/>
                </a:lnTo>
                <a:lnTo>
                  <a:pt x="122" y="107"/>
                </a:lnTo>
                <a:lnTo>
                  <a:pt x="122" y="106"/>
                </a:lnTo>
                <a:lnTo>
                  <a:pt x="123" y="104"/>
                </a:lnTo>
                <a:lnTo>
                  <a:pt x="123" y="103"/>
                </a:lnTo>
                <a:lnTo>
                  <a:pt x="124" y="101"/>
                </a:lnTo>
                <a:lnTo>
                  <a:pt x="124" y="100"/>
                </a:lnTo>
                <a:lnTo>
                  <a:pt x="125" y="99"/>
                </a:lnTo>
                <a:lnTo>
                  <a:pt x="133" y="89"/>
                </a:lnTo>
                <a:lnTo>
                  <a:pt x="134" y="88"/>
                </a:lnTo>
                <a:lnTo>
                  <a:pt x="135" y="87"/>
                </a:lnTo>
                <a:lnTo>
                  <a:pt x="136" y="85"/>
                </a:lnTo>
                <a:lnTo>
                  <a:pt x="137" y="81"/>
                </a:lnTo>
                <a:lnTo>
                  <a:pt x="139" y="78"/>
                </a:lnTo>
                <a:lnTo>
                  <a:pt x="139" y="77"/>
                </a:lnTo>
                <a:lnTo>
                  <a:pt x="140" y="74"/>
                </a:lnTo>
                <a:lnTo>
                  <a:pt x="141" y="74"/>
                </a:lnTo>
                <a:lnTo>
                  <a:pt x="141" y="73"/>
                </a:lnTo>
                <a:lnTo>
                  <a:pt x="142" y="72"/>
                </a:lnTo>
                <a:lnTo>
                  <a:pt x="142" y="71"/>
                </a:lnTo>
                <a:lnTo>
                  <a:pt x="143" y="70"/>
                </a:lnTo>
                <a:lnTo>
                  <a:pt x="144" y="70"/>
                </a:lnTo>
                <a:lnTo>
                  <a:pt x="144" y="69"/>
                </a:lnTo>
                <a:lnTo>
                  <a:pt x="145" y="69"/>
                </a:lnTo>
                <a:lnTo>
                  <a:pt x="147" y="68"/>
                </a:lnTo>
                <a:lnTo>
                  <a:pt x="148" y="68"/>
                </a:lnTo>
                <a:lnTo>
                  <a:pt x="149" y="68"/>
                </a:lnTo>
                <a:lnTo>
                  <a:pt x="150" y="67"/>
                </a:lnTo>
                <a:lnTo>
                  <a:pt x="151" y="68"/>
                </a:lnTo>
                <a:lnTo>
                  <a:pt x="151" y="68"/>
                </a:lnTo>
                <a:lnTo>
                  <a:pt x="153" y="69"/>
                </a:lnTo>
                <a:lnTo>
                  <a:pt x="154" y="69"/>
                </a:lnTo>
                <a:lnTo>
                  <a:pt x="154" y="69"/>
                </a:lnTo>
                <a:lnTo>
                  <a:pt x="155" y="69"/>
                </a:lnTo>
                <a:lnTo>
                  <a:pt x="156" y="70"/>
                </a:lnTo>
                <a:lnTo>
                  <a:pt x="157" y="70"/>
                </a:lnTo>
                <a:lnTo>
                  <a:pt x="158" y="70"/>
                </a:lnTo>
                <a:lnTo>
                  <a:pt x="159" y="69"/>
                </a:lnTo>
                <a:lnTo>
                  <a:pt x="161" y="69"/>
                </a:lnTo>
                <a:lnTo>
                  <a:pt x="162" y="68"/>
                </a:lnTo>
                <a:lnTo>
                  <a:pt x="163" y="68"/>
                </a:lnTo>
                <a:lnTo>
                  <a:pt x="168" y="65"/>
                </a:lnTo>
                <a:lnTo>
                  <a:pt x="170" y="64"/>
                </a:lnTo>
                <a:lnTo>
                  <a:pt x="172" y="63"/>
                </a:lnTo>
                <a:lnTo>
                  <a:pt x="174" y="63"/>
                </a:lnTo>
                <a:lnTo>
                  <a:pt x="177" y="62"/>
                </a:lnTo>
                <a:lnTo>
                  <a:pt x="179" y="61"/>
                </a:lnTo>
                <a:lnTo>
                  <a:pt x="184" y="60"/>
                </a:lnTo>
                <a:lnTo>
                  <a:pt x="186" y="59"/>
                </a:lnTo>
                <a:lnTo>
                  <a:pt x="188" y="59"/>
                </a:lnTo>
                <a:lnTo>
                  <a:pt x="191" y="58"/>
                </a:lnTo>
                <a:lnTo>
                  <a:pt x="193" y="57"/>
                </a:lnTo>
                <a:lnTo>
                  <a:pt x="194" y="57"/>
                </a:lnTo>
                <a:lnTo>
                  <a:pt x="196" y="56"/>
                </a:lnTo>
                <a:lnTo>
                  <a:pt x="198" y="54"/>
                </a:lnTo>
                <a:lnTo>
                  <a:pt x="200" y="53"/>
                </a:lnTo>
                <a:lnTo>
                  <a:pt x="200" y="52"/>
                </a:lnTo>
                <a:lnTo>
                  <a:pt x="201" y="51"/>
                </a:lnTo>
                <a:lnTo>
                  <a:pt x="204" y="48"/>
                </a:lnTo>
                <a:lnTo>
                  <a:pt x="205" y="46"/>
                </a:lnTo>
                <a:lnTo>
                  <a:pt x="206" y="45"/>
                </a:lnTo>
                <a:lnTo>
                  <a:pt x="207" y="44"/>
                </a:lnTo>
                <a:lnTo>
                  <a:pt x="208" y="44"/>
                </a:lnTo>
                <a:lnTo>
                  <a:pt x="209" y="43"/>
                </a:lnTo>
                <a:lnTo>
                  <a:pt x="210" y="43"/>
                </a:lnTo>
                <a:lnTo>
                  <a:pt x="210" y="43"/>
                </a:lnTo>
                <a:lnTo>
                  <a:pt x="213" y="43"/>
                </a:lnTo>
                <a:lnTo>
                  <a:pt x="217" y="43"/>
                </a:lnTo>
                <a:lnTo>
                  <a:pt x="219" y="43"/>
                </a:lnTo>
                <a:lnTo>
                  <a:pt x="220" y="43"/>
                </a:lnTo>
                <a:lnTo>
                  <a:pt x="221" y="43"/>
                </a:lnTo>
                <a:lnTo>
                  <a:pt x="223" y="43"/>
                </a:lnTo>
                <a:lnTo>
                  <a:pt x="224" y="43"/>
                </a:lnTo>
                <a:lnTo>
                  <a:pt x="225" y="42"/>
                </a:lnTo>
                <a:lnTo>
                  <a:pt x="225" y="42"/>
                </a:lnTo>
                <a:lnTo>
                  <a:pt x="226" y="41"/>
                </a:lnTo>
                <a:lnTo>
                  <a:pt x="226" y="40"/>
                </a:lnTo>
                <a:lnTo>
                  <a:pt x="227" y="40"/>
                </a:lnTo>
                <a:lnTo>
                  <a:pt x="227" y="40"/>
                </a:lnTo>
                <a:lnTo>
                  <a:pt x="227" y="39"/>
                </a:lnTo>
                <a:lnTo>
                  <a:pt x="228" y="38"/>
                </a:lnTo>
                <a:lnTo>
                  <a:pt x="228" y="37"/>
                </a:lnTo>
                <a:lnTo>
                  <a:pt x="228" y="37"/>
                </a:lnTo>
                <a:lnTo>
                  <a:pt x="227" y="36"/>
                </a:lnTo>
                <a:lnTo>
                  <a:pt x="227" y="35"/>
                </a:lnTo>
                <a:lnTo>
                  <a:pt x="227" y="34"/>
                </a:lnTo>
                <a:lnTo>
                  <a:pt x="226" y="32"/>
                </a:lnTo>
                <a:lnTo>
                  <a:pt x="225" y="28"/>
                </a:lnTo>
                <a:lnTo>
                  <a:pt x="224" y="27"/>
                </a:lnTo>
                <a:lnTo>
                  <a:pt x="224" y="26"/>
                </a:lnTo>
                <a:lnTo>
                  <a:pt x="224" y="25"/>
                </a:lnTo>
                <a:lnTo>
                  <a:pt x="224" y="24"/>
                </a:lnTo>
                <a:lnTo>
                  <a:pt x="224" y="23"/>
                </a:lnTo>
                <a:lnTo>
                  <a:pt x="225" y="22"/>
                </a:lnTo>
                <a:lnTo>
                  <a:pt x="225" y="22"/>
                </a:lnTo>
                <a:lnTo>
                  <a:pt x="225" y="21"/>
                </a:lnTo>
                <a:lnTo>
                  <a:pt x="226" y="20"/>
                </a:lnTo>
                <a:lnTo>
                  <a:pt x="226" y="19"/>
                </a:lnTo>
                <a:lnTo>
                  <a:pt x="228" y="18"/>
                </a:lnTo>
                <a:lnTo>
                  <a:pt x="229" y="16"/>
                </a:lnTo>
                <a:lnTo>
                  <a:pt x="230" y="15"/>
                </a:lnTo>
                <a:lnTo>
                  <a:pt x="231" y="15"/>
                </a:lnTo>
                <a:lnTo>
                  <a:pt x="232" y="14"/>
                </a:lnTo>
                <a:lnTo>
                  <a:pt x="233" y="14"/>
                </a:lnTo>
                <a:lnTo>
                  <a:pt x="235" y="13"/>
                </a:lnTo>
                <a:lnTo>
                  <a:pt x="236" y="12"/>
                </a:lnTo>
                <a:lnTo>
                  <a:pt x="237" y="12"/>
                </a:lnTo>
                <a:lnTo>
                  <a:pt x="240" y="12"/>
                </a:lnTo>
                <a:lnTo>
                  <a:pt x="241" y="12"/>
                </a:lnTo>
                <a:lnTo>
                  <a:pt x="242" y="11"/>
                </a:lnTo>
                <a:lnTo>
                  <a:pt x="243" y="11"/>
                </a:lnTo>
                <a:lnTo>
                  <a:pt x="244" y="10"/>
                </a:lnTo>
                <a:lnTo>
                  <a:pt x="245" y="10"/>
                </a:lnTo>
                <a:lnTo>
                  <a:pt x="246" y="9"/>
                </a:lnTo>
                <a:lnTo>
                  <a:pt x="249" y="7"/>
                </a:lnTo>
                <a:lnTo>
                  <a:pt x="252" y="4"/>
                </a:lnTo>
                <a:lnTo>
                  <a:pt x="253" y="3"/>
                </a:lnTo>
                <a:lnTo>
                  <a:pt x="254" y="3"/>
                </a:lnTo>
                <a:lnTo>
                  <a:pt x="255" y="2"/>
                </a:lnTo>
                <a:lnTo>
                  <a:pt x="256" y="1"/>
                </a:lnTo>
                <a:lnTo>
                  <a:pt x="256" y="0"/>
                </a:lnTo>
                <a:lnTo>
                  <a:pt x="262" y="4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1" name="Freeform 284">
            <a:extLst>
              <a:ext uri="{FF2B5EF4-FFF2-40B4-BE49-F238E27FC236}">
                <a16:creationId xmlns:a16="http://schemas.microsoft.com/office/drawing/2014/main" id="{1CB6C04B-6EE9-4766-AAD1-94E024D85B73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1731558" cy="1366263"/>
          </a:xfrm>
          <a:custGeom>
            <a:avLst/>
            <a:gdLst>
              <a:gd name="T0" fmla="*/ 482 w 911"/>
              <a:gd name="T1" fmla="*/ 2 h 657"/>
              <a:gd name="T2" fmla="*/ 532 w 911"/>
              <a:gd name="T3" fmla="*/ 24 h 657"/>
              <a:gd name="T4" fmla="*/ 510 w 911"/>
              <a:gd name="T5" fmla="*/ 45 h 657"/>
              <a:gd name="T6" fmla="*/ 540 w 911"/>
              <a:gd name="T7" fmla="*/ 65 h 657"/>
              <a:gd name="T8" fmla="*/ 544 w 911"/>
              <a:gd name="T9" fmla="*/ 123 h 657"/>
              <a:gd name="T10" fmla="*/ 553 w 911"/>
              <a:gd name="T11" fmla="*/ 154 h 657"/>
              <a:gd name="T12" fmla="*/ 581 w 911"/>
              <a:gd name="T13" fmla="*/ 123 h 657"/>
              <a:gd name="T14" fmla="*/ 572 w 911"/>
              <a:gd name="T15" fmla="*/ 88 h 657"/>
              <a:gd name="T16" fmla="*/ 611 w 911"/>
              <a:gd name="T17" fmla="*/ 108 h 657"/>
              <a:gd name="T18" fmla="*/ 636 w 911"/>
              <a:gd name="T19" fmla="*/ 150 h 657"/>
              <a:gd name="T20" fmla="*/ 642 w 911"/>
              <a:gd name="T21" fmla="*/ 172 h 657"/>
              <a:gd name="T22" fmla="*/ 685 w 911"/>
              <a:gd name="T23" fmla="*/ 207 h 657"/>
              <a:gd name="T24" fmla="*/ 692 w 911"/>
              <a:gd name="T25" fmla="*/ 282 h 657"/>
              <a:gd name="T26" fmla="*/ 710 w 911"/>
              <a:gd name="T27" fmla="*/ 300 h 657"/>
              <a:gd name="T28" fmla="*/ 678 w 911"/>
              <a:gd name="T29" fmla="*/ 342 h 657"/>
              <a:gd name="T30" fmla="*/ 713 w 911"/>
              <a:gd name="T31" fmla="*/ 349 h 657"/>
              <a:gd name="T32" fmla="*/ 733 w 911"/>
              <a:gd name="T33" fmla="*/ 382 h 657"/>
              <a:gd name="T34" fmla="*/ 782 w 911"/>
              <a:gd name="T35" fmla="*/ 404 h 657"/>
              <a:gd name="T36" fmla="*/ 818 w 911"/>
              <a:gd name="T37" fmla="*/ 431 h 657"/>
              <a:gd name="T38" fmla="*/ 864 w 911"/>
              <a:gd name="T39" fmla="*/ 441 h 657"/>
              <a:gd name="T40" fmla="*/ 908 w 911"/>
              <a:gd name="T41" fmla="*/ 491 h 657"/>
              <a:gd name="T42" fmla="*/ 868 w 911"/>
              <a:gd name="T43" fmla="*/ 519 h 657"/>
              <a:gd name="T44" fmla="*/ 827 w 911"/>
              <a:gd name="T45" fmla="*/ 507 h 657"/>
              <a:gd name="T46" fmla="*/ 777 w 911"/>
              <a:gd name="T47" fmla="*/ 516 h 657"/>
              <a:gd name="T48" fmla="*/ 714 w 911"/>
              <a:gd name="T49" fmla="*/ 491 h 657"/>
              <a:gd name="T50" fmla="*/ 661 w 911"/>
              <a:gd name="T51" fmla="*/ 554 h 657"/>
              <a:gd name="T52" fmla="*/ 618 w 911"/>
              <a:gd name="T53" fmla="*/ 646 h 657"/>
              <a:gd name="T54" fmla="*/ 600 w 911"/>
              <a:gd name="T55" fmla="*/ 630 h 657"/>
              <a:gd name="T56" fmla="*/ 574 w 911"/>
              <a:gd name="T57" fmla="*/ 597 h 657"/>
              <a:gd name="T58" fmla="*/ 509 w 911"/>
              <a:gd name="T59" fmla="*/ 585 h 657"/>
              <a:gd name="T60" fmla="*/ 486 w 911"/>
              <a:gd name="T61" fmla="*/ 559 h 657"/>
              <a:gd name="T62" fmla="*/ 432 w 911"/>
              <a:gd name="T63" fmla="*/ 540 h 657"/>
              <a:gd name="T64" fmla="*/ 385 w 911"/>
              <a:gd name="T65" fmla="*/ 568 h 657"/>
              <a:gd name="T66" fmla="*/ 346 w 911"/>
              <a:gd name="T67" fmla="*/ 586 h 657"/>
              <a:gd name="T68" fmla="*/ 259 w 911"/>
              <a:gd name="T69" fmla="*/ 583 h 657"/>
              <a:gd name="T70" fmla="*/ 182 w 911"/>
              <a:gd name="T71" fmla="*/ 546 h 657"/>
              <a:gd name="T72" fmla="*/ 157 w 911"/>
              <a:gd name="T73" fmla="*/ 524 h 657"/>
              <a:gd name="T74" fmla="*/ 132 w 911"/>
              <a:gd name="T75" fmla="*/ 505 h 657"/>
              <a:gd name="T76" fmla="*/ 89 w 911"/>
              <a:gd name="T77" fmla="*/ 512 h 657"/>
              <a:gd name="T78" fmla="*/ 13 w 911"/>
              <a:gd name="T79" fmla="*/ 484 h 657"/>
              <a:gd name="T80" fmla="*/ 12 w 911"/>
              <a:gd name="T81" fmla="*/ 459 h 657"/>
              <a:gd name="T82" fmla="*/ 36 w 911"/>
              <a:gd name="T83" fmla="*/ 454 h 657"/>
              <a:gd name="T84" fmla="*/ 70 w 911"/>
              <a:gd name="T85" fmla="*/ 443 h 657"/>
              <a:gd name="T86" fmla="*/ 108 w 911"/>
              <a:gd name="T87" fmla="*/ 426 h 657"/>
              <a:gd name="T88" fmla="*/ 148 w 911"/>
              <a:gd name="T89" fmla="*/ 398 h 657"/>
              <a:gd name="T90" fmla="*/ 176 w 911"/>
              <a:gd name="T91" fmla="*/ 384 h 657"/>
              <a:gd name="T92" fmla="*/ 211 w 911"/>
              <a:gd name="T93" fmla="*/ 391 h 657"/>
              <a:gd name="T94" fmla="*/ 256 w 911"/>
              <a:gd name="T95" fmla="*/ 382 h 657"/>
              <a:gd name="T96" fmla="*/ 292 w 911"/>
              <a:gd name="T97" fmla="*/ 360 h 657"/>
              <a:gd name="T98" fmla="*/ 288 w 911"/>
              <a:gd name="T99" fmla="*/ 328 h 657"/>
              <a:gd name="T100" fmla="*/ 297 w 911"/>
              <a:gd name="T101" fmla="*/ 305 h 657"/>
              <a:gd name="T102" fmla="*/ 301 w 911"/>
              <a:gd name="T103" fmla="*/ 276 h 657"/>
              <a:gd name="T104" fmla="*/ 315 w 911"/>
              <a:gd name="T105" fmla="*/ 245 h 657"/>
              <a:gd name="T106" fmla="*/ 317 w 911"/>
              <a:gd name="T107" fmla="*/ 210 h 657"/>
              <a:gd name="T108" fmla="*/ 306 w 911"/>
              <a:gd name="T109" fmla="*/ 196 h 657"/>
              <a:gd name="T110" fmla="*/ 302 w 911"/>
              <a:gd name="T111" fmla="*/ 147 h 657"/>
              <a:gd name="T112" fmla="*/ 333 w 911"/>
              <a:gd name="T113" fmla="*/ 124 h 657"/>
              <a:gd name="T114" fmla="*/ 338 w 911"/>
              <a:gd name="T115" fmla="*/ 109 h 657"/>
              <a:gd name="T116" fmla="*/ 356 w 911"/>
              <a:gd name="T117" fmla="*/ 106 h 657"/>
              <a:gd name="T118" fmla="*/ 357 w 911"/>
              <a:gd name="T119" fmla="*/ 87 h 657"/>
              <a:gd name="T120" fmla="*/ 355 w 911"/>
              <a:gd name="T121" fmla="*/ 56 h 657"/>
              <a:gd name="T122" fmla="*/ 371 w 911"/>
              <a:gd name="T123" fmla="*/ 27 h 657"/>
              <a:gd name="T124" fmla="*/ 415 w 911"/>
              <a:gd name="T125" fmla="*/ 26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1" h="657">
                <a:moveTo>
                  <a:pt x="430" y="0"/>
                </a:moveTo>
                <a:lnTo>
                  <a:pt x="431" y="0"/>
                </a:lnTo>
                <a:lnTo>
                  <a:pt x="431" y="0"/>
                </a:lnTo>
                <a:lnTo>
                  <a:pt x="433" y="1"/>
                </a:lnTo>
                <a:lnTo>
                  <a:pt x="437" y="2"/>
                </a:lnTo>
                <a:lnTo>
                  <a:pt x="439" y="2"/>
                </a:lnTo>
                <a:lnTo>
                  <a:pt x="442" y="3"/>
                </a:lnTo>
                <a:lnTo>
                  <a:pt x="446" y="3"/>
                </a:lnTo>
                <a:lnTo>
                  <a:pt x="448" y="3"/>
                </a:lnTo>
                <a:lnTo>
                  <a:pt x="450" y="3"/>
                </a:lnTo>
                <a:lnTo>
                  <a:pt x="452" y="2"/>
                </a:lnTo>
                <a:lnTo>
                  <a:pt x="456" y="1"/>
                </a:lnTo>
                <a:lnTo>
                  <a:pt x="457" y="1"/>
                </a:lnTo>
                <a:lnTo>
                  <a:pt x="458" y="1"/>
                </a:lnTo>
                <a:lnTo>
                  <a:pt x="459" y="1"/>
                </a:lnTo>
                <a:lnTo>
                  <a:pt x="461" y="1"/>
                </a:lnTo>
                <a:lnTo>
                  <a:pt x="463" y="1"/>
                </a:lnTo>
                <a:lnTo>
                  <a:pt x="466" y="3"/>
                </a:lnTo>
                <a:lnTo>
                  <a:pt x="467" y="3"/>
                </a:lnTo>
                <a:lnTo>
                  <a:pt x="468" y="3"/>
                </a:lnTo>
                <a:lnTo>
                  <a:pt x="469" y="3"/>
                </a:lnTo>
                <a:lnTo>
                  <a:pt x="470" y="3"/>
                </a:lnTo>
                <a:lnTo>
                  <a:pt x="474" y="2"/>
                </a:lnTo>
                <a:lnTo>
                  <a:pt x="476" y="2"/>
                </a:lnTo>
                <a:lnTo>
                  <a:pt x="477" y="2"/>
                </a:lnTo>
                <a:lnTo>
                  <a:pt x="479" y="2"/>
                </a:lnTo>
                <a:lnTo>
                  <a:pt x="482" y="2"/>
                </a:lnTo>
                <a:lnTo>
                  <a:pt x="486" y="3"/>
                </a:lnTo>
                <a:lnTo>
                  <a:pt x="487" y="3"/>
                </a:lnTo>
                <a:lnTo>
                  <a:pt x="489" y="3"/>
                </a:lnTo>
                <a:lnTo>
                  <a:pt x="491" y="4"/>
                </a:lnTo>
                <a:lnTo>
                  <a:pt x="493" y="4"/>
                </a:lnTo>
                <a:lnTo>
                  <a:pt x="495" y="5"/>
                </a:lnTo>
                <a:lnTo>
                  <a:pt x="496" y="6"/>
                </a:lnTo>
                <a:lnTo>
                  <a:pt x="500" y="8"/>
                </a:lnTo>
                <a:lnTo>
                  <a:pt x="510" y="12"/>
                </a:lnTo>
                <a:lnTo>
                  <a:pt x="512" y="13"/>
                </a:lnTo>
                <a:lnTo>
                  <a:pt x="514" y="14"/>
                </a:lnTo>
                <a:lnTo>
                  <a:pt x="517" y="15"/>
                </a:lnTo>
                <a:lnTo>
                  <a:pt x="519" y="16"/>
                </a:lnTo>
                <a:lnTo>
                  <a:pt x="522" y="17"/>
                </a:lnTo>
                <a:lnTo>
                  <a:pt x="524" y="18"/>
                </a:lnTo>
                <a:lnTo>
                  <a:pt x="526" y="18"/>
                </a:lnTo>
                <a:lnTo>
                  <a:pt x="528" y="18"/>
                </a:lnTo>
                <a:lnTo>
                  <a:pt x="530" y="19"/>
                </a:lnTo>
                <a:lnTo>
                  <a:pt x="532" y="19"/>
                </a:lnTo>
                <a:lnTo>
                  <a:pt x="534" y="18"/>
                </a:lnTo>
                <a:lnTo>
                  <a:pt x="534" y="18"/>
                </a:lnTo>
                <a:lnTo>
                  <a:pt x="535" y="18"/>
                </a:lnTo>
                <a:lnTo>
                  <a:pt x="534" y="19"/>
                </a:lnTo>
                <a:lnTo>
                  <a:pt x="534" y="20"/>
                </a:lnTo>
                <a:lnTo>
                  <a:pt x="533" y="21"/>
                </a:lnTo>
                <a:lnTo>
                  <a:pt x="533" y="22"/>
                </a:lnTo>
                <a:lnTo>
                  <a:pt x="532" y="24"/>
                </a:lnTo>
                <a:lnTo>
                  <a:pt x="531" y="28"/>
                </a:lnTo>
                <a:lnTo>
                  <a:pt x="531" y="29"/>
                </a:lnTo>
                <a:lnTo>
                  <a:pt x="531" y="29"/>
                </a:lnTo>
                <a:lnTo>
                  <a:pt x="530" y="30"/>
                </a:lnTo>
                <a:lnTo>
                  <a:pt x="530" y="31"/>
                </a:lnTo>
                <a:lnTo>
                  <a:pt x="529" y="31"/>
                </a:lnTo>
                <a:lnTo>
                  <a:pt x="529" y="32"/>
                </a:lnTo>
                <a:lnTo>
                  <a:pt x="528" y="32"/>
                </a:lnTo>
                <a:lnTo>
                  <a:pt x="527" y="32"/>
                </a:lnTo>
                <a:lnTo>
                  <a:pt x="526" y="32"/>
                </a:lnTo>
                <a:lnTo>
                  <a:pt x="525" y="32"/>
                </a:lnTo>
                <a:lnTo>
                  <a:pt x="524" y="32"/>
                </a:lnTo>
                <a:lnTo>
                  <a:pt x="518" y="31"/>
                </a:lnTo>
                <a:lnTo>
                  <a:pt x="514" y="30"/>
                </a:lnTo>
                <a:lnTo>
                  <a:pt x="513" y="30"/>
                </a:lnTo>
                <a:lnTo>
                  <a:pt x="512" y="30"/>
                </a:lnTo>
                <a:lnTo>
                  <a:pt x="512" y="31"/>
                </a:lnTo>
                <a:lnTo>
                  <a:pt x="511" y="31"/>
                </a:lnTo>
                <a:lnTo>
                  <a:pt x="511" y="32"/>
                </a:lnTo>
                <a:lnTo>
                  <a:pt x="511" y="33"/>
                </a:lnTo>
                <a:lnTo>
                  <a:pt x="510" y="34"/>
                </a:lnTo>
                <a:lnTo>
                  <a:pt x="510" y="36"/>
                </a:lnTo>
                <a:lnTo>
                  <a:pt x="510" y="37"/>
                </a:lnTo>
                <a:lnTo>
                  <a:pt x="510" y="38"/>
                </a:lnTo>
                <a:lnTo>
                  <a:pt x="510" y="42"/>
                </a:lnTo>
                <a:lnTo>
                  <a:pt x="510" y="43"/>
                </a:lnTo>
                <a:lnTo>
                  <a:pt x="510" y="45"/>
                </a:lnTo>
                <a:lnTo>
                  <a:pt x="510" y="48"/>
                </a:lnTo>
                <a:lnTo>
                  <a:pt x="510" y="50"/>
                </a:lnTo>
                <a:lnTo>
                  <a:pt x="510" y="51"/>
                </a:lnTo>
                <a:lnTo>
                  <a:pt x="511" y="51"/>
                </a:lnTo>
                <a:lnTo>
                  <a:pt x="511" y="52"/>
                </a:lnTo>
                <a:lnTo>
                  <a:pt x="511" y="53"/>
                </a:lnTo>
                <a:lnTo>
                  <a:pt x="512" y="53"/>
                </a:lnTo>
                <a:lnTo>
                  <a:pt x="512" y="54"/>
                </a:lnTo>
                <a:lnTo>
                  <a:pt x="513" y="54"/>
                </a:lnTo>
                <a:lnTo>
                  <a:pt x="514" y="54"/>
                </a:lnTo>
                <a:lnTo>
                  <a:pt x="518" y="56"/>
                </a:lnTo>
                <a:lnTo>
                  <a:pt x="522" y="57"/>
                </a:lnTo>
                <a:lnTo>
                  <a:pt x="528" y="58"/>
                </a:lnTo>
                <a:lnTo>
                  <a:pt x="531" y="59"/>
                </a:lnTo>
                <a:lnTo>
                  <a:pt x="533" y="60"/>
                </a:lnTo>
                <a:lnTo>
                  <a:pt x="535" y="60"/>
                </a:lnTo>
                <a:lnTo>
                  <a:pt x="538" y="60"/>
                </a:lnTo>
                <a:lnTo>
                  <a:pt x="541" y="61"/>
                </a:lnTo>
                <a:lnTo>
                  <a:pt x="542" y="61"/>
                </a:lnTo>
                <a:lnTo>
                  <a:pt x="542" y="61"/>
                </a:lnTo>
                <a:lnTo>
                  <a:pt x="543" y="62"/>
                </a:lnTo>
                <a:lnTo>
                  <a:pt x="543" y="62"/>
                </a:lnTo>
                <a:lnTo>
                  <a:pt x="543" y="62"/>
                </a:lnTo>
                <a:lnTo>
                  <a:pt x="543" y="63"/>
                </a:lnTo>
                <a:lnTo>
                  <a:pt x="542" y="63"/>
                </a:lnTo>
                <a:lnTo>
                  <a:pt x="541" y="64"/>
                </a:lnTo>
                <a:lnTo>
                  <a:pt x="540" y="65"/>
                </a:lnTo>
                <a:lnTo>
                  <a:pt x="539" y="66"/>
                </a:lnTo>
                <a:lnTo>
                  <a:pt x="538" y="67"/>
                </a:lnTo>
                <a:lnTo>
                  <a:pt x="537" y="68"/>
                </a:lnTo>
                <a:lnTo>
                  <a:pt x="536" y="71"/>
                </a:lnTo>
                <a:lnTo>
                  <a:pt x="535" y="73"/>
                </a:lnTo>
                <a:lnTo>
                  <a:pt x="532" y="77"/>
                </a:lnTo>
                <a:lnTo>
                  <a:pt x="531" y="78"/>
                </a:lnTo>
                <a:lnTo>
                  <a:pt x="531" y="80"/>
                </a:lnTo>
                <a:lnTo>
                  <a:pt x="530" y="82"/>
                </a:lnTo>
                <a:lnTo>
                  <a:pt x="530" y="84"/>
                </a:lnTo>
                <a:lnTo>
                  <a:pt x="530" y="86"/>
                </a:lnTo>
                <a:lnTo>
                  <a:pt x="530" y="88"/>
                </a:lnTo>
                <a:lnTo>
                  <a:pt x="531" y="90"/>
                </a:lnTo>
                <a:lnTo>
                  <a:pt x="531" y="92"/>
                </a:lnTo>
                <a:lnTo>
                  <a:pt x="532" y="97"/>
                </a:lnTo>
                <a:lnTo>
                  <a:pt x="534" y="102"/>
                </a:lnTo>
                <a:lnTo>
                  <a:pt x="535" y="106"/>
                </a:lnTo>
                <a:lnTo>
                  <a:pt x="536" y="108"/>
                </a:lnTo>
                <a:lnTo>
                  <a:pt x="536" y="109"/>
                </a:lnTo>
                <a:lnTo>
                  <a:pt x="537" y="110"/>
                </a:lnTo>
                <a:lnTo>
                  <a:pt x="538" y="112"/>
                </a:lnTo>
                <a:lnTo>
                  <a:pt x="541" y="116"/>
                </a:lnTo>
                <a:lnTo>
                  <a:pt x="542" y="117"/>
                </a:lnTo>
                <a:lnTo>
                  <a:pt x="542" y="119"/>
                </a:lnTo>
                <a:lnTo>
                  <a:pt x="543" y="120"/>
                </a:lnTo>
                <a:lnTo>
                  <a:pt x="544" y="122"/>
                </a:lnTo>
                <a:lnTo>
                  <a:pt x="544" y="123"/>
                </a:lnTo>
                <a:lnTo>
                  <a:pt x="544" y="124"/>
                </a:lnTo>
                <a:lnTo>
                  <a:pt x="544" y="125"/>
                </a:lnTo>
                <a:lnTo>
                  <a:pt x="544" y="126"/>
                </a:lnTo>
                <a:lnTo>
                  <a:pt x="543" y="126"/>
                </a:lnTo>
                <a:lnTo>
                  <a:pt x="543" y="127"/>
                </a:lnTo>
                <a:lnTo>
                  <a:pt x="542" y="128"/>
                </a:lnTo>
                <a:lnTo>
                  <a:pt x="540" y="130"/>
                </a:lnTo>
                <a:lnTo>
                  <a:pt x="539" y="131"/>
                </a:lnTo>
                <a:lnTo>
                  <a:pt x="538" y="132"/>
                </a:lnTo>
                <a:lnTo>
                  <a:pt x="538" y="133"/>
                </a:lnTo>
                <a:lnTo>
                  <a:pt x="537" y="134"/>
                </a:lnTo>
                <a:lnTo>
                  <a:pt x="537" y="135"/>
                </a:lnTo>
                <a:lnTo>
                  <a:pt x="537" y="136"/>
                </a:lnTo>
                <a:lnTo>
                  <a:pt x="536" y="137"/>
                </a:lnTo>
                <a:lnTo>
                  <a:pt x="536" y="138"/>
                </a:lnTo>
                <a:lnTo>
                  <a:pt x="536" y="139"/>
                </a:lnTo>
                <a:lnTo>
                  <a:pt x="537" y="140"/>
                </a:lnTo>
                <a:lnTo>
                  <a:pt x="537" y="140"/>
                </a:lnTo>
                <a:lnTo>
                  <a:pt x="538" y="141"/>
                </a:lnTo>
                <a:lnTo>
                  <a:pt x="538" y="142"/>
                </a:lnTo>
                <a:lnTo>
                  <a:pt x="540" y="144"/>
                </a:lnTo>
                <a:lnTo>
                  <a:pt x="541" y="145"/>
                </a:lnTo>
                <a:lnTo>
                  <a:pt x="542" y="146"/>
                </a:lnTo>
                <a:lnTo>
                  <a:pt x="544" y="148"/>
                </a:lnTo>
                <a:lnTo>
                  <a:pt x="549" y="151"/>
                </a:lnTo>
                <a:lnTo>
                  <a:pt x="551" y="153"/>
                </a:lnTo>
                <a:lnTo>
                  <a:pt x="553" y="154"/>
                </a:lnTo>
                <a:lnTo>
                  <a:pt x="556" y="155"/>
                </a:lnTo>
                <a:lnTo>
                  <a:pt x="558" y="155"/>
                </a:lnTo>
                <a:lnTo>
                  <a:pt x="559" y="156"/>
                </a:lnTo>
                <a:lnTo>
                  <a:pt x="561" y="156"/>
                </a:lnTo>
                <a:lnTo>
                  <a:pt x="562" y="155"/>
                </a:lnTo>
                <a:lnTo>
                  <a:pt x="563" y="155"/>
                </a:lnTo>
                <a:lnTo>
                  <a:pt x="564" y="154"/>
                </a:lnTo>
                <a:lnTo>
                  <a:pt x="566" y="153"/>
                </a:lnTo>
                <a:lnTo>
                  <a:pt x="568" y="152"/>
                </a:lnTo>
                <a:lnTo>
                  <a:pt x="570" y="150"/>
                </a:lnTo>
                <a:lnTo>
                  <a:pt x="571" y="148"/>
                </a:lnTo>
                <a:lnTo>
                  <a:pt x="572" y="147"/>
                </a:lnTo>
                <a:lnTo>
                  <a:pt x="573" y="146"/>
                </a:lnTo>
                <a:lnTo>
                  <a:pt x="574" y="144"/>
                </a:lnTo>
                <a:lnTo>
                  <a:pt x="575" y="142"/>
                </a:lnTo>
                <a:lnTo>
                  <a:pt x="576" y="138"/>
                </a:lnTo>
                <a:lnTo>
                  <a:pt x="578" y="135"/>
                </a:lnTo>
                <a:lnTo>
                  <a:pt x="579" y="133"/>
                </a:lnTo>
                <a:lnTo>
                  <a:pt x="581" y="131"/>
                </a:lnTo>
                <a:lnTo>
                  <a:pt x="581" y="129"/>
                </a:lnTo>
                <a:lnTo>
                  <a:pt x="582" y="129"/>
                </a:lnTo>
                <a:lnTo>
                  <a:pt x="582" y="128"/>
                </a:lnTo>
                <a:lnTo>
                  <a:pt x="582" y="127"/>
                </a:lnTo>
                <a:lnTo>
                  <a:pt x="582" y="126"/>
                </a:lnTo>
                <a:lnTo>
                  <a:pt x="582" y="125"/>
                </a:lnTo>
                <a:lnTo>
                  <a:pt x="581" y="124"/>
                </a:lnTo>
                <a:lnTo>
                  <a:pt x="581" y="123"/>
                </a:lnTo>
                <a:lnTo>
                  <a:pt x="581" y="122"/>
                </a:lnTo>
                <a:lnTo>
                  <a:pt x="580" y="120"/>
                </a:lnTo>
                <a:lnTo>
                  <a:pt x="578" y="117"/>
                </a:lnTo>
                <a:lnTo>
                  <a:pt x="578" y="117"/>
                </a:lnTo>
                <a:lnTo>
                  <a:pt x="577" y="115"/>
                </a:lnTo>
                <a:lnTo>
                  <a:pt x="576" y="113"/>
                </a:lnTo>
                <a:lnTo>
                  <a:pt x="576" y="112"/>
                </a:lnTo>
                <a:lnTo>
                  <a:pt x="576" y="111"/>
                </a:lnTo>
                <a:lnTo>
                  <a:pt x="575" y="110"/>
                </a:lnTo>
                <a:lnTo>
                  <a:pt x="574" y="109"/>
                </a:lnTo>
                <a:lnTo>
                  <a:pt x="567" y="102"/>
                </a:lnTo>
                <a:lnTo>
                  <a:pt x="566" y="101"/>
                </a:lnTo>
                <a:lnTo>
                  <a:pt x="566" y="101"/>
                </a:lnTo>
                <a:lnTo>
                  <a:pt x="565" y="100"/>
                </a:lnTo>
                <a:lnTo>
                  <a:pt x="565" y="99"/>
                </a:lnTo>
                <a:lnTo>
                  <a:pt x="564" y="98"/>
                </a:lnTo>
                <a:lnTo>
                  <a:pt x="564" y="97"/>
                </a:lnTo>
                <a:lnTo>
                  <a:pt x="563" y="96"/>
                </a:lnTo>
                <a:lnTo>
                  <a:pt x="563" y="96"/>
                </a:lnTo>
                <a:lnTo>
                  <a:pt x="563" y="96"/>
                </a:lnTo>
                <a:lnTo>
                  <a:pt x="564" y="95"/>
                </a:lnTo>
                <a:lnTo>
                  <a:pt x="564" y="95"/>
                </a:lnTo>
                <a:lnTo>
                  <a:pt x="564" y="94"/>
                </a:lnTo>
                <a:lnTo>
                  <a:pt x="566" y="92"/>
                </a:lnTo>
                <a:lnTo>
                  <a:pt x="568" y="90"/>
                </a:lnTo>
                <a:lnTo>
                  <a:pt x="570" y="89"/>
                </a:lnTo>
                <a:lnTo>
                  <a:pt x="572" y="88"/>
                </a:lnTo>
                <a:lnTo>
                  <a:pt x="575" y="86"/>
                </a:lnTo>
                <a:lnTo>
                  <a:pt x="577" y="85"/>
                </a:lnTo>
                <a:lnTo>
                  <a:pt x="579" y="85"/>
                </a:lnTo>
                <a:lnTo>
                  <a:pt x="580" y="84"/>
                </a:lnTo>
                <a:lnTo>
                  <a:pt x="582" y="84"/>
                </a:lnTo>
                <a:lnTo>
                  <a:pt x="583" y="84"/>
                </a:lnTo>
                <a:lnTo>
                  <a:pt x="585" y="84"/>
                </a:lnTo>
                <a:lnTo>
                  <a:pt x="587" y="85"/>
                </a:lnTo>
                <a:lnTo>
                  <a:pt x="591" y="86"/>
                </a:lnTo>
                <a:lnTo>
                  <a:pt x="593" y="87"/>
                </a:lnTo>
                <a:lnTo>
                  <a:pt x="594" y="87"/>
                </a:lnTo>
                <a:lnTo>
                  <a:pt x="595" y="87"/>
                </a:lnTo>
                <a:lnTo>
                  <a:pt x="596" y="88"/>
                </a:lnTo>
                <a:lnTo>
                  <a:pt x="597" y="89"/>
                </a:lnTo>
                <a:lnTo>
                  <a:pt x="598" y="90"/>
                </a:lnTo>
                <a:lnTo>
                  <a:pt x="600" y="92"/>
                </a:lnTo>
                <a:lnTo>
                  <a:pt x="601" y="94"/>
                </a:lnTo>
                <a:lnTo>
                  <a:pt x="601" y="94"/>
                </a:lnTo>
                <a:lnTo>
                  <a:pt x="602" y="97"/>
                </a:lnTo>
                <a:lnTo>
                  <a:pt x="604" y="99"/>
                </a:lnTo>
                <a:lnTo>
                  <a:pt x="605" y="100"/>
                </a:lnTo>
                <a:lnTo>
                  <a:pt x="607" y="103"/>
                </a:lnTo>
                <a:lnTo>
                  <a:pt x="608" y="104"/>
                </a:lnTo>
                <a:lnTo>
                  <a:pt x="608" y="105"/>
                </a:lnTo>
                <a:lnTo>
                  <a:pt x="609" y="107"/>
                </a:lnTo>
                <a:lnTo>
                  <a:pt x="610" y="107"/>
                </a:lnTo>
                <a:lnTo>
                  <a:pt x="611" y="108"/>
                </a:lnTo>
                <a:lnTo>
                  <a:pt x="612" y="110"/>
                </a:lnTo>
                <a:lnTo>
                  <a:pt x="613" y="111"/>
                </a:lnTo>
                <a:lnTo>
                  <a:pt x="613" y="113"/>
                </a:lnTo>
                <a:lnTo>
                  <a:pt x="614" y="114"/>
                </a:lnTo>
                <a:lnTo>
                  <a:pt x="615" y="118"/>
                </a:lnTo>
                <a:lnTo>
                  <a:pt x="617" y="123"/>
                </a:lnTo>
                <a:lnTo>
                  <a:pt x="618" y="127"/>
                </a:lnTo>
                <a:lnTo>
                  <a:pt x="618" y="128"/>
                </a:lnTo>
                <a:lnTo>
                  <a:pt x="619" y="129"/>
                </a:lnTo>
                <a:lnTo>
                  <a:pt x="620" y="130"/>
                </a:lnTo>
                <a:lnTo>
                  <a:pt x="620" y="131"/>
                </a:lnTo>
                <a:lnTo>
                  <a:pt x="621" y="132"/>
                </a:lnTo>
                <a:lnTo>
                  <a:pt x="624" y="135"/>
                </a:lnTo>
                <a:lnTo>
                  <a:pt x="625" y="135"/>
                </a:lnTo>
                <a:lnTo>
                  <a:pt x="625" y="136"/>
                </a:lnTo>
                <a:lnTo>
                  <a:pt x="626" y="137"/>
                </a:lnTo>
                <a:lnTo>
                  <a:pt x="626" y="138"/>
                </a:lnTo>
                <a:lnTo>
                  <a:pt x="628" y="141"/>
                </a:lnTo>
                <a:lnTo>
                  <a:pt x="629" y="143"/>
                </a:lnTo>
                <a:lnTo>
                  <a:pt x="629" y="144"/>
                </a:lnTo>
                <a:lnTo>
                  <a:pt x="631" y="145"/>
                </a:lnTo>
                <a:lnTo>
                  <a:pt x="632" y="147"/>
                </a:lnTo>
                <a:lnTo>
                  <a:pt x="633" y="148"/>
                </a:lnTo>
                <a:lnTo>
                  <a:pt x="634" y="149"/>
                </a:lnTo>
                <a:lnTo>
                  <a:pt x="634" y="149"/>
                </a:lnTo>
                <a:lnTo>
                  <a:pt x="635" y="150"/>
                </a:lnTo>
                <a:lnTo>
                  <a:pt x="636" y="150"/>
                </a:lnTo>
                <a:lnTo>
                  <a:pt x="636" y="150"/>
                </a:lnTo>
                <a:lnTo>
                  <a:pt x="637" y="151"/>
                </a:lnTo>
                <a:lnTo>
                  <a:pt x="637" y="151"/>
                </a:lnTo>
                <a:lnTo>
                  <a:pt x="638" y="151"/>
                </a:lnTo>
                <a:lnTo>
                  <a:pt x="639" y="150"/>
                </a:lnTo>
                <a:lnTo>
                  <a:pt x="639" y="150"/>
                </a:lnTo>
                <a:lnTo>
                  <a:pt x="640" y="150"/>
                </a:lnTo>
                <a:lnTo>
                  <a:pt x="640" y="149"/>
                </a:lnTo>
                <a:lnTo>
                  <a:pt x="641" y="147"/>
                </a:lnTo>
                <a:lnTo>
                  <a:pt x="642" y="146"/>
                </a:lnTo>
                <a:lnTo>
                  <a:pt x="642" y="146"/>
                </a:lnTo>
                <a:lnTo>
                  <a:pt x="643" y="146"/>
                </a:lnTo>
                <a:lnTo>
                  <a:pt x="643" y="146"/>
                </a:lnTo>
                <a:lnTo>
                  <a:pt x="644" y="146"/>
                </a:lnTo>
                <a:lnTo>
                  <a:pt x="644" y="146"/>
                </a:lnTo>
                <a:lnTo>
                  <a:pt x="644" y="147"/>
                </a:lnTo>
                <a:lnTo>
                  <a:pt x="644" y="148"/>
                </a:lnTo>
                <a:lnTo>
                  <a:pt x="645" y="149"/>
                </a:lnTo>
                <a:lnTo>
                  <a:pt x="645" y="151"/>
                </a:lnTo>
                <a:lnTo>
                  <a:pt x="645" y="153"/>
                </a:lnTo>
                <a:lnTo>
                  <a:pt x="644" y="155"/>
                </a:lnTo>
                <a:lnTo>
                  <a:pt x="644" y="158"/>
                </a:lnTo>
                <a:lnTo>
                  <a:pt x="644" y="159"/>
                </a:lnTo>
                <a:lnTo>
                  <a:pt x="643" y="164"/>
                </a:lnTo>
                <a:lnTo>
                  <a:pt x="642" y="168"/>
                </a:lnTo>
                <a:lnTo>
                  <a:pt x="642" y="171"/>
                </a:lnTo>
                <a:lnTo>
                  <a:pt x="642" y="172"/>
                </a:lnTo>
                <a:lnTo>
                  <a:pt x="642" y="172"/>
                </a:lnTo>
                <a:lnTo>
                  <a:pt x="642" y="173"/>
                </a:lnTo>
                <a:lnTo>
                  <a:pt x="642" y="173"/>
                </a:lnTo>
                <a:lnTo>
                  <a:pt x="643" y="174"/>
                </a:lnTo>
                <a:lnTo>
                  <a:pt x="643" y="175"/>
                </a:lnTo>
                <a:lnTo>
                  <a:pt x="644" y="175"/>
                </a:lnTo>
                <a:lnTo>
                  <a:pt x="645" y="176"/>
                </a:lnTo>
                <a:lnTo>
                  <a:pt x="646" y="177"/>
                </a:lnTo>
                <a:lnTo>
                  <a:pt x="649" y="178"/>
                </a:lnTo>
                <a:lnTo>
                  <a:pt x="651" y="180"/>
                </a:lnTo>
                <a:lnTo>
                  <a:pt x="654" y="181"/>
                </a:lnTo>
                <a:lnTo>
                  <a:pt x="656" y="182"/>
                </a:lnTo>
                <a:lnTo>
                  <a:pt x="660" y="183"/>
                </a:lnTo>
                <a:lnTo>
                  <a:pt x="664" y="184"/>
                </a:lnTo>
                <a:lnTo>
                  <a:pt x="666" y="185"/>
                </a:lnTo>
                <a:lnTo>
                  <a:pt x="668" y="186"/>
                </a:lnTo>
                <a:lnTo>
                  <a:pt x="671" y="187"/>
                </a:lnTo>
                <a:lnTo>
                  <a:pt x="672" y="188"/>
                </a:lnTo>
                <a:lnTo>
                  <a:pt x="674" y="190"/>
                </a:lnTo>
                <a:lnTo>
                  <a:pt x="678" y="193"/>
                </a:lnTo>
                <a:lnTo>
                  <a:pt x="680" y="194"/>
                </a:lnTo>
                <a:lnTo>
                  <a:pt x="680" y="195"/>
                </a:lnTo>
                <a:lnTo>
                  <a:pt x="681" y="196"/>
                </a:lnTo>
                <a:lnTo>
                  <a:pt x="682" y="197"/>
                </a:lnTo>
                <a:lnTo>
                  <a:pt x="682" y="198"/>
                </a:lnTo>
                <a:lnTo>
                  <a:pt x="683" y="200"/>
                </a:lnTo>
                <a:lnTo>
                  <a:pt x="685" y="207"/>
                </a:lnTo>
                <a:lnTo>
                  <a:pt x="686" y="211"/>
                </a:lnTo>
                <a:lnTo>
                  <a:pt x="687" y="213"/>
                </a:lnTo>
                <a:lnTo>
                  <a:pt x="689" y="218"/>
                </a:lnTo>
                <a:lnTo>
                  <a:pt x="691" y="224"/>
                </a:lnTo>
                <a:lnTo>
                  <a:pt x="692" y="226"/>
                </a:lnTo>
                <a:lnTo>
                  <a:pt x="692" y="226"/>
                </a:lnTo>
                <a:lnTo>
                  <a:pt x="687" y="236"/>
                </a:lnTo>
                <a:lnTo>
                  <a:pt x="686" y="239"/>
                </a:lnTo>
                <a:lnTo>
                  <a:pt x="685" y="241"/>
                </a:lnTo>
                <a:lnTo>
                  <a:pt x="684" y="242"/>
                </a:lnTo>
                <a:lnTo>
                  <a:pt x="684" y="243"/>
                </a:lnTo>
                <a:lnTo>
                  <a:pt x="684" y="245"/>
                </a:lnTo>
                <a:lnTo>
                  <a:pt x="683" y="247"/>
                </a:lnTo>
                <a:lnTo>
                  <a:pt x="684" y="249"/>
                </a:lnTo>
                <a:lnTo>
                  <a:pt x="684" y="250"/>
                </a:lnTo>
                <a:lnTo>
                  <a:pt x="685" y="254"/>
                </a:lnTo>
                <a:lnTo>
                  <a:pt x="685" y="256"/>
                </a:lnTo>
                <a:lnTo>
                  <a:pt x="685" y="258"/>
                </a:lnTo>
                <a:lnTo>
                  <a:pt x="686" y="263"/>
                </a:lnTo>
                <a:lnTo>
                  <a:pt x="686" y="265"/>
                </a:lnTo>
                <a:lnTo>
                  <a:pt x="686" y="266"/>
                </a:lnTo>
                <a:lnTo>
                  <a:pt x="687" y="268"/>
                </a:lnTo>
                <a:lnTo>
                  <a:pt x="687" y="270"/>
                </a:lnTo>
                <a:lnTo>
                  <a:pt x="690" y="276"/>
                </a:lnTo>
                <a:lnTo>
                  <a:pt x="692" y="280"/>
                </a:lnTo>
                <a:lnTo>
                  <a:pt x="692" y="281"/>
                </a:lnTo>
                <a:lnTo>
                  <a:pt x="692" y="282"/>
                </a:lnTo>
                <a:lnTo>
                  <a:pt x="692" y="283"/>
                </a:lnTo>
                <a:lnTo>
                  <a:pt x="692" y="284"/>
                </a:lnTo>
                <a:lnTo>
                  <a:pt x="692" y="287"/>
                </a:lnTo>
                <a:lnTo>
                  <a:pt x="692" y="288"/>
                </a:lnTo>
                <a:lnTo>
                  <a:pt x="693" y="289"/>
                </a:lnTo>
                <a:lnTo>
                  <a:pt x="693" y="289"/>
                </a:lnTo>
                <a:lnTo>
                  <a:pt x="693" y="290"/>
                </a:lnTo>
                <a:lnTo>
                  <a:pt x="693" y="290"/>
                </a:lnTo>
                <a:lnTo>
                  <a:pt x="694" y="290"/>
                </a:lnTo>
                <a:lnTo>
                  <a:pt x="695" y="291"/>
                </a:lnTo>
                <a:lnTo>
                  <a:pt x="696" y="291"/>
                </a:lnTo>
                <a:lnTo>
                  <a:pt x="698" y="291"/>
                </a:lnTo>
                <a:lnTo>
                  <a:pt x="702" y="291"/>
                </a:lnTo>
                <a:lnTo>
                  <a:pt x="703" y="291"/>
                </a:lnTo>
                <a:lnTo>
                  <a:pt x="706" y="290"/>
                </a:lnTo>
                <a:lnTo>
                  <a:pt x="706" y="290"/>
                </a:lnTo>
                <a:lnTo>
                  <a:pt x="707" y="290"/>
                </a:lnTo>
                <a:lnTo>
                  <a:pt x="708" y="291"/>
                </a:lnTo>
                <a:lnTo>
                  <a:pt x="709" y="291"/>
                </a:lnTo>
                <a:lnTo>
                  <a:pt x="709" y="292"/>
                </a:lnTo>
                <a:lnTo>
                  <a:pt x="710" y="292"/>
                </a:lnTo>
                <a:lnTo>
                  <a:pt x="710" y="293"/>
                </a:lnTo>
                <a:lnTo>
                  <a:pt x="710" y="294"/>
                </a:lnTo>
                <a:lnTo>
                  <a:pt x="710" y="296"/>
                </a:lnTo>
                <a:lnTo>
                  <a:pt x="710" y="297"/>
                </a:lnTo>
                <a:lnTo>
                  <a:pt x="710" y="298"/>
                </a:lnTo>
                <a:lnTo>
                  <a:pt x="710" y="300"/>
                </a:lnTo>
                <a:lnTo>
                  <a:pt x="710" y="302"/>
                </a:lnTo>
                <a:lnTo>
                  <a:pt x="709" y="304"/>
                </a:lnTo>
                <a:lnTo>
                  <a:pt x="708" y="306"/>
                </a:lnTo>
                <a:lnTo>
                  <a:pt x="708" y="308"/>
                </a:lnTo>
                <a:lnTo>
                  <a:pt x="707" y="309"/>
                </a:lnTo>
                <a:lnTo>
                  <a:pt x="706" y="311"/>
                </a:lnTo>
                <a:lnTo>
                  <a:pt x="705" y="312"/>
                </a:lnTo>
                <a:lnTo>
                  <a:pt x="705" y="313"/>
                </a:lnTo>
                <a:lnTo>
                  <a:pt x="704" y="313"/>
                </a:lnTo>
                <a:lnTo>
                  <a:pt x="702" y="315"/>
                </a:lnTo>
                <a:lnTo>
                  <a:pt x="699" y="318"/>
                </a:lnTo>
                <a:lnTo>
                  <a:pt x="696" y="319"/>
                </a:lnTo>
                <a:lnTo>
                  <a:pt x="695" y="320"/>
                </a:lnTo>
                <a:lnTo>
                  <a:pt x="693" y="321"/>
                </a:lnTo>
                <a:lnTo>
                  <a:pt x="692" y="322"/>
                </a:lnTo>
                <a:lnTo>
                  <a:pt x="691" y="324"/>
                </a:lnTo>
                <a:lnTo>
                  <a:pt x="690" y="326"/>
                </a:lnTo>
                <a:lnTo>
                  <a:pt x="689" y="327"/>
                </a:lnTo>
                <a:lnTo>
                  <a:pt x="687" y="333"/>
                </a:lnTo>
                <a:lnTo>
                  <a:pt x="685" y="335"/>
                </a:lnTo>
                <a:lnTo>
                  <a:pt x="685" y="336"/>
                </a:lnTo>
                <a:lnTo>
                  <a:pt x="684" y="337"/>
                </a:lnTo>
                <a:lnTo>
                  <a:pt x="683" y="338"/>
                </a:lnTo>
                <a:lnTo>
                  <a:pt x="682" y="339"/>
                </a:lnTo>
                <a:lnTo>
                  <a:pt x="680" y="341"/>
                </a:lnTo>
                <a:lnTo>
                  <a:pt x="679" y="341"/>
                </a:lnTo>
                <a:lnTo>
                  <a:pt x="678" y="342"/>
                </a:lnTo>
                <a:lnTo>
                  <a:pt x="678" y="343"/>
                </a:lnTo>
                <a:lnTo>
                  <a:pt x="677" y="344"/>
                </a:lnTo>
                <a:lnTo>
                  <a:pt x="677" y="345"/>
                </a:lnTo>
                <a:lnTo>
                  <a:pt x="677" y="347"/>
                </a:lnTo>
                <a:lnTo>
                  <a:pt x="677" y="348"/>
                </a:lnTo>
                <a:lnTo>
                  <a:pt x="677" y="350"/>
                </a:lnTo>
                <a:lnTo>
                  <a:pt x="677" y="352"/>
                </a:lnTo>
                <a:lnTo>
                  <a:pt x="678" y="354"/>
                </a:lnTo>
                <a:lnTo>
                  <a:pt x="678" y="354"/>
                </a:lnTo>
                <a:lnTo>
                  <a:pt x="678" y="355"/>
                </a:lnTo>
                <a:lnTo>
                  <a:pt x="679" y="355"/>
                </a:lnTo>
                <a:lnTo>
                  <a:pt x="680" y="356"/>
                </a:lnTo>
                <a:lnTo>
                  <a:pt x="681" y="356"/>
                </a:lnTo>
                <a:lnTo>
                  <a:pt x="682" y="356"/>
                </a:lnTo>
                <a:lnTo>
                  <a:pt x="683" y="356"/>
                </a:lnTo>
                <a:lnTo>
                  <a:pt x="684" y="357"/>
                </a:lnTo>
                <a:lnTo>
                  <a:pt x="686" y="356"/>
                </a:lnTo>
                <a:lnTo>
                  <a:pt x="688" y="356"/>
                </a:lnTo>
                <a:lnTo>
                  <a:pt x="689" y="356"/>
                </a:lnTo>
                <a:lnTo>
                  <a:pt x="691" y="355"/>
                </a:lnTo>
                <a:lnTo>
                  <a:pt x="695" y="354"/>
                </a:lnTo>
                <a:lnTo>
                  <a:pt x="705" y="351"/>
                </a:lnTo>
                <a:lnTo>
                  <a:pt x="707" y="350"/>
                </a:lnTo>
                <a:lnTo>
                  <a:pt x="710" y="349"/>
                </a:lnTo>
                <a:lnTo>
                  <a:pt x="711" y="349"/>
                </a:lnTo>
                <a:lnTo>
                  <a:pt x="712" y="349"/>
                </a:lnTo>
                <a:lnTo>
                  <a:pt x="713" y="349"/>
                </a:lnTo>
                <a:lnTo>
                  <a:pt x="715" y="349"/>
                </a:lnTo>
                <a:lnTo>
                  <a:pt x="716" y="349"/>
                </a:lnTo>
                <a:lnTo>
                  <a:pt x="716" y="349"/>
                </a:lnTo>
                <a:lnTo>
                  <a:pt x="717" y="350"/>
                </a:lnTo>
                <a:lnTo>
                  <a:pt x="718" y="350"/>
                </a:lnTo>
                <a:lnTo>
                  <a:pt x="719" y="351"/>
                </a:lnTo>
                <a:lnTo>
                  <a:pt x="720" y="352"/>
                </a:lnTo>
                <a:lnTo>
                  <a:pt x="721" y="355"/>
                </a:lnTo>
                <a:lnTo>
                  <a:pt x="723" y="357"/>
                </a:lnTo>
                <a:lnTo>
                  <a:pt x="724" y="358"/>
                </a:lnTo>
                <a:lnTo>
                  <a:pt x="724" y="360"/>
                </a:lnTo>
                <a:lnTo>
                  <a:pt x="725" y="362"/>
                </a:lnTo>
                <a:lnTo>
                  <a:pt x="725" y="363"/>
                </a:lnTo>
                <a:lnTo>
                  <a:pt x="725" y="365"/>
                </a:lnTo>
                <a:lnTo>
                  <a:pt x="725" y="366"/>
                </a:lnTo>
                <a:lnTo>
                  <a:pt x="725" y="369"/>
                </a:lnTo>
                <a:lnTo>
                  <a:pt x="725" y="374"/>
                </a:lnTo>
                <a:lnTo>
                  <a:pt x="725" y="376"/>
                </a:lnTo>
                <a:lnTo>
                  <a:pt x="725" y="377"/>
                </a:lnTo>
                <a:lnTo>
                  <a:pt x="725" y="378"/>
                </a:lnTo>
                <a:lnTo>
                  <a:pt x="725" y="378"/>
                </a:lnTo>
                <a:lnTo>
                  <a:pt x="726" y="379"/>
                </a:lnTo>
                <a:lnTo>
                  <a:pt x="726" y="380"/>
                </a:lnTo>
                <a:lnTo>
                  <a:pt x="727" y="380"/>
                </a:lnTo>
                <a:lnTo>
                  <a:pt x="727" y="380"/>
                </a:lnTo>
                <a:lnTo>
                  <a:pt x="731" y="381"/>
                </a:lnTo>
                <a:lnTo>
                  <a:pt x="733" y="382"/>
                </a:lnTo>
                <a:lnTo>
                  <a:pt x="734" y="382"/>
                </a:lnTo>
                <a:lnTo>
                  <a:pt x="735" y="383"/>
                </a:lnTo>
                <a:lnTo>
                  <a:pt x="737" y="384"/>
                </a:lnTo>
                <a:lnTo>
                  <a:pt x="740" y="385"/>
                </a:lnTo>
                <a:lnTo>
                  <a:pt x="741" y="385"/>
                </a:lnTo>
                <a:lnTo>
                  <a:pt x="742" y="386"/>
                </a:lnTo>
                <a:lnTo>
                  <a:pt x="743" y="387"/>
                </a:lnTo>
                <a:lnTo>
                  <a:pt x="745" y="389"/>
                </a:lnTo>
                <a:lnTo>
                  <a:pt x="747" y="391"/>
                </a:lnTo>
                <a:lnTo>
                  <a:pt x="748" y="391"/>
                </a:lnTo>
                <a:lnTo>
                  <a:pt x="748" y="392"/>
                </a:lnTo>
                <a:lnTo>
                  <a:pt x="750" y="393"/>
                </a:lnTo>
                <a:lnTo>
                  <a:pt x="751" y="393"/>
                </a:lnTo>
                <a:lnTo>
                  <a:pt x="752" y="393"/>
                </a:lnTo>
                <a:lnTo>
                  <a:pt x="760" y="394"/>
                </a:lnTo>
                <a:lnTo>
                  <a:pt x="764" y="395"/>
                </a:lnTo>
                <a:lnTo>
                  <a:pt x="771" y="396"/>
                </a:lnTo>
                <a:lnTo>
                  <a:pt x="772" y="396"/>
                </a:lnTo>
                <a:lnTo>
                  <a:pt x="774" y="397"/>
                </a:lnTo>
                <a:lnTo>
                  <a:pt x="775" y="397"/>
                </a:lnTo>
                <a:lnTo>
                  <a:pt x="776" y="398"/>
                </a:lnTo>
                <a:lnTo>
                  <a:pt x="778" y="399"/>
                </a:lnTo>
                <a:lnTo>
                  <a:pt x="779" y="400"/>
                </a:lnTo>
                <a:lnTo>
                  <a:pt x="780" y="402"/>
                </a:lnTo>
                <a:lnTo>
                  <a:pt x="781" y="402"/>
                </a:lnTo>
                <a:lnTo>
                  <a:pt x="781" y="403"/>
                </a:lnTo>
                <a:lnTo>
                  <a:pt x="782" y="404"/>
                </a:lnTo>
                <a:lnTo>
                  <a:pt x="782" y="406"/>
                </a:lnTo>
                <a:lnTo>
                  <a:pt x="782" y="408"/>
                </a:lnTo>
                <a:lnTo>
                  <a:pt x="783" y="412"/>
                </a:lnTo>
                <a:lnTo>
                  <a:pt x="783" y="413"/>
                </a:lnTo>
                <a:lnTo>
                  <a:pt x="783" y="414"/>
                </a:lnTo>
                <a:lnTo>
                  <a:pt x="784" y="415"/>
                </a:lnTo>
                <a:lnTo>
                  <a:pt x="784" y="416"/>
                </a:lnTo>
                <a:lnTo>
                  <a:pt x="785" y="416"/>
                </a:lnTo>
                <a:lnTo>
                  <a:pt x="785" y="417"/>
                </a:lnTo>
                <a:lnTo>
                  <a:pt x="786" y="417"/>
                </a:lnTo>
                <a:lnTo>
                  <a:pt x="787" y="418"/>
                </a:lnTo>
                <a:lnTo>
                  <a:pt x="789" y="418"/>
                </a:lnTo>
                <a:lnTo>
                  <a:pt x="791" y="418"/>
                </a:lnTo>
                <a:lnTo>
                  <a:pt x="794" y="419"/>
                </a:lnTo>
                <a:lnTo>
                  <a:pt x="795" y="419"/>
                </a:lnTo>
                <a:lnTo>
                  <a:pt x="797" y="419"/>
                </a:lnTo>
                <a:lnTo>
                  <a:pt x="798" y="420"/>
                </a:lnTo>
                <a:lnTo>
                  <a:pt x="799" y="420"/>
                </a:lnTo>
                <a:lnTo>
                  <a:pt x="800" y="421"/>
                </a:lnTo>
                <a:lnTo>
                  <a:pt x="808" y="427"/>
                </a:lnTo>
                <a:lnTo>
                  <a:pt x="810" y="428"/>
                </a:lnTo>
                <a:lnTo>
                  <a:pt x="812" y="429"/>
                </a:lnTo>
                <a:lnTo>
                  <a:pt x="813" y="430"/>
                </a:lnTo>
                <a:lnTo>
                  <a:pt x="815" y="431"/>
                </a:lnTo>
                <a:lnTo>
                  <a:pt x="816" y="431"/>
                </a:lnTo>
                <a:lnTo>
                  <a:pt x="817" y="431"/>
                </a:lnTo>
                <a:lnTo>
                  <a:pt x="818" y="431"/>
                </a:lnTo>
                <a:lnTo>
                  <a:pt x="819" y="431"/>
                </a:lnTo>
                <a:lnTo>
                  <a:pt x="821" y="431"/>
                </a:lnTo>
                <a:lnTo>
                  <a:pt x="823" y="431"/>
                </a:lnTo>
                <a:lnTo>
                  <a:pt x="828" y="430"/>
                </a:lnTo>
                <a:lnTo>
                  <a:pt x="831" y="429"/>
                </a:lnTo>
                <a:lnTo>
                  <a:pt x="833" y="429"/>
                </a:lnTo>
                <a:lnTo>
                  <a:pt x="837" y="429"/>
                </a:lnTo>
                <a:lnTo>
                  <a:pt x="842" y="428"/>
                </a:lnTo>
                <a:lnTo>
                  <a:pt x="843" y="428"/>
                </a:lnTo>
                <a:lnTo>
                  <a:pt x="844" y="428"/>
                </a:lnTo>
                <a:lnTo>
                  <a:pt x="845" y="428"/>
                </a:lnTo>
                <a:lnTo>
                  <a:pt x="846" y="428"/>
                </a:lnTo>
                <a:lnTo>
                  <a:pt x="847" y="429"/>
                </a:lnTo>
                <a:lnTo>
                  <a:pt x="850" y="430"/>
                </a:lnTo>
                <a:lnTo>
                  <a:pt x="854" y="431"/>
                </a:lnTo>
                <a:lnTo>
                  <a:pt x="855" y="432"/>
                </a:lnTo>
                <a:lnTo>
                  <a:pt x="857" y="432"/>
                </a:lnTo>
                <a:lnTo>
                  <a:pt x="858" y="433"/>
                </a:lnTo>
                <a:lnTo>
                  <a:pt x="860" y="435"/>
                </a:lnTo>
                <a:lnTo>
                  <a:pt x="861" y="436"/>
                </a:lnTo>
                <a:lnTo>
                  <a:pt x="862" y="436"/>
                </a:lnTo>
                <a:lnTo>
                  <a:pt x="863" y="437"/>
                </a:lnTo>
                <a:lnTo>
                  <a:pt x="863" y="438"/>
                </a:lnTo>
                <a:lnTo>
                  <a:pt x="863" y="439"/>
                </a:lnTo>
                <a:lnTo>
                  <a:pt x="864" y="439"/>
                </a:lnTo>
                <a:lnTo>
                  <a:pt x="864" y="440"/>
                </a:lnTo>
                <a:lnTo>
                  <a:pt x="864" y="441"/>
                </a:lnTo>
                <a:lnTo>
                  <a:pt x="865" y="443"/>
                </a:lnTo>
                <a:lnTo>
                  <a:pt x="865" y="446"/>
                </a:lnTo>
                <a:lnTo>
                  <a:pt x="865" y="448"/>
                </a:lnTo>
                <a:lnTo>
                  <a:pt x="865" y="448"/>
                </a:lnTo>
                <a:lnTo>
                  <a:pt x="866" y="449"/>
                </a:lnTo>
                <a:lnTo>
                  <a:pt x="866" y="450"/>
                </a:lnTo>
                <a:lnTo>
                  <a:pt x="867" y="451"/>
                </a:lnTo>
                <a:lnTo>
                  <a:pt x="867" y="451"/>
                </a:lnTo>
                <a:lnTo>
                  <a:pt x="868" y="452"/>
                </a:lnTo>
                <a:lnTo>
                  <a:pt x="869" y="452"/>
                </a:lnTo>
                <a:lnTo>
                  <a:pt x="870" y="453"/>
                </a:lnTo>
                <a:lnTo>
                  <a:pt x="873" y="454"/>
                </a:lnTo>
                <a:lnTo>
                  <a:pt x="875" y="455"/>
                </a:lnTo>
                <a:lnTo>
                  <a:pt x="885" y="459"/>
                </a:lnTo>
                <a:lnTo>
                  <a:pt x="886" y="460"/>
                </a:lnTo>
                <a:lnTo>
                  <a:pt x="888" y="461"/>
                </a:lnTo>
                <a:lnTo>
                  <a:pt x="890" y="463"/>
                </a:lnTo>
                <a:lnTo>
                  <a:pt x="891" y="464"/>
                </a:lnTo>
                <a:lnTo>
                  <a:pt x="893" y="466"/>
                </a:lnTo>
                <a:lnTo>
                  <a:pt x="894" y="468"/>
                </a:lnTo>
                <a:lnTo>
                  <a:pt x="896" y="470"/>
                </a:lnTo>
                <a:lnTo>
                  <a:pt x="901" y="477"/>
                </a:lnTo>
                <a:lnTo>
                  <a:pt x="904" y="481"/>
                </a:lnTo>
                <a:lnTo>
                  <a:pt x="905" y="483"/>
                </a:lnTo>
                <a:lnTo>
                  <a:pt x="906" y="484"/>
                </a:lnTo>
                <a:lnTo>
                  <a:pt x="907" y="486"/>
                </a:lnTo>
                <a:lnTo>
                  <a:pt x="908" y="491"/>
                </a:lnTo>
                <a:lnTo>
                  <a:pt x="909" y="493"/>
                </a:lnTo>
                <a:lnTo>
                  <a:pt x="910" y="495"/>
                </a:lnTo>
                <a:lnTo>
                  <a:pt x="910" y="495"/>
                </a:lnTo>
                <a:lnTo>
                  <a:pt x="911" y="495"/>
                </a:lnTo>
                <a:lnTo>
                  <a:pt x="910" y="495"/>
                </a:lnTo>
                <a:lnTo>
                  <a:pt x="910" y="495"/>
                </a:lnTo>
                <a:lnTo>
                  <a:pt x="909" y="495"/>
                </a:lnTo>
                <a:lnTo>
                  <a:pt x="909" y="496"/>
                </a:lnTo>
                <a:lnTo>
                  <a:pt x="907" y="496"/>
                </a:lnTo>
                <a:lnTo>
                  <a:pt x="905" y="498"/>
                </a:lnTo>
                <a:lnTo>
                  <a:pt x="900" y="501"/>
                </a:lnTo>
                <a:lnTo>
                  <a:pt x="894" y="506"/>
                </a:lnTo>
                <a:lnTo>
                  <a:pt x="892" y="508"/>
                </a:lnTo>
                <a:lnTo>
                  <a:pt x="888" y="511"/>
                </a:lnTo>
                <a:lnTo>
                  <a:pt x="886" y="512"/>
                </a:lnTo>
                <a:lnTo>
                  <a:pt x="885" y="513"/>
                </a:lnTo>
                <a:lnTo>
                  <a:pt x="884" y="513"/>
                </a:lnTo>
                <a:lnTo>
                  <a:pt x="883" y="514"/>
                </a:lnTo>
                <a:lnTo>
                  <a:pt x="882" y="514"/>
                </a:lnTo>
                <a:lnTo>
                  <a:pt x="881" y="514"/>
                </a:lnTo>
                <a:lnTo>
                  <a:pt x="878" y="515"/>
                </a:lnTo>
                <a:lnTo>
                  <a:pt x="874" y="515"/>
                </a:lnTo>
                <a:lnTo>
                  <a:pt x="873" y="516"/>
                </a:lnTo>
                <a:lnTo>
                  <a:pt x="872" y="516"/>
                </a:lnTo>
                <a:lnTo>
                  <a:pt x="871" y="517"/>
                </a:lnTo>
                <a:lnTo>
                  <a:pt x="868" y="519"/>
                </a:lnTo>
                <a:lnTo>
                  <a:pt x="868" y="519"/>
                </a:lnTo>
                <a:lnTo>
                  <a:pt x="867" y="520"/>
                </a:lnTo>
                <a:lnTo>
                  <a:pt x="866" y="520"/>
                </a:lnTo>
                <a:lnTo>
                  <a:pt x="865" y="520"/>
                </a:lnTo>
                <a:lnTo>
                  <a:pt x="862" y="521"/>
                </a:lnTo>
                <a:lnTo>
                  <a:pt x="861" y="521"/>
                </a:lnTo>
                <a:lnTo>
                  <a:pt x="860" y="521"/>
                </a:lnTo>
                <a:lnTo>
                  <a:pt x="859" y="521"/>
                </a:lnTo>
                <a:lnTo>
                  <a:pt x="858" y="521"/>
                </a:lnTo>
                <a:lnTo>
                  <a:pt x="857" y="520"/>
                </a:lnTo>
                <a:lnTo>
                  <a:pt x="857" y="520"/>
                </a:lnTo>
                <a:lnTo>
                  <a:pt x="855" y="518"/>
                </a:lnTo>
                <a:lnTo>
                  <a:pt x="855" y="518"/>
                </a:lnTo>
                <a:lnTo>
                  <a:pt x="854" y="518"/>
                </a:lnTo>
                <a:lnTo>
                  <a:pt x="851" y="517"/>
                </a:lnTo>
                <a:lnTo>
                  <a:pt x="850" y="517"/>
                </a:lnTo>
                <a:lnTo>
                  <a:pt x="849" y="516"/>
                </a:lnTo>
                <a:lnTo>
                  <a:pt x="847" y="515"/>
                </a:lnTo>
                <a:lnTo>
                  <a:pt x="843" y="512"/>
                </a:lnTo>
                <a:lnTo>
                  <a:pt x="841" y="510"/>
                </a:lnTo>
                <a:lnTo>
                  <a:pt x="839" y="509"/>
                </a:lnTo>
                <a:lnTo>
                  <a:pt x="837" y="508"/>
                </a:lnTo>
                <a:lnTo>
                  <a:pt x="835" y="507"/>
                </a:lnTo>
                <a:lnTo>
                  <a:pt x="833" y="507"/>
                </a:lnTo>
                <a:lnTo>
                  <a:pt x="831" y="506"/>
                </a:lnTo>
                <a:lnTo>
                  <a:pt x="829" y="506"/>
                </a:lnTo>
                <a:lnTo>
                  <a:pt x="828" y="506"/>
                </a:lnTo>
                <a:lnTo>
                  <a:pt x="827" y="507"/>
                </a:lnTo>
                <a:lnTo>
                  <a:pt x="827" y="507"/>
                </a:lnTo>
                <a:lnTo>
                  <a:pt x="826" y="507"/>
                </a:lnTo>
                <a:lnTo>
                  <a:pt x="824" y="508"/>
                </a:lnTo>
                <a:lnTo>
                  <a:pt x="821" y="509"/>
                </a:lnTo>
                <a:lnTo>
                  <a:pt x="821" y="510"/>
                </a:lnTo>
                <a:lnTo>
                  <a:pt x="819" y="511"/>
                </a:lnTo>
                <a:lnTo>
                  <a:pt x="816" y="514"/>
                </a:lnTo>
                <a:lnTo>
                  <a:pt x="814" y="515"/>
                </a:lnTo>
                <a:lnTo>
                  <a:pt x="808" y="520"/>
                </a:lnTo>
                <a:lnTo>
                  <a:pt x="805" y="521"/>
                </a:lnTo>
                <a:lnTo>
                  <a:pt x="804" y="522"/>
                </a:lnTo>
                <a:lnTo>
                  <a:pt x="803" y="523"/>
                </a:lnTo>
                <a:lnTo>
                  <a:pt x="802" y="523"/>
                </a:lnTo>
                <a:lnTo>
                  <a:pt x="801" y="523"/>
                </a:lnTo>
                <a:lnTo>
                  <a:pt x="799" y="523"/>
                </a:lnTo>
                <a:lnTo>
                  <a:pt x="797" y="524"/>
                </a:lnTo>
                <a:lnTo>
                  <a:pt x="793" y="524"/>
                </a:lnTo>
                <a:lnTo>
                  <a:pt x="791" y="524"/>
                </a:lnTo>
                <a:lnTo>
                  <a:pt x="790" y="523"/>
                </a:lnTo>
                <a:lnTo>
                  <a:pt x="789" y="523"/>
                </a:lnTo>
                <a:lnTo>
                  <a:pt x="788" y="523"/>
                </a:lnTo>
                <a:lnTo>
                  <a:pt x="787" y="522"/>
                </a:lnTo>
                <a:lnTo>
                  <a:pt x="785" y="521"/>
                </a:lnTo>
                <a:lnTo>
                  <a:pt x="783" y="520"/>
                </a:lnTo>
                <a:lnTo>
                  <a:pt x="782" y="519"/>
                </a:lnTo>
                <a:lnTo>
                  <a:pt x="779" y="517"/>
                </a:lnTo>
                <a:lnTo>
                  <a:pt x="777" y="516"/>
                </a:lnTo>
                <a:lnTo>
                  <a:pt x="774" y="513"/>
                </a:lnTo>
                <a:lnTo>
                  <a:pt x="770" y="509"/>
                </a:lnTo>
                <a:lnTo>
                  <a:pt x="769" y="509"/>
                </a:lnTo>
                <a:lnTo>
                  <a:pt x="768" y="508"/>
                </a:lnTo>
                <a:lnTo>
                  <a:pt x="767" y="507"/>
                </a:lnTo>
                <a:lnTo>
                  <a:pt x="764" y="506"/>
                </a:lnTo>
                <a:lnTo>
                  <a:pt x="762" y="505"/>
                </a:lnTo>
                <a:lnTo>
                  <a:pt x="756" y="501"/>
                </a:lnTo>
                <a:lnTo>
                  <a:pt x="751" y="498"/>
                </a:lnTo>
                <a:lnTo>
                  <a:pt x="750" y="498"/>
                </a:lnTo>
                <a:lnTo>
                  <a:pt x="748" y="497"/>
                </a:lnTo>
                <a:lnTo>
                  <a:pt x="747" y="497"/>
                </a:lnTo>
                <a:lnTo>
                  <a:pt x="743" y="495"/>
                </a:lnTo>
                <a:lnTo>
                  <a:pt x="737" y="493"/>
                </a:lnTo>
                <a:lnTo>
                  <a:pt x="735" y="492"/>
                </a:lnTo>
                <a:lnTo>
                  <a:pt x="733" y="492"/>
                </a:lnTo>
                <a:lnTo>
                  <a:pt x="731" y="491"/>
                </a:lnTo>
                <a:lnTo>
                  <a:pt x="729" y="490"/>
                </a:lnTo>
                <a:lnTo>
                  <a:pt x="727" y="490"/>
                </a:lnTo>
                <a:lnTo>
                  <a:pt x="724" y="490"/>
                </a:lnTo>
                <a:lnTo>
                  <a:pt x="722" y="489"/>
                </a:lnTo>
                <a:lnTo>
                  <a:pt x="721" y="489"/>
                </a:lnTo>
                <a:lnTo>
                  <a:pt x="720" y="489"/>
                </a:lnTo>
                <a:lnTo>
                  <a:pt x="718" y="489"/>
                </a:lnTo>
                <a:lnTo>
                  <a:pt x="717" y="490"/>
                </a:lnTo>
                <a:lnTo>
                  <a:pt x="716" y="490"/>
                </a:lnTo>
                <a:lnTo>
                  <a:pt x="714" y="491"/>
                </a:lnTo>
                <a:lnTo>
                  <a:pt x="713" y="491"/>
                </a:lnTo>
                <a:lnTo>
                  <a:pt x="712" y="492"/>
                </a:lnTo>
                <a:lnTo>
                  <a:pt x="710" y="494"/>
                </a:lnTo>
                <a:lnTo>
                  <a:pt x="708" y="495"/>
                </a:lnTo>
                <a:lnTo>
                  <a:pt x="704" y="499"/>
                </a:lnTo>
                <a:lnTo>
                  <a:pt x="697" y="506"/>
                </a:lnTo>
                <a:lnTo>
                  <a:pt x="695" y="507"/>
                </a:lnTo>
                <a:lnTo>
                  <a:pt x="690" y="511"/>
                </a:lnTo>
                <a:lnTo>
                  <a:pt x="687" y="514"/>
                </a:lnTo>
                <a:lnTo>
                  <a:pt x="684" y="516"/>
                </a:lnTo>
                <a:lnTo>
                  <a:pt x="683" y="517"/>
                </a:lnTo>
                <a:lnTo>
                  <a:pt x="682" y="518"/>
                </a:lnTo>
                <a:lnTo>
                  <a:pt x="681" y="519"/>
                </a:lnTo>
                <a:lnTo>
                  <a:pt x="681" y="520"/>
                </a:lnTo>
                <a:lnTo>
                  <a:pt x="680" y="521"/>
                </a:lnTo>
                <a:lnTo>
                  <a:pt x="679" y="523"/>
                </a:lnTo>
                <a:lnTo>
                  <a:pt x="678" y="525"/>
                </a:lnTo>
                <a:lnTo>
                  <a:pt x="676" y="531"/>
                </a:lnTo>
                <a:lnTo>
                  <a:pt x="676" y="533"/>
                </a:lnTo>
                <a:lnTo>
                  <a:pt x="675" y="534"/>
                </a:lnTo>
                <a:lnTo>
                  <a:pt x="674" y="536"/>
                </a:lnTo>
                <a:lnTo>
                  <a:pt x="673" y="538"/>
                </a:lnTo>
                <a:lnTo>
                  <a:pt x="670" y="543"/>
                </a:lnTo>
                <a:lnTo>
                  <a:pt x="669" y="545"/>
                </a:lnTo>
                <a:lnTo>
                  <a:pt x="668" y="547"/>
                </a:lnTo>
                <a:lnTo>
                  <a:pt x="666" y="549"/>
                </a:lnTo>
                <a:lnTo>
                  <a:pt x="661" y="554"/>
                </a:lnTo>
                <a:lnTo>
                  <a:pt x="655" y="560"/>
                </a:lnTo>
                <a:lnTo>
                  <a:pt x="653" y="563"/>
                </a:lnTo>
                <a:lnTo>
                  <a:pt x="651" y="565"/>
                </a:lnTo>
                <a:lnTo>
                  <a:pt x="650" y="567"/>
                </a:lnTo>
                <a:lnTo>
                  <a:pt x="646" y="575"/>
                </a:lnTo>
                <a:lnTo>
                  <a:pt x="644" y="578"/>
                </a:lnTo>
                <a:lnTo>
                  <a:pt x="641" y="584"/>
                </a:lnTo>
                <a:lnTo>
                  <a:pt x="640" y="587"/>
                </a:lnTo>
                <a:lnTo>
                  <a:pt x="638" y="592"/>
                </a:lnTo>
                <a:lnTo>
                  <a:pt x="635" y="597"/>
                </a:lnTo>
                <a:lnTo>
                  <a:pt x="634" y="599"/>
                </a:lnTo>
                <a:lnTo>
                  <a:pt x="633" y="602"/>
                </a:lnTo>
                <a:lnTo>
                  <a:pt x="632" y="607"/>
                </a:lnTo>
                <a:lnTo>
                  <a:pt x="631" y="610"/>
                </a:lnTo>
                <a:lnTo>
                  <a:pt x="629" y="612"/>
                </a:lnTo>
                <a:lnTo>
                  <a:pt x="627" y="616"/>
                </a:lnTo>
                <a:lnTo>
                  <a:pt x="626" y="618"/>
                </a:lnTo>
                <a:lnTo>
                  <a:pt x="625" y="621"/>
                </a:lnTo>
                <a:lnTo>
                  <a:pt x="624" y="623"/>
                </a:lnTo>
                <a:lnTo>
                  <a:pt x="622" y="627"/>
                </a:lnTo>
                <a:lnTo>
                  <a:pt x="622" y="628"/>
                </a:lnTo>
                <a:lnTo>
                  <a:pt x="622" y="629"/>
                </a:lnTo>
                <a:lnTo>
                  <a:pt x="621" y="633"/>
                </a:lnTo>
                <a:lnTo>
                  <a:pt x="620" y="639"/>
                </a:lnTo>
                <a:lnTo>
                  <a:pt x="619" y="642"/>
                </a:lnTo>
                <a:lnTo>
                  <a:pt x="619" y="644"/>
                </a:lnTo>
                <a:lnTo>
                  <a:pt x="618" y="646"/>
                </a:lnTo>
                <a:lnTo>
                  <a:pt x="617" y="648"/>
                </a:lnTo>
                <a:lnTo>
                  <a:pt x="617" y="649"/>
                </a:lnTo>
                <a:lnTo>
                  <a:pt x="616" y="651"/>
                </a:lnTo>
                <a:lnTo>
                  <a:pt x="615" y="652"/>
                </a:lnTo>
                <a:lnTo>
                  <a:pt x="614" y="653"/>
                </a:lnTo>
                <a:lnTo>
                  <a:pt x="613" y="655"/>
                </a:lnTo>
                <a:lnTo>
                  <a:pt x="612" y="656"/>
                </a:lnTo>
                <a:lnTo>
                  <a:pt x="611" y="656"/>
                </a:lnTo>
                <a:lnTo>
                  <a:pt x="610" y="656"/>
                </a:lnTo>
                <a:lnTo>
                  <a:pt x="609" y="657"/>
                </a:lnTo>
                <a:lnTo>
                  <a:pt x="608" y="657"/>
                </a:lnTo>
                <a:lnTo>
                  <a:pt x="608" y="657"/>
                </a:lnTo>
                <a:lnTo>
                  <a:pt x="607" y="657"/>
                </a:lnTo>
                <a:lnTo>
                  <a:pt x="606" y="657"/>
                </a:lnTo>
                <a:lnTo>
                  <a:pt x="605" y="656"/>
                </a:lnTo>
                <a:lnTo>
                  <a:pt x="604" y="656"/>
                </a:lnTo>
                <a:lnTo>
                  <a:pt x="604" y="655"/>
                </a:lnTo>
                <a:lnTo>
                  <a:pt x="603" y="655"/>
                </a:lnTo>
                <a:lnTo>
                  <a:pt x="603" y="654"/>
                </a:lnTo>
                <a:lnTo>
                  <a:pt x="603" y="653"/>
                </a:lnTo>
                <a:lnTo>
                  <a:pt x="602" y="652"/>
                </a:lnTo>
                <a:lnTo>
                  <a:pt x="602" y="651"/>
                </a:lnTo>
                <a:lnTo>
                  <a:pt x="602" y="646"/>
                </a:lnTo>
                <a:lnTo>
                  <a:pt x="601" y="640"/>
                </a:lnTo>
                <a:lnTo>
                  <a:pt x="600" y="637"/>
                </a:lnTo>
                <a:lnTo>
                  <a:pt x="600" y="633"/>
                </a:lnTo>
                <a:lnTo>
                  <a:pt x="600" y="630"/>
                </a:lnTo>
                <a:lnTo>
                  <a:pt x="599" y="626"/>
                </a:lnTo>
                <a:lnTo>
                  <a:pt x="598" y="622"/>
                </a:lnTo>
                <a:lnTo>
                  <a:pt x="598" y="620"/>
                </a:lnTo>
                <a:lnTo>
                  <a:pt x="597" y="618"/>
                </a:lnTo>
                <a:lnTo>
                  <a:pt x="597" y="611"/>
                </a:lnTo>
                <a:lnTo>
                  <a:pt x="597" y="610"/>
                </a:lnTo>
                <a:lnTo>
                  <a:pt x="596" y="608"/>
                </a:lnTo>
                <a:lnTo>
                  <a:pt x="596" y="607"/>
                </a:lnTo>
                <a:lnTo>
                  <a:pt x="595" y="605"/>
                </a:lnTo>
                <a:lnTo>
                  <a:pt x="595" y="603"/>
                </a:lnTo>
                <a:lnTo>
                  <a:pt x="594" y="602"/>
                </a:lnTo>
                <a:lnTo>
                  <a:pt x="593" y="600"/>
                </a:lnTo>
                <a:lnTo>
                  <a:pt x="591" y="599"/>
                </a:lnTo>
                <a:lnTo>
                  <a:pt x="591" y="598"/>
                </a:lnTo>
                <a:lnTo>
                  <a:pt x="590" y="597"/>
                </a:lnTo>
                <a:lnTo>
                  <a:pt x="589" y="596"/>
                </a:lnTo>
                <a:lnTo>
                  <a:pt x="588" y="596"/>
                </a:lnTo>
                <a:lnTo>
                  <a:pt x="587" y="596"/>
                </a:lnTo>
                <a:lnTo>
                  <a:pt x="586" y="595"/>
                </a:lnTo>
                <a:lnTo>
                  <a:pt x="584" y="595"/>
                </a:lnTo>
                <a:lnTo>
                  <a:pt x="583" y="595"/>
                </a:lnTo>
                <a:lnTo>
                  <a:pt x="582" y="595"/>
                </a:lnTo>
                <a:lnTo>
                  <a:pt x="581" y="595"/>
                </a:lnTo>
                <a:lnTo>
                  <a:pt x="580" y="595"/>
                </a:lnTo>
                <a:lnTo>
                  <a:pt x="579" y="595"/>
                </a:lnTo>
                <a:lnTo>
                  <a:pt x="576" y="596"/>
                </a:lnTo>
                <a:lnTo>
                  <a:pt x="574" y="597"/>
                </a:lnTo>
                <a:lnTo>
                  <a:pt x="572" y="597"/>
                </a:lnTo>
                <a:lnTo>
                  <a:pt x="569" y="597"/>
                </a:lnTo>
                <a:lnTo>
                  <a:pt x="566" y="598"/>
                </a:lnTo>
                <a:lnTo>
                  <a:pt x="562" y="598"/>
                </a:lnTo>
                <a:lnTo>
                  <a:pt x="556" y="599"/>
                </a:lnTo>
                <a:lnTo>
                  <a:pt x="553" y="600"/>
                </a:lnTo>
                <a:lnTo>
                  <a:pt x="548" y="600"/>
                </a:lnTo>
                <a:lnTo>
                  <a:pt x="547" y="600"/>
                </a:lnTo>
                <a:lnTo>
                  <a:pt x="546" y="600"/>
                </a:lnTo>
                <a:lnTo>
                  <a:pt x="543" y="600"/>
                </a:lnTo>
                <a:lnTo>
                  <a:pt x="538" y="598"/>
                </a:lnTo>
                <a:lnTo>
                  <a:pt x="536" y="598"/>
                </a:lnTo>
                <a:lnTo>
                  <a:pt x="534" y="597"/>
                </a:lnTo>
                <a:lnTo>
                  <a:pt x="531" y="595"/>
                </a:lnTo>
                <a:lnTo>
                  <a:pt x="529" y="594"/>
                </a:lnTo>
                <a:lnTo>
                  <a:pt x="527" y="593"/>
                </a:lnTo>
                <a:lnTo>
                  <a:pt x="524" y="590"/>
                </a:lnTo>
                <a:lnTo>
                  <a:pt x="523" y="589"/>
                </a:lnTo>
                <a:lnTo>
                  <a:pt x="522" y="589"/>
                </a:lnTo>
                <a:lnTo>
                  <a:pt x="521" y="588"/>
                </a:lnTo>
                <a:lnTo>
                  <a:pt x="517" y="587"/>
                </a:lnTo>
                <a:lnTo>
                  <a:pt x="516" y="586"/>
                </a:lnTo>
                <a:lnTo>
                  <a:pt x="514" y="586"/>
                </a:lnTo>
                <a:lnTo>
                  <a:pt x="513" y="585"/>
                </a:lnTo>
                <a:lnTo>
                  <a:pt x="512" y="585"/>
                </a:lnTo>
                <a:lnTo>
                  <a:pt x="511" y="585"/>
                </a:lnTo>
                <a:lnTo>
                  <a:pt x="509" y="585"/>
                </a:lnTo>
                <a:lnTo>
                  <a:pt x="508" y="585"/>
                </a:lnTo>
                <a:lnTo>
                  <a:pt x="507" y="585"/>
                </a:lnTo>
                <a:lnTo>
                  <a:pt x="502" y="585"/>
                </a:lnTo>
                <a:lnTo>
                  <a:pt x="501" y="585"/>
                </a:lnTo>
                <a:lnTo>
                  <a:pt x="500" y="585"/>
                </a:lnTo>
                <a:lnTo>
                  <a:pt x="499" y="585"/>
                </a:lnTo>
                <a:lnTo>
                  <a:pt x="498" y="585"/>
                </a:lnTo>
                <a:lnTo>
                  <a:pt x="498" y="585"/>
                </a:lnTo>
                <a:lnTo>
                  <a:pt x="497" y="585"/>
                </a:lnTo>
                <a:lnTo>
                  <a:pt x="497" y="584"/>
                </a:lnTo>
                <a:lnTo>
                  <a:pt x="496" y="584"/>
                </a:lnTo>
                <a:lnTo>
                  <a:pt x="496" y="583"/>
                </a:lnTo>
                <a:lnTo>
                  <a:pt x="495" y="582"/>
                </a:lnTo>
                <a:lnTo>
                  <a:pt x="495" y="582"/>
                </a:lnTo>
                <a:lnTo>
                  <a:pt x="494" y="581"/>
                </a:lnTo>
                <a:lnTo>
                  <a:pt x="494" y="580"/>
                </a:lnTo>
                <a:lnTo>
                  <a:pt x="494" y="579"/>
                </a:lnTo>
                <a:lnTo>
                  <a:pt x="493" y="573"/>
                </a:lnTo>
                <a:lnTo>
                  <a:pt x="492" y="570"/>
                </a:lnTo>
                <a:lnTo>
                  <a:pt x="492" y="568"/>
                </a:lnTo>
                <a:lnTo>
                  <a:pt x="492" y="567"/>
                </a:lnTo>
                <a:lnTo>
                  <a:pt x="491" y="566"/>
                </a:lnTo>
                <a:lnTo>
                  <a:pt x="491" y="564"/>
                </a:lnTo>
                <a:lnTo>
                  <a:pt x="490" y="563"/>
                </a:lnTo>
                <a:lnTo>
                  <a:pt x="489" y="562"/>
                </a:lnTo>
                <a:lnTo>
                  <a:pt x="488" y="560"/>
                </a:lnTo>
                <a:lnTo>
                  <a:pt x="486" y="559"/>
                </a:lnTo>
                <a:lnTo>
                  <a:pt x="485" y="558"/>
                </a:lnTo>
                <a:lnTo>
                  <a:pt x="484" y="557"/>
                </a:lnTo>
                <a:lnTo>
                  <a:pt x="483" y="556"/>
                </a:lnTo>
                <a:lnTo>
                  <a:pt x="482" y="555"/>
                </a:lnTo>
                <a:lnTo>
                  <a:pt x="480" y="555"/>
                </a:lnTo>
                <a:lnTo>
                  <a:pt x="478" y="554"/>
                </a:lnTo>
                <a:lnTo>
                  <a:pt x="477" y="554"/>
                </a:lnTo>
                <a:lnTo>
                  <a:pt x="475" y="554"/>
                </a:lnTo>
                <a:lnTo>
                  <a:pt x="470" y="554"/>
                </a:lnTo>
                <a:lnTo>
                  <a:pt x="468" y="554"/>
                </a:lnTo>
                <a:lnTo>
                  <a:pt x="466" y="554"/>
                </a:lnTo>
                <a:lnTo>
                  <a:pt x="464" y="554"/>
                </a:lnTo>
                <a:lnTo>
                  <a:pt x="462" y="554"/>
                </a:lnTo>
                <a:lnTo>
                  <a:pt x="461" y="553"/>
                </a:lnTo>
                <a:lnTo>
                  <a:pt x="459" y="553"/>
                </a:lnTo>
                <a:lnTo>
                  <a:pt x="457" y="552"/>
                </a:lnTo>
                <a:lnTo>
                  <a:pt x="456" y="552"/>
                </a:lnTo>
                <a:lnTo>
                  <a:pt x="446" y="547"/>
                </a:lnTo>
                <a:lnTo>
                  <a:pt x="444" y="545"/>
                </a:lnTo>
                <a:lnTo>
                  <a:pt x="440" y="542"/>
                </a:lnTo>
                <a:lnTo>
                  <a:pt x="438" y="542"/>
                </a:lnTo>
                <a:lnTo>
                  <a:pt x="436" y="540"/>
                </a:lnTo>
                <a:lnTo>
                  <a:pt x="435" y="540"/>
                </a:lnTo>
                <a:lnTo>
                  <a:pt x="434" y="540"/>
                </a:lnTo>
                <a:lnTo>
                  <a:pt x="433" y="540"/>
                </a:lnTo>
                <a:lnTo>
                  <a:pt x="432" y="540"/>
                </a:lnTo>
                <a:lnTo>
                  <a:pt x="432" y="540"/>
                </a:lnTo>
                <a:lnTo>
                  <a:pt x="431" y="540"/>
                </a:lnTo>
                <a:lnTo>
                  <a:pt x="429" y="540"/>
                </a:lnTo>
                <a:lnTo>
                  <a:pt x="426" y="541"/>
                </a:lnTo>
                <a:lnTo>
                  <a:pt x="424" y="542"/>
                </a:lnTo>
                <a:lnTo>
                  <a:pt x="422" y="542"/>
                </a:lnTo>
                <a:lnTo>
                  <a:pt x="420" y="542"/>
                </a:lnTo>
                <a:lnTo>
                  <a:pt x="416" y="542"/>
                </a:lnTo>
                <a:lnTo>
                  <a:pt x="413" y="542"/>
                </a:lnTo>
                <a:lnTo>
                  <a:pt x="409" y="542"/>
                </a:lnTo>
                <a:lnTo>
                  <a:pt x="404" y="542"/>
                </a:lnTo>
                <a:lnTo>
                  <a:pt x="403" y="542"/>
                </a:lnTo>
                <a:lnTo>
                  <a:pt x="402" y="542"/>
                </a:lnTo>
                <a:lnTo>
                  <a:pt x="401" y="542"/>
                </a:lnTo>
                <a:lnTo>
                  <a:pt x="400" y="542"/>
                </a:lnTo>
                <a:lnTo>
                  <a:pt x="399" y="542"/>
                </a:lnTo>
                <a:lnTo>
                  <a:pt x="398" y="543"/>
                </a:lnTo>
                <a:lnTo>
                  <a:pt x="397" y="544"/>
                </a:lnTo>
                <a:lnTo>
                  <a:pt x="396" y="545"/>
                </a:lnTo>
                <a:lnTo>
                  <a:pt x="395" y="546"/>
                </a:lnTo>
                <a:lnTo>
                  <a:pt x="394" y="548"/>
                </a:lnTo>
                <a:lnTo>
                  <a:pt x="392" y="550"/>
                </a:lnTo>
                <a:lnTo>
                  <a:pt x="390" y="555"/>
                </a:lnTo>
                <a:lnTo>
                  <a:pt x="389" y="558"/>
                </a:lnTo>
                <a:lnTo>
                  <a:pt x="387" y="563"/>
                </a:lnTo>
                <a:lnTo>
                  <a:pt x="386" y="565"/>
                </a:lnTo>
                <a:lnTo>
                  <a:pt x="385" y="567"/>
                </a:lnTo>
                <a:lnTo>
                  <a:pt x="385" y="568"/>
                </a:lnTo>
                <a:lnTo>
                  <a:pt x="381" y="573"/>
                </a:lnTo>
                <a:lnTo>
                  <a:pt x="378" y="579"/>
                </a:lnTo>
                <a:lnTo>
                  <a:pt x="376" y="581"/>
                </a:lnTo>
                <a:lnTo>
                  <a:pt x="375" y="582"/>
                </a:lnTo>
                <a:lnTo>
                  <a:pt x="374" y="583"/>
                </a:lnTo>
                <a:lnTo>
                  <a:pt x="372" y="584"/>
                </a:lnTo>
                <a:lnTo>
                  <a:pt x="371" y="586"/>
                </a:lnTo>
                <a:lnTo>
                  <a:pt x="367" y="588"/>
                </a:lnTo>
                <a:lnTo>
                  <a:pt x="366" y="589"/>
                </a:lnTo>
                <a:lnTo>
                  <a:pt x="364" y="590"/>
                </a:lnTo>
                <a:lnTo>
                  <a:pt x="363" y="590"/>
                </a:lnTo>
                <a:lnTo>
                  <a:pt x="361" y="590"/>
                </a:lnTo>
                <a:lnTo>
                  <a:pt x="360" y="590"/>
                </a:lnTo>
                <a:lnTo>
                  <a:pt x="358" y="590"/>
                </a:lnTo>
                <a:lnTo>
                  <a:pt x="357" y="590"/>
                </a:lnTo>
                <a:lnTo>
                  <a:pt x="356" y="589"/>
                </a:lnTo>
                <a:lnTo>
                  <a:pt x="355" y="589"/>
                </a:lnTo>
                <a:lnTo>
                  <a:pt x="354" y="588"/>
                </a:lnTo>
                <a:lnTo>
                  <a:pt x="352" y="587"/>
                </a:lnTo>
                <a:lnTo>
                  <a:pt x="351" y="586"/>
                </a:lnTo>
                <a:lnTo>
                  <a:pt x="351" y="586"/>
                </a:lnTo>
                <a:lnTo>
                  <a:pt x="350" y="585"/>
                </a:lnTo>
                <a:lnTo>
                  <a:pt x="349" y="585"/>
                </a:lnTo>
                <a:lnTo>
                  <a:pt x="349" y="585"/>
                </a:lnTo>
                <a:lnTo>
                  <a:pt x="348" y="585"/>
                </a:lnTo>
                <a:lnTo>
                  <a:pt x="347" y="585"/>
                </a:lnTo>
                <a:lnTo>
                  <a:pt x="346" y="586"/>
                </a:lnTo>
                <a:lnTo>
                  <a:pt x="344" y="587"/>
                </a:lnTo>
                <a:lnTo>
                  <a:pt x="343" y="587"/>
                </a:lnTo>
                <a:lnTo>
                  <a:pt x="342" y="588"/>
                </a:lnTo>
                <a:lnTo>
                  <a:pt x="341" y="588"/>
                </a:lnTo>
                <a:lnTo>
                  <a:pt x="340" y="588"/>
                </a:lnTo>
                <a:lnTo>
                  <a:pt x="339" y="588"/>
                </a:lnTo>
                <a:lnTo>
                  <a:pt x="338" y="588"/>
                </a:lnTo>
                <a:lnTo>
                  <a:pt x="337" y="588"/>
                </a:lnTo>
                <a:lnTo>
                  <a:pt x="335" y="588"/>
                </a:lnTo>
                <a:lnTo>
                  <a:pt x="331" y="587"/>
                </a:lnTo>
                <a:lnTo>
                  <a:pt x="329" y="587"/>
                </a:lnTo>
                <a:lnTo>
                  <a:pt x="325" y="586"/>
                </a:lnTo>
                <a:lnTo>
                  <a:pt x="323" y="586"/>
                </a:lnTo>
                <a:lnTo>
                  <a:pt x="320" y="586"/>
                </a:lnTo>
                <a:lnTo>
                  <a:pt x="318" y="586"/>
                </a:lnTo>
                <a:lnTo>
                  <a:pt x="313" y="586"/>
                </a:lnTo>
                <a:lnTo>
                  <a:pt x="310" y="586"/>
                </a:lnTo>
                <a:lnTo>
                  <a:pt x="306" y="586"/>
                </a:lnTo>
                <a:lnTo>
                  <a:pt x="301" y="585"/>
                </a:lnTo>
                <a:lnTo>
                  <a:pt x="295" y="585"/>
                </a:lnTo>
                <a:lnTo>
                  <a:pt x="277" y="583"/>
                </a:lnTo>
                <a:lnTo>
                  <a:pt x="273" y="583"/>
                </a:lnTo>
                <a:lnTo>
                  <a:pt x="271" y="583"/>
                </a:lnTo>
                <a:lnTo>
                  <a:pt x="268" y="583"/>
                </a:lnTo>
                <a:lnTo>
                  <a:pt x="267" y="583"/>
                </a:lnTo>
                <a:lnTo>
                  <a:pt x="262" y="583"/>
                </a:lnTo>
                <a:lnTo>
                  <a:pt x="259" y="583"/>
                </a:lnTo>
                <a:lnTo>
                  <a:pt x="257" y="583"/>
                </a:lnTo>
                <a:lnTo>
                  <a:pt x="253" y="583"/>
                </a:lnTo>
                <a:lnTo>
                  <a:pt x="246" y="582"/>
                </a:lnTo>
                <a:lnTo>
                  <a:pt x="244" y="582"/>
                </a:lnTo>
                <a:lnTo>
                  <a:pt x="242" y="582"/>
                </a:lnTo>
                <a:lnTo>
                  <a:pt x="240" y="581"/>
                </a:lnTo>
                <a:lnTo>
                  <a:pt x="238" y="581"/>
                </a:lnTo>
                <a:lnTo>
                  <a:pt x="237" y="580"/>
                </a:lnTo>
                <a:lnTo>
                  <a:pt x="235" y="580"/>
                </a:lnTo>
                <a:lnTo>
                  <a:pt x="233" y="579"/>
                </a:lnTo>
                <a:lnTo>
                  <a:pt x="231" y="578"/>
                </a:lnTo>
                <a:lnTo>
                  <a:pt x="229" y="577"/>
                </a:lnTo>
                <a:lnTo>
                  <a:pt x="225" y="575"/>
                </a:lnTo>
                <a:lnTo>
                  <a:pt x="217" y="571"/>
                </a:lnTo>
                <a:lnTo>
                  <a:pt x="205" y="565"/>
                </a:lnTo>
                <a:lnTo>
                  <a:pt x="201" y="562"/>
                </a:lnTo>
                <a:lnTo>
                  <a:pt x="199" y="561"/>
                </a:lnTo>
                <a:lnTo>
                  <a:pt x="197" y="560"/>
                </a:lnTo>
                <a:lnTo>
                  <a:pt x="196" y="559"/>
                </a:lnTo>
                <a:lnTo>
                  <a:pt x="194" y="557"/>
                </a:lnTo>
                <a:lnTo>
                  <a:pt x="191" y="555"/>
                </a:lnTo>
                <a:lnTo>
                  <a:pt x="189" y="553"/>
                </a:lnTo>
                <a:lnTo>
                  <a:pt x="187" y="552"/>
                </a:lnTo>
                <a:lnTo>
                  <a:pt x="185" y="550"/>
                </a:lnTo>
                <a:lnTo>
                  <a:pt x="184" y="548"/>
                </a:lnTo>
                <a:lnTo>
                  <a:pt x="183" y="547"/>
                </a:lnTo>
                <a:lnTo>
                  <a:pt x="182" y="546"/>
                </a:lnTo>
                <a:lnTo>
                  <a:pt x="181" y="545"/>
                </a:lnTo>
                <a:lnTo>
                  <a:pt x="180" y="544"/>
                </a:lnTo>
                <a:lnTo>
                  <a:pt x="180" y="543"/>
                </a:lnTo>
                <a:lnTo>
                  <a:pt x="179" y="542"/>
                </a:lnTo>
                <a:lnTo>
                  <a:pt x="178" y="538"/>
                </a:lnTo>
                <a:lnTo>
                  <a:pt x="178" y="537"/>
                </a:lnTo>
                <a:lnTo>
                  <a:pt x="178" y="536"/>
                </a:lnTo>
                <a:lnTo>
                  <a:pt x="178" y="536"/>
                </a:lnTo>
                <a:lnTo>
                  <a:pt x="177" y="535"/>
                </a:lnTo>
                <a:lnTo>
                  <a:pt x="177" y="535"/>
                </a:lnTo>
                <a:lnTo>
                  <a:pt x="176" y="534"/>
                </a:lnTo>
                <a:lnTo>
                  <a:pt x="175" y="533"/>
                </a:lnTo>
                <a:lnTo>
                  <a:pt x="174" y="533"/>
                </a:lnTo>
                <a:lnTo>
                  <a:pt x="173" y="533"/>
                </a:lnTo>
                <a:lnTo>
                  <a:pt x="172" y="532"/>
                </a:lnTo>
                <a:lnTo>
                  <a:pt x="171" y="532"/>
                </a:lnTo>
                <a:lnTo>
                  <a:pt x="170" y="532"/>
                </a:lnTo>
                <a:lnTo>
                  <a:pt x="170" y="532"/>
                </a:lnTo>
                <a:lnTo>
                  <a:pt x="169" y="531"/>
                </a:lnTo>
                <a:lnTo>
                  <a:pt x="168" y="530"/>
                </a:lnTo>
                <a:lnTo>
                  <a:pt x="166" y="528"/>
                </a:lnTo>
                <a:lnTo>
                  <a:pt x="165" y="528"/>
                </a:lnTo>
                <a:lnTo>
                  <a:pt x="164" y="527"/>
                </a:lnTo>
                <a:lnTo>
                  <a:pt x="163" y="526"/>
                </a:lnTo>
                <a:lnTo>
                  <a:pt x="162" y="526"/>
                </a:lnTo>
                <a:lnTo>
                  <a:pt x="161" y="525"/>
                </a:lnTo>
                <a:lnTo>
                  <a:pt x="157" y="524"/>
                </a:lnTo>
                <a:lnTo>
                  <a:pt x="156" y="524"/>
                </a:lnTo>
                <a:lnTo>
                  <a:pt x="156" y="524"/>
                </a:lnTo>
                <a:lnTo>
                  <a:pt x="155" y="523"/>
                </a:lnTo>
                <a:lnTo>
                  <a:pt x="155" y="523"/>
                </a:lnTo>
                <a:lnTo>
                  <a:pt x="154" y="522"/>
                </a:lnTo>
                <a:lnTo>
                  <a:pt x="154" y="521"/>
                </a:lnTo>
                <a:lnTo>
                  <a:pt x="154" y="521"/>
                </a:lnTo>
                <a:lnTo>
                  <a:pt x="154" y="520"/>
                </a:lnTo>
                <a:lnTo>
                  <a:pt x="153" y="519"/>
                </a:lnTo>
                <a:lnTo>
                  <a:pt x="152" y="519"/>
                </a:lnTo>
                <a:lnTo>
                  <a:pt x="150" y="518"/>
                </a:lnTo>
                <a:lnTo>
                  <a:pt x="149" y="517"/>
                </a:lnTo>
                <a:lnTo>
                  <a:pt x="148" y="516"/>
                </a:lnTo>
                <a:lnTo>
                  <a:pt x="146" y="514"/>
                </a:lnTo>
                <a:lnTo>
                  <a:pt x="145" y="513"/>
                </a:lnTo>
                <a:lnTo>
                  <a:pt x="144" y="513"/>
                </a:lnTo>
                <a:lnTo>
                  <a:pt x="144" y="512"/>
                </a:lnTo>
                <a:lnTo>
                  <a:pt x="143" y="512"/>
                </a:lnTo>
                <a:lnTo>
                  <a:pt x="141" y="512"/>
                </a:lnTo>
                <a:lnTo>
                  <a:pt x="139" y="511"/>
                </a:lnTo>
                <a:lnTo>
                  <a:pt x="137" y="510"/>
                </a:lnTo>
                <a:lnTo>
                  <a:pt x="136" y="510"/>
                </a:lnTo>
                <a:lnTo>
                  <a:pt x="135" y="509"/>
                </a:lnTo>
                <a:lnTo>
                  <a:pt x="135" y="508"/>
                </a:lnTo>
                <a:lnTo>
                  <a:pt x="134" y="507"/>
                </a:ln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  <a:close/>
              </a:path>
            </a:pathLst>
          </a:custGeom>
          <a:solidFill>
            <a:srgbClr val="B0C2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2" name="Freeform 285">
            <a:extLst>
              <a:ext uri="{FF2B5EF4-FFF2-40B4-BE49-F238E27FC236}">
                <a16:creationId xmlns:a16="http://schemas.microsoft.com/office/drawing/2014/main" id="{08A93988-5B41-411B-A655-B945FFA7C986}"/>
              </a:ext>
            </a:extLst>
          </p:cNvPr>
          <p:cNvSpPr>
            <a:spLocks/>
          </p:cNvSpPr>
          <p:nvPr/>
        </p:nvSpPr>
        <p:spPr bwMode="auto">
          <a:xfrm>
            <a:off x="9420367" y="4918279"/>
            <a:ext cx="1476862" cy="1366263"/>
          </a:xfrm>
          <a:custGeom>
            <a:avLst/>
            <a:gdLst>
              <a:gd name="T0" fmla="*/ 329 w 777"/>
              <a:gd name="T1" fmla="*/ 1 h 657"/>
              <a:gd name="T2" fmla="*/ 362 w 777"/>
              <a:gd name="T3" fmla="*/ 6 h 657"/>
              <a:gd name="T4" fmla="*/ 400 w 777"/>
              <a:gd name="T5" fmla="*/ 20 h 657"/>
              <a:gd name="T6" fmla="*/ 380 w 777"/>
              <a:gd name="T7" fmla="*/ 30 h 657"/>
              <a:gd name="T8" fmla="*/ 377 w 777"/>
              <a:gd name="T9" fmla="*/ 51 h 657"/>
              <a:gd name="T10" fmla="*/ 409 w 777"/>
              <a:gd name="T11" fmla="*/ 62 h 657"/>
              <a:gd name="T12" fmla="*/ 396 w 777"/>
              <a:gd name="T13" fmla="*/ 86 h 657"/>
              <a:gd name="T14" fmla="*/ 410 w 777"/>
              <a:gd name="T15" fmla="*/ 124 h 657"/>
              <a:gd name="T16" fmla="*/ 403 w 777"/>
              <a:gd name="T17" fmla="*/ 140 h 657"/>
              <a:gd name="T18" fmla="*/ 432 w 777"/>
              <a:gd name="T19" fmla="*/ 153 h 657"/>
              <a:gd name="T20" fmla="*/ 448 w 777"/>
              <a:gd name="T21" fmla="*/ 125 h 657"/>
              <a:gd name="T22" fmla="*/ 431 w 777"/>
              <a:gd name="T23" fmla="*/ 99 h 657"/>
              <a:gd name="T24" fmla="*/ 448 w 777"/>
              <a:gd name="T25" fmla="*/ 84 h 657"/>
              <a:gd name="T26" fmla="*/ 473 w 777"/>
              <a:gd name="T27" fmla="*/ 103 h 657"/>
              <a:gd name="T28" fmla="*/ 487 w 777"/>
              <a:gd name="T29" fmla="*/ 132 h 657"/>
              <a:gd name="T30" fmla="*/ 503 w 777"/>
              <a:gd name="T31" fmla="*/ 151 h 657"/>
              <a:gd name="T32" fmla="*/ 511 w 777"/>
              <a:gd name="T33" fmla="*/ 151 h 657"/>
              <a:gd name="T34" fmla="*/ 515 w 777"/>
              <a:gd name="T35" fmla="*/ 178 h 657"/>
              <a:gd name="T36" fmla="*/ 549 w 777"/>
              <a:gd name="T37" fmla="*/ 200 h 657"/>
              <a:gd name="T38" fmla="*/ 551 w 777"/>
              <a:gd name="T39" fmla="*/ 254 h 657"/>
              <a:gd name="T40" fmla="*/ 559 w 777"/>
              <a:gd name="T41" fmla="*/ 289 h 657"/>
              <a:gd name="T42" fmla="*/ 576 w 777"/>
              <a:gd name="T43" fmla="*/ 294 h 657"/>
              <a:gd name="T44" fmla="*/ 561 w 777"/>
              <a:gd name="T45" fmla="*/ 320 h 657"/>
              <a:gd name="T46" fmla="*/ 543 w 777"/>
              <a:gd name="T47" fmla="*/ 345 h 657"/>
              <a:gd name="T48" fmla="*/ 557 w 777"/>
              <a:gd name="T49" fmla="*/ 355 h 657"/>
              <a:gd name="T50" fmla="*/ 590 w 777"/>
              <a:gd name="T51" fmla="*/ 358 h 657"/>
              <a:gd name="T52" fmla="*/ 599 w 777"/>
              <a:gd name="T53" fmla="*/ 382 h 657"/>
              <a:gd name="T54" fmla="*/ 637 w 777"/>
              <a:gd name="T55" fmla="*/ 396 h 657"/>
              <a:gd name="T56" fmla="*/ 650 w 777"/>
              <a:gd name="T57" fmla="*/ 416 h 657"/>
              <a:gd name="T58" fmla="*/ 681 w 777"/>
              <a:gd name="T59" fmla="*/ 431 h 657"/>
              <a:gd name="T60" fmla="*/ 716 w 777"/>
              <a:gd name="T61" fmla="*/ 430 h 657"/>
              <a:gd name="T62" fmla="*/ 731 w 777"/>
              <a:gd name="T63" fmla="*/ 448 h 657"/>
              <a:gd name="T64" fmla="*/ 762 w 777"/>
              <a:gd name="T65" fmla="*/ 470 h 657"/>
              <a:gd name="T66" fmla="*/ 766 w 777"/>
              <a:gd name="T67" fmla="*/ 501 h 657"/>
              <a:gd name="T68" fmla="*/ 733 w 777"/>
              <a:gd name="T69" fmla="*/ 520 h 657"/>
              <a:gd name="T70" fmla="*/ 709 w 777"/>
              <a:gd name="T71" fmla="*/ 512 h 657"/>
              <a:gd name="T72" fmla="*/ 680 w 777"/>
              <a:gd name="T73" fmla="*/ 515 h 657"/>
              <a:gd name="T74" fmla="*/ 648 w 777"/>
              <a:gd name="T75" fmla="*/ 519 h 657"/>
              <a:gd name="T76" fmla="*/ 601 w 777"/>
              <a:gd name="T77" fmla="*/ 492 h 657"/>
              <a:gd name="T78" fmla="*/ 570 w 777"/>
              <a:gd name="T79" fmla="*/ 499 h 657"/>
              <a:gd name="T80" fmla="*/ 539 w 777"/>
              <a:gd name="T81" fmla="*/ 538 h 657"/>
              <a:gd name="T82" fmla="*/ 499 w 777"/>
              <a:gd name="T83" fmla="*/ 602 h 657"/>
              <a:gd name="T84" fmla="*/ 483 w 777"/>
              <a:gd name="T85" fmla="*/ 649 h 657"/>
              <a:gd name="T86" fmla="*/ 469 w 777"/>
              <a:gd name="T87" fmla="*/ 654 h 657"/>
              <a:gd name="T88" fmla="*/ 461 w 777"/>
              <a:gd name="T89" fmla="*/ 605 h 657"/>
              <a:gd name="T90" fmla="*/ 442 w 777"/>
              <a:gd name="T91" fmla="*/ 596 h 657"/>
              <a:gd name="T92" fmla="*/ 393 w 777"/>
              <a:gd name="T93" fmla="*/ 593 h 657"/>
              <a:gd name="T94" fmla="*/ 365 w 777"/>
              <a:gd name="T95" fmla="*/ 585 h 657"/>
              <a:gd name="T96" fmla="*/ 357 w 777"/>
              <a:gd name="T97" fmla="*/ 564 h 657"/>
              <a:gd name="T98" fmla="*/ 328 w 777"/>
              <a:gd name="T99" fmla="*/ 554 h 657"/>
              <a:gd name="T100" fmla="*/ 292 w 777"/>
              <a:gd name="T101" fmla="*/ 541 h 657"/>
              <a:gd name="T102" fmla="*/ 260 w 777"/>
              <a:gd name="T103" fmla="*/ 548 h 657"/>
              <a:gd name="T104" fmla="*/ 230 w 777"/>
              <a:gd name="T105" fmla="*/ 590 h 657"/>
              <a:gd name="T106" fmla="*/ 212 w 777"/>
              <a:gd name="T107" fmla="*/ 586 h 657"/>
              <a:gd name="T108" fmla="*/ 176 w 777"/>
              <a:gd name="T109" fmla="*/ 586 h 657"/>
              <a:gd name="T110" fmla="*/ 104 w 777"/>
              <a:gd name="T111" fmla="*/ 581 h 657"/>
              <a:gd name="T112" fmla="*/ 51 w 777"/>
              <a:gd name="T113" fmla="*/ 550 h 657"/>
              <a:gd name="T114" fmla="*/ 39 w 777"/>
              <a:gd name="T115" fmla="*/ 533 h 657"/>
              <a:gd name="T116" fmla="*/ 21 w 777"/>
              <a:gd name="T117" fmla="*/ 523 h 657"/>
              <a:gd name="T118" fmla="*/ 3 w 777"/>
              <a:gd name="T119" fmla="*/ 51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77" h="657">
                <a:moveTo>
                  <a:pt x="296" y="0"/>
                </a:moveTo>
                <a:lnTo>
                  <a:pt x="297" y="0"/>
                </a:lnTo>
                <a:lnTo>
                  <a:pt x="297" y="0"/>
                </a:lnTo>
                <a:lnTo>
                  <a:pt x="299" y="1"/>
                </a:lnTo>
                <a:lnTo>
                  <a:pt x="303" y="2"/>
                </a:lnTo>
                <a:lnTo>
                  <a:pt x="305" y="2"/>
                </a:lnTo>
                <a:lnTo>
                  <a:pt x="308" y="3"/>
                </a:lnTo>
                <a:lnTo>
                  <a:pt x="312" y="3"/>
                </a:lnTo>
                <a:lnTo>
                  <a:pt x="314" y="3"/>
                </a:lnTo>
                <a:lnTo>
                  <a:pt x="316" y="3"/>
                </a:lnTo>
                <a:lnTo>
                  <a:pt x="318" y="2"/>
                </a:lnTo>
                <a:lnTo>
                  <a:pt x="322" y="1"/>
                </a:lnTo>
                <a:lnTo>
                  <a:pt x="323" y="1"/>
                </a:lnTo>
                <a:lnTo>
                  <a:pt x="324" y="1"/>
                </a:lnTo>
                <a:lnTo>
                  <a:pt x="325" y="1"/>
                </a:lnTo>
                <a:lnTo>
                  <a:pt x="327" y="1"/>
                </a:lnTo>
                <a:lnTo>
                  <a:pt x="329" y="1"/>
                </a:lnTo>
                <a:lnTo>
                  <a:pt x="332" y="3"/>
                </a:lnTo>
                <a:lnTo>
                  <a:pt x="333" y="3"/>
                </a:lnTo>
                <a:lnTo>
                  <a:pt x="334" y="3"/>
                </a:lnTo>
                <a:lnTo>
                  <a:pt x="335" y="3"/>
                </a:lnTo>
                <a:lnTo>
                  <a:pt x="336" y="3"/>
                </a:lnTo>
                <a:lnTo>
                  <a:pt x="340" y="2"/>
                </a:lnTo>
                <a:lnTo>
                  <a:pt x="342" y="2"/>
                </a:lnTo>
                <a:lnTo>
                  <a:pt x="343" y="2"/>
                </a:lnTo>
                <a:lnTo>
                  <a:pt x="345" y="2"/>
                </a:lnTo>
                <a:lnTo>
                  <a:pt x="348" y="2"/>
                </a:lnTo>
                <a:lnTo>
                  <a:pt x="352" y="3"/>
                </a:lnTo>
                <a:lnTo>
                  <a:pt x="353" y="3"/>
                </a:lnTo>
                <a:lnTo>
                  <a:pt x="355" y="3"/>
                </a:lnTo>
                <a:lnTo>
                  <a:pt x="357" y="4"/>
                </a:lnTo>
                <a:lnTo>
                  <a:pt x="359" y="4"/>
                </a:lnTo>
                <a:lnTo>
                  <a:pt x="361" y="5"/>
                </a:lnTo>
                <a:lnTo>
                  <a:pt x="362" y="6"/>
                </a:lnTo>
                <a:lnTo>
                  <a:pt x="366" y="8"/>
                </a:lnTo>
                <a:lnTo>
                  <a:pt x="376" y="12"/>
                </a:lnTo>
                <a:lnTo>
                  <a:pt x="378" y="13"/>
                </a:lnTo>
                <a:lnTo>
                  <a:pt x="380" y="14"/>
                </a:lnTo>
                <a:lnTo>
                  <a:pt x="383" y="15"/>
                </a:lnTo>
                <a:lnTo>
                  <a:pt x="385" y="16"/>
                </a:lnTo>
                <a:lnTo>
                  <a:pt x="388" y="17"/>
                </a:lnTo>
                <a:lnTo>
                  <a:pt x="390" y="18"/>
                </a:lnTo>
                <a:lnTo>
                  <a:pt x="392" y="18"/>
                </a:lnTo>
                <a:lnTo>
                  <a:pt x="394" y="18"/>
                </a:lnTo>
                <a:lnTo>
                  <a:pt x="396" y="19"/>
                </a:lnTo>
                <a:lnTo>
                  <a:pt x="398" y="19"/>
                </a:lnTo>
                <a:lnTo>
                  <a:pt x="400" y="18"/>
                </a:lnTo>
                <a:lnTo>
                  <a:pt x="400" y="18"/>
                </a:lnTo>
                <a:lnTo>
                  <a:pt x="401" y="18"/>
                </a:lnTo>
                <a:lnTo>
                  <a:pt x="400" y="19"/>
                </a:lnTo>
                <a:lnTo>
                  <a:pt x="400" y="20"/>
                </a:lnTo>
                <a:lnTo>
                  <a:pt x="399" y="21"/>
                </a:lnTo>
                <a:lnTo>
                  <a:pt x="399" y="22"/>
                </a:lnTo>
                <a:lnTo>
                  <a:pt x="398" y="24"/>
                </a:lnTo>
                <a:lnTo>
                  <a:pt x="397" y="28"/>
                </a:lnTo>
                <a:lnTo>
                  <a:pt x="397" y="29"/>
                </a:lnTo>
                <a:lnTo>
                  <a:pt x="397" y="29"/>
                </a:lnTo>
                <a:lnTo>
                  <a:pt x="396" y="30"/>
                </a:lnTo>
                <a:lnTo>
                  <a:pt x="396" y="31"/>
                </a:lnTo>
                <a:lnTo>
                  <a:pt x="395" y="31"/>
                </a:lnTo>
                <a:lnTo>
                  <a:pt x="395" y="32"/>
                </a:lnTo>
                <a:lnTo>
                  <a:pt x="394" y="32"/>
                </a:lnTo>
                <a:lnTo>
                  <a:pt x="393" y="32"/>
                </a:lnTo>
                <a:lnTo>
                  <a:pt x="392" y="32"/>
                </a:lnTo>
                <a:lnTo>
                  <a:pt x="391" y="32"/>
                </a:lnTo>
                <a:lnTo>
                  <a:pt x="390" y="32"/>
                </a:lnTo>
                <a:lnTo>
                  <a:pt x="384" y="31"/>
                </a:lnTo>
                <a:lnTo>
                  <a:pt x="380" y="30"/>
                </a:lnTo>
                <a:lnTo>
                  <a:pt x="379" y="30"/>
                </a:lnTo>
                <a:lnTo>
                  <a:pt x="378" y="30"/>
                </a:lnTo>
                <a:lnTo>
                  <a:pt x="378" y="31"/>
                </a:lnTo>
                <a:lnTo>
                  <a:pt x="377" y="31"/>
                </a:lnTo>
                <a:lnTo>
                  <a:pt x="377" y="32"/>
                </a:lnTo>
                <a:lnTo>
                  <a:pt x="377" y="33"/>
                </a:lnTo>
                <a:lnTo>
                  <a:pt x="376" y="34"/>
                </a:lnTo>
                <a:lnTo>
                  <a:pt x="376" y="36"/>
                </a:lnTo>
                <a:lnTo>
                  <a:pt x="376" y="37"/>
                </a:lnTo>
                <a:lnTo>
                  <a:pt x="376" y="38"/>
                </a:lnTo>
                <a:lnTo>
                  <a:pt x="376" y="42"/>
                </a:lnTo>
                <a:lnTo>
                  <a:pt x="376" y="43"/>
                </a:lnTo>
                <a:lnTo>
                  <a:pt x="376" y="45"/>
                </a:lnTo>
                <a:lnTo>
                  <a:pt x="376" y="48"/>
                </a:lnTo>
                <a:lnTo>
                  <a:pt x="376" y="50"/>
                </a:lnTo>
                <a:lnTo>
                  <a:pt x="376" y="51"/>
                </a:lnTo>
                <a:lnTo>
                  <a:pt x="377" y="51"/>
                </a:lnTo>
                <a:lnTo>
                  <a:pt x="377" y="52"/>
                </a:lnTo>
                <a:lnTo>
                  <a:pt x="377" y="53"/>
                </a:lnTo>
                <a:lnTo>
                  <a:pt x="378" y="53"/>
                </a:lnTo>
                <a:lnTo>
                  <a:pt x="378" y="54"/>
                </a:lnTo>
                <a:lnTo>
                  <a:pt x="379" y="54"/>
                </a:lnTo>
                <a:lnTo>
                  <a:pt x="380" y="54"/>
                </a:lnTo>
                <a:lnTo>
                  <a:pt x="384" y="56"/>
                </a:lnTo>
                <a:lnTo>
                  <a:pt x="388" y="57"/>
                </a:lnTo>
                <a:lnTo>
                  <a:pt x="394" y="58"/>
                </a:lnTo>
                <a:lnTo>
                  <a:pt x="397" y="59"/>
                </a:lnTo>
                <a:lnTo>
                  <a:pt x="399" y="60"/>
                </a:lnTo>
                <a:lnTo>
                  <a:pt x="401" y="60"/>
                </a:lnTo>
                <a:lnTo>
                  <a:pt x="404" y="60"/>
                </a:lnTo>
                <a:lnTo>
                  <a:pt x="407" y="61"/>
                </a:lnTo>
                <a:lnTo>
                  <a:pt x="408" y="61"/>
                </a:lnTo>
                <a:lnTo>
                  <a:pt x="408" y="61"/>
                </a:lnTo>
                <a:lnTo>
                  <a:pt x="409" y="62"/>
                </a:lnTo>
                <a:lnTo>
                  <a:pt x="409" y="62"/>
                </a:lnTo>
                <a:lnTo>
                  <a:pt x="409" y="62"/>
                </a:lnTo>
                <a:lnTo>
                  <a:pt x="409" y="63"/>
                </a:lnTo>
                <a:lnTo>
                  <a:pt x="408" y="63"/>
                </a:lnTo>
                <a:lnTo>
                  <a:pt x="407" y="64"/>
                </a:lnTo>
                <a:lnTo>
                  <a:pt x="406" y="65"/>
                </a:lnTo>
                <a:lnTo>
                  <a:pt x="405" y="66"/>
                </a:lnTo>
                <a:lnTo>
                  <a:pt x="404" y="67"/>
                </a:lnTo>
                <a:lnTo>
                  <a:pt x="403" y="68"/>
                </a:lnTo>
                <a:lnTo>
                  <a:pt x="402" y="71"/>
                </a:lnTo>
                <a:lnTo>
                  <a:pt x="401" y="73"/>
                </a:lnTo>
                <a:lnTo>
                  <a:pt x="398" y="77"/>
                </a:lnTo>
                <a:lnTo>
                  <a:pt x="397" y="78"/>
                </a:lnTo>
                <a:lnTo>
                  <a:pt x="397" y="80"/>
                </a:lnTo>
                <a:lnTo>
                  <a:pt x="396" y="82"/>
                </a:lnTo>
                <a:lnTo>
                  <a:pt x="396" y="84"/>
                </a:lnTo>
                <a:lnTo>
                  <a:pt x="396" y="86"/>
                </a:lnTo>
                <a:lnTo>
                  <a:pt x="396" y="88"/>
                </a:lnTo>
                <a:lnTo>
                  <a:pt x="397" y="90"/>
                </a:lnTo>
                <a:lnTo>
                  <a:pt x="397" y="92"/>
                </a:lnTo>
                <a:lnTo>
                  <a:pt x="398" y="97"/>
                </a:lnTo>
                <a:lnTo>
                  <a:pt x="400" y="102"/>
                </a:lnTo>
                <a:lnTo>
                  <a:pt x="401" y="106"/>
                </a:lnTo>
                <a:lnTo>
                  <a:pt x="402" y="108"/>
                </a:lnTo>
                <a:lnTo>
                  <a:pt x="402" y="109"/>
                </a:lnTo>
                <a:lnTo>
                  <a:pt x="403" y="110"/>
                </a:lnTo>
                <a:lnTo>
                  <a:pt x="404" y="112"/>
                </a:lnTo>
                <a:lnTo>
                  <a:pt x="407" y="116"/>
                </a:lnTo>
                <a:lnTo>
                  <a:pt x="408" y="117"/>
                </a:lnTo>
                <a:lnTo>
                  <a:pt x="408" y="119"/>
                </a:lnTo>
                <a:lnTo>
                  <a:pt x="409" y="120"/>
                </a:lnTo>
                <a:lnTo>
                  <a:pt x="410" y="122"/>
                </a:lnTo>
                <a:lnTo>
                  <a:pt x="410" y="123"/>
                </a:lnTo>
                <a:lnTo>
                  <a:pt x="410" y="124"/>
                </a:lnTo>
                <a:lnTo>
                  <a:pt x="410" y="125"/>
                </a:lnTo>
                <a:lnTo>
                  <a:pt x="410" y="126"/>
                </a:lnTo>
                <a:lnTo>
                  <a:pt x="409" y="126"/>
                </a:lnTo>
                <a:lnTo>
                  <a:pt x="409" y="127"/>
                </a:lnTo>
                <a:lnTo>
                  <a:pt x="408" y="128"/>
                </a:lnTo>
                <a:lnTo>
                  <a:pt x="406" y="130"/>
                </a:lnTo>
                <a:lnTo>
                  <a:pt x="405" y="131"/>
                </a:lnTo>
                <a:lnTo>
                  <a:pt x="404" y="132"/>
                </a:lnTo>
                <a:lnTo>
                  <a:pt x="404" y="133"/>
                </a:lnTo>
                <a:lnTo>
                  <a:pt x="403" y="134"/>
                </a:lnTo>
                <a:lnTo>
                  <a:pt x="403" y="135"/>
                </a:lnTo>
                <a:lnTo>
                  <a:pt x="403" y="136"/>
                </a:lnTo>
                <a:lnTo>
                  <a:pt x="402" y="137"/>
                </a:lnTo>
                <a:lnTo>
                  <a:pt x="402" y="138"/>
                </a:lnTo>
                <a:lnTo>
                  <a:pt x="402" y="139"/>
                </a:lnTo>
                <a:lnTo>
                  <a:pt x="403" y="140"/>
                </a:lnTo>
                <a:lnTo>
                  <a:pt x="403" y="140"/>
                </a:lnTo>
                <a:lnTo>
                  <a:pt x="404" y="141"/>
                </a:lnTo>
                <a:lnTo>
                  <a:pt x="404" y="142"/>
                </a:lnTo>
                <a:lnTo>
                  <a:pt x="406" y="144"/>
                </a:lnTo>
                <a:lnTo>
                  <a:pt x="407" y="145"/>
                </a:lnTo>
                <a:lnTo>
                  <a:pt x="408" y="146"/>
                </a:lnTo>
                <a:lnTo>
                  <a:pt x="410" y="148"/>
                </a:lnTo>
                <a:lnTo>
                  <a:pt x="415" y="151"/>
                </a:lnTo>
                <a:lnTo>
                  <a:pt x="417" y="153"/>
                </a:lnTo>
                <a:lnTo>
                  <a:pt x="419" y="154"/>
                </a:lnTo>
                <a:lnTo>
                  <a:pt x="422" y="155"/>
                </a:lnTo>
                <a:lnTo>
                  <a:pt x="424" y="155"/>
                </a:lnTo>
                <a:lnTo>
                  <a:pt x="425" y="156"/>
                </a:lnTo>
                <a:lnTo>
                  <a:pt x="427" y="156"/>
                </a:lnTo>
                <a:lnTo>
                  <a:pt x="428" y="155"/>
                </a:lnTo>
                <a:lnTo>
                  <a:pt x="429" y="155"/>
                </a:lnTo>
                <a:lnTo>
                  <a:pt x="430" y="154"/>
                </a:lnTo>
                <a:lnTo>
                  <a:pt x="432" y="153"/>
                </a:lnTo>
                <a:lnTo>
                  <a:pt x="434" y="152"/>
                </a:lnTo>
                <a:lnTo>
                  <a:pt x="436" y="150"/>
                </a:lnTo>
                <a:lnTo>
                  <a:pt x="437" y="148"/>
                </a:lnTo>
                <a:lnTo>
                  <a:pt x="438" y="147"/>
                </a:lnTo>
                <a:lnTo>
                  <a:pt x="439" y="146"/>
                </a:lnTo>
                <a:lnTo>
                  <a:pt x="440" y="144"/>
                </a:lnTo>
                <a:lnTo>
                  <a:pt x="441" y="142"/>
                </a:lnTo>
                <a:lnTo>
                  <a:pt x="442" y="138"/>
                </a:lnTo>
                <a:lnTo>
                  <a:pt x="444" y="135"/>
                </a:lnTo>
                <a:lnTo>
                  <a:pt x="445" y="133"/>
                </a:lnTo>
                <a:lnTo>
                  <a:pt x="447" y="131"/>
                </a:lnTo>
                <a:lnTo>
                  <a:pt x="447" y="129"/>
                </a:lnTo>
                <a:lnTo>
                  <a:pt x="448" y="129"/>
                </a:lnTo>
                <a:lnTo>
                  <a:pt x="448" y="128"/>
                </a:lnTo>
                <a:lnTo>
                  <a:pt x="448" y="127"/>
                </a:lnTo>
                <a:lnTo>
                  <a:pt x="448" y="126"/>
                </a:lnTo>
                <a:lnTo>
                  <a:pt x="448" y="125"/>
                </a:lnTo>
                <a:lnTo>
                  <a:pt x="447" y="124"/>
                </a:lnTo>
                <a:lnTo>
                  <a:pt x="447" y="123"/>
                </a:lnTo>
                <a:lnTo>
                  <a:pt x="447" y="122"/>
                </a:lnTo>
                <a:lnTo>
                  <a:pt x="446" y="120"/>
                </a:lnTo>
                <a:lnTo>
                  <a:pt x="444" y="117"/>
                </a:lnTo>
                <a:lnTo>
                  <a:pt x="444" y="117"/>
                </a:lnTo>
                <a:lnTo>
                  <a:pt x="443" y="115"/>
                </a:lnTo>
                <a:lnTo>
                  <a:pt x="442" y="113"/>
                </a:lnTo>
                <a:lnTo>
                  <a:pt x="442" y="112"/>
                </a:lnTo>
                <a:lnTo>
                  <a:pt x="442" y="111"/>
                </a:lnTo>
                <a:lnTo>
                  <a:pt x="441" y="110"/>
                </a:lnTo>
                <a:lnTo>
                  <a:pt x="440" y="109"/>
                </a:lnTo>
                <a:lnTo>
                  <a:pt x="433" y="102"/>
                </a:lnTo>
                <a:lnTo>
                  <a:pt x="432" y="101"/>
                </a:lnTo>
                <a:lnTo>
                  <a:pt x="432" y="101"/>
                </a:lnTo>
                <a:lnTo>
                  <a:pt x="431" y="100"/>
                </a:lnTo>
                <a:lnTo>
                  <a:pt x="431" y="99"/>
                </a:lnTo>
                <a:lnTo>
                  <a:pt x="430" y="98"/>
                </a:lnTo>
                <a:lnTo>
                  <a:pt x="430" y="97"/>
                </a:lnTo>
                <a:lnTo>
                  <a:pt x="429" y="96"/>
                </a:lnTo>
                <a:lnTo>
                  <a:pt x="429" y="96"/>
                </a:lnTo>
                <a:lnTo>
                  <a:pt x="429" y="96"/>
                </a:lnTo>
                <a:lnTo>
                  <a:pt x="430" y="95"/>
                </a:lnTo>
                <a:lnTo>
                  <a:pt x="430" y="95"/>
                </a:lnTo>
                <a:lnTo>
                  <a:pt x="430" y="94"/>
                </a:lnTo>
                <a:lnTo>
                  <a:pt x="432" y="92"/>
                </a:lnTo>
                <a:lnTo>
                  <a:pt x="434" y="90"/>
                </a:lnTo>
                <a:lnTo>
                  <a:pt x="436" y="89"/>
                </a:lnTo>
                <a:lnTo>
                  <a:pt x="438" y="88"/>
                </a:lnTo>
                <a:lnTo>
                  <a:pt x="441" y="86"/>
                </a:lnTo>
                <a:lnTo>
                  <a:pt x="443" y="85"/>
                </a:lnTo>
                <a:lnTo>
                  <a:pt x="445" y="85"/>
                </a:lnTo>
                <a:lnTo>
                  <a:pt x="446" y="84"/>
                </a:lnTo>
                <a:lnTo>
                  <a:pt x="448" y="84"/>
                </a:lnTo>
                <a:lnTo>
                  <a:pt x="449" y="84"/>
                </a:lnTo>
                <a:lnTo>
                  <a:pt x="451" y="84"/>
                </a:lnTo>
                <a:lnTo>
                  <a:pt x="453" y="85"/>
                </a:lnTo>
                <a:lnTo>
                  <a:pt x="457" y="86"/>
                </a:lnTo>
                <a:lnTo>
                  <a:pt x="459" y="87"/>
                </a:lnTo>
                <a:lnTo>
                  <a:pt x="460" y="87"/>
                </a:lnTo>
                <a:lnTo>
                  <a:pt x="461" y="87"/>
                </a:lnTo>
                <a:lnTo>
                  <a:pt x="462" y="88"/>
                </a:lnTo>
                <a:lnTo>
                  <a:pt x="463" y="89"/>
                </a:lnTo>
                <a:lnTo>
                  <a:pt x="464" y="90"/>
                </a:lnTo>
                <a:lnTo>
                  <a:pt x="466" y="92"/>
                </a:lnTo>
                <a:lnTo>
                  <a:pt x="467" y="94"/>
                </a:lnTo>
                <a:lnTo>
                  <a:pt x="467" y="94"/>
                </a:lnTo>
                <a:lnTo>
                  <a:pt x="468" y="97"/>
                </a:lnTo>
                <a:lnTo>
                  <a:pt x="470" y="99"/>
                </a:lnTo>
                <a:lnTo>
                  <a:pt x="471" y="100"/>
                </a:lnTo>
                <a:lnTo>
                  <a:pt x="473" y="103"/>
                </a:lnTo>
                <a:lnTo>
                  <a:pt x="474" y="104"/>
                </a:lnTo>
                <a:lnTo>
                  <a:pt x="474" y="105"/>
                </a:lnTo>
                <a:lnTo>
                  <a:pt x="475" y="107"/>
                </a:lnTo>
                <a:lnTo>
                  <a:pt x="476" y="107"/>
                </a:lnTo>
                <a:lnTo>
                  <a:pt x="477" y="108"/>
                </a:lnTo>
                <a:lnTo>
                  <a:pt x="478" y="110"/>
                </a:lnTo>
                <a:lnTo>
                  <a:pt x="479" y="111"/>
                </a:lnTo>
                <a:lnTo>
                  <a:pt x="479" y="113"/>
                </a:lnTo>
                <a:lnTo>
                  <a:pt x="480" y="114"/>
                </a:lnTo>
                <a:lnTo>
                  <a:pt x="481" y="118"/>
                </a:lnTo>
                <a:lnTo>
                  <a:pt x="483" y="123"/>
                </a:lnTo>
                <a:lnTo>
                  <a:pt x="484" y="127"/>
                </a:lnTo>
                <a:lnTo>
                  <a:pt x="484" y="128"/>
                </a:lnTo>
                <a:lnTo>
                  <a:pt x="485" y="129"/>
                </a:lnTo>
                <a:lnTo>
                  <a:pt x="486" y="130"/>
                </a:lnTo>
                <a:lnTo>
                  <a:pt x="486" y="131"/>
                </a:lnTo>
                <a:lnTo>
                  <a:pt x="487" y="132"/>
                </a:lnTo>
                <a:lnTo>
                  <a:pt x="490" y="135"/>
                </a:lnTo>
                <a:lnTo>
                  <a:pt x="491" y="135"/>
                </a:lnTo>
                <a:lnTo>
                  <a:pt x="491" y="136"/>
                </a:lnTo>
                <a:lnTo>
                  <a:pt x="492" y="137"/>
                </a:lnTo>
                <a:lnTo>
                  <a:pt x="492" y="138"/>
                </a:lnTo>
                <a:lnTo>
                  <a:pt x="494" y="141"/>
                </a:lnTo>
                <a:lnTo>
                  <a:pt x="495" y="143"/>
                </a:lnTo>
                <a:lnTo>
                  <a:pt x="495" y="144"/>
                </a:lnTo>
                <a:lnTo>
                  <a:pt x="497" y="145"/>
                </a:lnTo>
                <a:lnTo>
                  <a:pt x="498" y="147"/>
                </a:lnTo>
                <a:lnTo>
                  <a:pt x="499" y="148"/>
                </a:lnTo>
                <a:lnTo>
                  <a:pt x="500" y="149"/>
                </a:lnTo>
                <a:lnTo>
                  <a:pt x="500" y="149"/>
                </a:lnTo>
                <a:lnTo>
                  <a:pt x="501" y="150"/>
                </a:lnTo>
                <a:lnTo>
                  <a:pt x="502" y="150"/>
                </a:lnTo>
                <a:lnTo>
                  <a:pt x="502" y="150"/>
                </a:lnTo>
                <a:lnTo>
                  <a:pt x="503" y="151"/>
                </a:lnTo>
                <a:lnTo>
                  <a:pt x="503" y="151"/>
                </a:lnTo>
                <a:lnTo>
                  <a:pt x="504" y="151"/>
                </a:lnTo>
                <a:lnTo>
                  <a:pt x="505" y="150"/>
                </a:lnTo>
                <a:lnTo>
                  <a:pt x="505" y="150"/>
                </a:lnTo>
                <a:lnTo>
                  <a:pt x="506" y="150"/>
                </a:lnTo>
                <a:lnTo>
                  <a:pt x="506" y="149"/>
                </a:lnTo>
                <a:lnTo>
                  <a:pt x="507" y="147"/>
                </a:lnTo>
                <a:lnTo>
                  <a:pt x="508" y="146"/>
                </a:lnTo>
                <a:lnTo>
                  <a:pt x="508" y="146"/>
                </a:lnTo>
                <a:lnTo>
                  <a:pt x="509" y="146"/>
                </a:lnTo>
                <a:lnTo>
                  <a:pt x="509" y="146"/>
                </a:lnTo>
                <a:lnTo>
                  <a:pt x="510" y="146"/>
                </a:lnTo>
                <a:lnTo>
                  <a:pt x="510" y="146"/>
                </a:lnTo>
                <a:lnTo>
                  <a:pt x="510" y="147"/>
                </a:lnTo>
                <a:lnTo>
                  <a:pt x="510" y="148"/>
                </a:lnTo>
                <a:lnTo>
                  <a:pt x="511" y="149"/>
                </a:lnTo>
                <a:lnTo>
                  <a:pt x="511" y="151"/>
                </a:lnTo>
                <a:lnTo>
                  <a:pt x="511" y="153"/>
                </a:lnTo>
                <a:lnTo>
                  <a:pt x="510" y="155"/>
                </a:lnTo>
                <a:lnTo>
                  <a:pt x="510" y="158"/>
                </a:lnTo>
                <a:lnTo>
                  <a:pt x="510" y="159"/>
                </a:lnTo>
                <a:lnTo>
                  <a:pt x="509" y="164"/>
                </a:lnTo>
                <a:lnTo>
                  <a:pt x="508" y="168"/>
                </a:lnTo>
                <a:lnTo>
                  <a:pt x="508" y="171"/>
                </a:lnTo>
                <a:lnTo>
                  <a:pt x="508" y="172"/>
                </a:lnTo>
                <a:lnTo>
                  <a:pt x="508" y="172"/>
                </a:lnTo>
                <a:lnTo>
                  <a:pt x="508" y="173"/>
                </a:lnTo>
                <a:lnTo>
                  <a:pt x="508" y="173"/>
                </a:lnTo>
                <a:lnTo>
                  <a:pt x="509" y="174"/>
                </a:lnTo>
                <a:lnTo>
                  <a:pt x="509" y="175"/>
                </a:lnTo>
                <a:lnTo>
                  <a:pt x="510" y="175"/>
                </a:lnTo>
                <a:lnTo>
                  <a:pt x="511" y="176"/>
                </a:lnTo>
                <a:lnTo>
                  <a:pt x="512" y="177"/>
                </a:lnTo>
                <a:lnTo>
                  <a:pt x="515" y="178"/>
                </a:lnTo>
                <a:lnTo>
                  <a:pt x="517" y="180"/>
                </a:lnTo>
                <a:lnTo>
                  <a:pt x="520" y="181"/>
                </a:lnTo>
                <a:lnTo>
                  <a:pt x="522" y="182"/>
                </a:lnTo>
                <a:lnTo>
                  <a:pt x="526" y="183"/>
                </a:lnTo>
                <a:lnTo>
                  <a:pt x="530" y="184"/>
                </a:lnTo>
                <a:lnTo>
                  <a:pt x="532" y="185"/>
                </a:lnTo>
                <a:lnTo>
                  <a:pt x="534" y="186"/>
                </a:lnTo>
                <a:lnTo>
                  <a:pt x="537" y="187"/>
                </a:lnTo>
                <a:lnTo>
                  <a:pt x="538" y="188"/>
                </a:lnTo>
                <a:lnTo>
                  <a:pt x="540" y="190"/>
                </a:lnTo>
                <a:lnTo>
                  <a:pt x="544" y="193"/>
                </a:lnTo>
                <a:lnTo>
                  <a:pt x="546" y="194"/>
                </a:lnTo>
                <a:lnTo>
                  <a:pt x="546" y="195"/>
                </a:lnTo>
                <a:lnTo>
                  <a:pt x="547" y="196"/>
                </a:lnTo>
                <a:lnTo>
                  <a:pt x="548" y="197"/>
                </a:lnTo>
                <a:lnTo>
                  <a:pt x="548" y="198"/>
                </a:lnTo>
                <a:lnTo>
                  <a:pt x="549" y="200"/>
                </a:lnTo>
                <a:lnTo>
                  <a:pt x="551" y="207"/>
                </a:lnTo>
                <a:lnTo>
                  <a:pt x="552" y="211"/>
                </a:lnTo>
                <a:lnTo>
                  <a:pt x="553" y="213"/>
                </a:lnTo>
                <a:lnTo>
                  <a:pt x="555" y="218"/>
                </a:lnTo>
                <a:lnTo>
                  <a:pt x="557" y="224"/>
                </a:lnTo>
                <a:lnTo>
                  <a:pt x="558" y="226"/>
                </a:lnTo>
                <a:lnTo>
                  <a:pt x="558" y="226"/>
                </a:lnTo>
                <a:lnTo>
                  <a:pt x="553" y="236"/>
                </a:lnTo>
                <a:lnTo>
                  <a:pt x="552" y="239"/>
                </a:lnTo>
                <a:lnTo>
                  <a:pt x="551" y="241"/>
                </a:lnTo>
                <a:lnTo>
                  <a:pt x="550" y="242"/>
                </a:lnTo>
                <a:lnTo>
                  <a:pt x="550" y="243"/>
                </a:lnTo>
                <a:lnTo>
                  <a:pt x="550" y="245"/>
                </a:lnTo>
                <a:lnTo>
                  <a:pt x="549" y="247"/>
                </a:lnTo>
                <a:lnTo>
                  <a:pt x="550" y="249"/>
                </a:lnTo>
                <a:lnTo>
                  <a:pt x="550" y="250"/>
                </a:lnTo>
                <a:lnTo>
                  <a:pt x="551" y="254"/>
                </a:lnTo>
                <a:lnTo>
                  <a:pt x="551" y="256"/>
                </a:lnTo>
                <a:lnTo>
                  <a:pt x="551" y="258"/>
                </a:lnTo>
                <a:lnTo>
                  <a:pt x="552" y="263"/>
                </a:lnTo>
                <a:lnTo>
                  <a:pt x="552" y="265"/>
                </a:lnTo>
                <a:lnTo>
                  <a:pt x="552" y="266"/>
                </a:lnTo>
                <a:lnTo>
                  <a:pt x="553" y="268"/>
                </a:lnTo>
                <a:lnTo>
                  <a:pt x="553" y="270"/>
                </a:lnTo>
                <a:lnTo>
                  <a:pt x="556" y="276"/>
                </a:lnTo>
                <a:lnTo>
                  <a:pt x="558" y="280"/>
                </a:lnTo>
                <a:lnTo>
                  <a:pt x="558" y="281"/>
                </a:lnTo>
                <a:lnTo>
                  <a:pt x="558" y="282"/>
                </a:lnTo>
                <a:lnTo>
                  <a:pt x="558" y="283"/>
                </a:lnTo>
                <a:lnTo>
                  <a:pt x="558" y="284"/>
                </a:lnTo>
                <a:lnTo>
                  <a:pt x="558" y="287"/>
                </a:lnTo>
                <a:lnTo>
                  <a:pt x="558" y="288"/>
                </a:lnTo>
                <a:lnTo>
                  <a:pt x="559" y="289"/>
                </a:lnTo>
                <a:lnTo>
                  <a:pt x="559" y="289"/>
                </a:lnTo>
                <a:lnTo>
                  <a:pt x="559" y="290"/>
                </a:lnTo>
                <a:lnTo>
                  <a:pt x="559" y="290"/>
                </a:lnTo>
                <a:lnTo>
                  <a:pt x="560" y="290"/>
                </a:lnTo>
                <a:lnTo>
                  <a:pt x="561" y="291"/>
                </a:lnTo>
                <a:lnTo>
                  <a:pt x="562" y="291"/>
                </a:lnTo>
                <a:lnTo>
                  <a:pt x="564" y="291"/>
                </a:lnTo>
                <a:lnTo>
                  <a:pt x="568" y="291"/>
                </a:lnTo>
                <a:lnTo>
                  <a:pt x="569" y="291"/>
                </a:lnTo>
                <a:lnTo>
                  <a:pt x="572" y="290"/>
                </a:lnTo>
                <a:lnTo>
                  <a:pt x="572" y="290"/>
                </a:lnTo>
                <a:lnTo>
                  <a:pt x="573" y="290"/>
                </a:lnTo>
                <a:lnTo>
                  <a:pt x="574" y="291"/>
                </a:lnTo>
                <a:lnTo>
                  <a:pt x="575" y="291"/>
                </a:lnTo>
                <a:lnTo>
                  <a:pt x="575" y="292"/>
                </a:lnTo>
                <a:lnTo>
                  <a:pt x="576" y="292"/>
                </a:lnTo>
                <a:lnTo>
                  <a:pt x="576" y="293"/>
                </a:lnTo>
                <a:lnTo>
                  <a:pt x="576" y="294"/>
                </a:lnTo>
                <a:lnTo>
                  <a:pt x="576" y="296"/>
                </a:lnTo>
                <a:lnTo>
                  <a:pt x="576" y="297"/>
                </a:lnTo>
                <a:lnTo>
                  <a:pt x="576" y="298"/>
                </a:lnTo>
                <a:lnTo>
                  <a:pt x="576" y="300"/>
                </a:lnTo>
                <a:lnTo>
                  <a:pt x="576" y="302"/>
                </a:lnTo>
                <a:lnTo>
                  <a:pt x="575" y="304"/>
                </a:lnTo>
                <a:lnTo>
                  <a:pt x="574" y="306"/>
                </a:lnTo>
                <a:lnTo>
                  <a:pt x="574" y="308"/>
                </a:lnTo>
                <a:lnTo>
                  <a:pt x="573" y="309"/>
                </a:lnTo>
                <a:lnTo>
                  <a:pt x="572" y="311"/>
                </a:lnTo>
                <a:lnTo>
                  <a:pt x="571" y="312"/>
                </a:lnTo>
                <a:lnTo>
                  <a:pt x="571" y="313"/>
                </a:lnTo>
                <a:lnTo>
                  <a:pt x="570" y="313"/>
                </a:lnTo>
                <a:lnTo>
                  <a:pt x="568" y="315"/>
                </a:lnTo>
                <a:lnTo>
                  <a:pt x="565" y="318"/>
                </a:lnTo>
                <a:lnTo>
                  <a:pt x="562" y="319"/>
                </a:lnTo>
                <a:lnTo>
                  <a:pt x="561" y="320"/>
                </a:lnTo>
                <a:lnTo>
                  <a:pt x="559" y="321"/>
                </a:lnTo>
                <a:lnTo>
                  <a:pt x="558" y="322"/>
                </a:lnTo>
                <a:lnTo>
                  <a:pt x="557" y="324"/>
                </a:lnTo>
                <a:lnTo>
                  <a:pt x="556" y="326"/>
                </a:lnTo>
                <a:lnTo>
                  <a:pt x="555" y="327"/>
                </a:lnTo>
                <a:lnTo>
                  <a:pt x="553" y="333"/>
                </a:lnTo>
                <a:lnTo>
                  <a:pt x="551" y="335"/>
                </a:lnTo>
                <a:lnTo>
                  <a:pt x="551" y="336"/>
                </a:lnTo>
                <a:lnTo>
                  <a:pt x="550" y="337"/>
                </a:lnTo>
                <a:lnTo>
                  <a:pt x="549" y="338"/>
                </a:lnTo>
                <a:lnTo>
                  <a:pt x="548" y="339"/>
                </a:lnTo>
                <a:lnTo>
                  <a:pt x="546" y="341"/>
                </a:lnTo>
                <a:lnTo>
                  <a:pt x="545" y="341"/>
                </a:lnTo>
                <a:lnTo>
                  <a:pt x="544" y="342"/>
                </a:lnTo>
                <a:lnTo>
                  <a:pt x="544" y="343"/>
                </a:lnTo>
                <a:lnTo>
                  <a:pt x="543" y="344"/>
                </a:lnTo>
                <a:lnTo>
                  <a:pt x="543" y="345"/>
                </a:lnTo>
                <a:lnTo>
                  <a:pt x="543" y="347"/>
                </a:lnTo>
                <a:lnTo>
                  <a:pt x="543" y="348"/>
                </a:lnTo>
                <a:lnTo>
                  <a:pt x="543" y="350"/>
                </a:lnTo>
                <a:lnTo>
                  <a:pt x="543" y="352"/>
                </a:lnTo>
                <a:lnTo>
                  <a:pt x="544" y="354"/>
                </a:lnTo>
                <a:lnTo>
                  <a:pt x="544" y="354"/>
                </a:lnTo>
                <a:lnTo>
                  <a:pt x="544" y="355"/>
                </a:lnTo>
                <a:lnTo>
                  <a:pt x="545" y="355"/>
                </a:lnTo>
                <a:lnTo>
                  <a:pt x="546" y="356"/>
                </a:lnTo>
                <a:lnTo>
                  <a:pt x="547" y="356"/>
                </a:lnTo>
                <a:lnTo>
                  <a:pt x="548" y="356"/>
                </a:lnTo>
                <a:lnTo>
                  <a:pt x="549" y="356"/>
                </a:lnTo>
                <a:lnTo>
                  <a:pt x="550" y="357"/>
                </a:lnTo>
                <a:lnTo>
                  <a:pt x="552" y="356"/>
                </a:lnTo>
                <a:lnTo>
                  <a:pt x="554" y="356"/>
                </a:lnTo>
                <a:lnTo>
                  <a:pt x="555" y="356"/>
                </a:lnTo>
                <a:lnTo>
                  <a:pt x="557" y="355"/>
                </a:lnTo>
                <a:lnTo>
                  <a:pt x="561" y="354"/>
                </a:lnTo>
                <a:lnTo>
                  <a:pt x="571" y="351"/>
                </a:lnTo>
                <a:lnTo>
                  <a:pt x="573" y="350"/>
                </a:lnTo>
                <a:lnTo>
                  <a:pt x="576" y="349"/>
                </a:lnTo>
                <a:lnTo>
                  <a:pt x="577" y="349"/>
                </a:lnTo>
                <a:lnTo>
                  <a:pt x="578" y="349"/>
                </a:lnTo>
                <a:lnTo>
                  <a:pt x="579" y="349"/>
                </a:lnTo>
                <a:lnTo>
                  <a:pt x="581" y="349"/>
                </a:lnTo>
                <a:lnTo>
                  <a:pt x="582" y="349"/>
                </a:lnTo>
                <a:lnTo>
                  <a:pt x="582" y="349"/>
                </a:lnTo>
                <a:lnTo>
                  <a:pt x="583" y="350"/>
                </a:lnTo>
                <a:lnTo>
                  <a:pt x="584" y="350"/>
                </a:lnTo>
                <a:lnTo>
                  <a:pt x="585" y="351"/>
                </a:lnTo>
                <a:lnTo>
                  <a:pt x="586" y="352"/>
                </a:lnTo>
                <a:lnTo>
                  <a:pt x="587" y="355"/>
                </a:lnTo>
                <a:lnTo>
                  <a:pt x="589" y="357"/>
                </a:lnTo>
                <a:lnTo>
                  <a:pt x="590" y="358"/>
                </a:lnTo>
                <a:lnTo>
                  <a:pt x="590" y="360"/>
                </a:lnTo>
                <a:lnTo>
                  <a:pt x="591" y="362"/>
                </a:lnTo>
                <a:lnTo>
                  <a:pt x="591" y="363"/>
                </a:lnTo>
                <a:lnTo>
                  <a:pt x="591" y="365"/>
                </a:lnTo>
                <a:lnTo>
                  <a:pt x="591" y="366"/>
                </a:lnTo>
                <a:lnTo>
                  <a:pt x="591" y="369"/>
                </a:lnTo>
                <a:lnTo>
                  <a:pt x="591" y="374"/>
                </a:lnTo>
                <a:lnTo>
                  <a:pt x="591" y="376"/>
                </a:lnTo>
                <a:lnTo>
                  <a:pt x="591" y="377"/>
                </a:lnTo>
                <a:lnTo>
                  <a:pt x="591" y="378"/>
                </a:lnTo>
                <a:lnTo>
                  <a:pt x="591" y="378"/>
                </a:lnTo>
                <a:lnTo>
                  <a:pt x="592" y="379"/>
                </a:lnTo>
                <a:lnTo>
                  <a:pt x="592" y="380"/>
                </a:lnTo>
                <a:lnTo>
                  <a:pt x="593" y="380"/>
                </a:lnTo>
                <a:lnTo>
                  <a:pt x="593" y="380"/>
                </a:lnTo>
                <a:lnTo>
                  <a:pt x="597" y="381"/>
                </a:lnTo>
                <a:lnTo>
                  <a:pt x="599" y="382"/>
                </a:lnTo>
                <a:lnTo>
                  <a:pt x="600" y="382"/>
                </a:lnTo>
                <a:lnTo>
                  <a:pt x="601" y="383"/>
                </a:lnTo>
                <a:lnTo>
                  <a:pt x="603" y="384"/>
                </a:lnTo>
                <a:lnTo>
                  <a:pt x="606" y="385"/>
                </a:lnTo>
                <a:lnTo>
                  <a:pt x="607" y="385"/>
                </a:lnTo>
                <a:lnTo>
                  <a:pt x="608" y="386"/>
                </a:lnTo>
                <a:lnTo>
                  <a:pt x="609" y="387"/>
                </a:lnTo>
                <a:lnTo>
                  <a:pt x="611" y="389"/>
                </a:lnTo>
                <a:lnTo>
                  <a:pt x="613" y="391"/>
                </a:lnTo>
                <a:lnTo>
                  <a:pt x="614" y="391"/>
                </a:lnTo>
                <a:lnTo>
                  <a:pt x="614" y="392"/>
                </a:lnTo>
                <a:lnTo>
                  <a:pt x="616" y="393"/>
                </a:lnTo>
                <a:lnTo>
                  <a:pt x="617" y="393"/>
                </a:lnTo>
                <a:lnTo>
                  <a:pt x="618" y="393"/>
                </a:lnTo>
                <a:lnTo>
                  <a:pt x="626" y="394"/>
                </a:lnTo>
                <a:lnTo>
                  <a:pt x="630" y="395"/>
                </a:lnTo>
                <a:lnTo>
                  <a:pt x="637" y="396"/>
                </a:lnTo>
                <a:lnTo>
                  <a:pt x="638" y="396"/>
                </a:lnTo>
                <a:lnTo>
                  <a:pt x="640" y="397"/>
                </a:lnTo>
                <a:lnTo>
                  <a:pt x="641" y="397"/>
                </a:lnTo>
                <a:lnTo>
                  <a:pt x="642" y="398"/>
                </a:lnTo>
                <a:lnTo>
                  <a:pt x="644" y="399"/>
                </a:lnTo>
                <a:lnTo>
                  <a:pt x="645" y="400"/>
                </a:lnTo>
                <a:lnTo>
                  <a:pt x="646" y="402"/>
                </a:lnTo>
                <a:lnTo>
                  <a:pt x="647" y="402"/>
                </a:lnTo>
                <a:lnTo>
                  <a:pt x="647" y="403"/>
                </a:lnTo>
                <a:lnTo>
                  <a:pt x="648" y="404"/>
                </a:lnTo>
                <a:lnTo>
                  <a:pt x="648" y="406"/>
                </a:lnTo>
                <a:lnTo>
                  <a:pt x="648" y="408"/>
                </a:lnTo>
                <a:lnTo>
                  <a:pt x="649" y="412"/>
                </a:lnTo>
                <a:lnTo>
                  <a:pt x="649" y="413"/>
                </a:lnTo>
                <a:lnTo>
                  <a:pt x="649" y="414"/>
                </a:lnTo>
                <a:lnTo>
                  <a:pt x="650" y="415"/>
                </a:lnTo>
                <a:lnTo>
                  <a:pt x="650" y="416"/>
                </a:lnTo>
                <a:lnTo>
                  <a:pt x="651" y="416"/>
                </a:lnTo>
                <a:lnTo>
                  <a:pt x="651" y="417"/>
                </a:lnTo>
                <a:lnTo>
                  <a:pt x="652" y="417"/>
                </a:lnTo>
                <a:lnTo>
                  <a:pt x="653" y="418"/>
                </a:lnTo>
                <a:lnTo>
                  <a:pt x="655" y="418"/>
                </a:lnTo>
                <a:lnTo>
                  <a:pt x="657" y="418"/>
                </a:lnTo>
                <a:lnTo>
                  <a:pt x="660" y="419"/>
                </a:lnTo>
                <a:lnTo>
                  <a:pt x="661" y="419"/>
                </a:lnTo>
                <a:lnTo>
                  <a:pt x="663" y="419"/>
                </a:lnTo>
                <a:lnTo>
                  <a:pt x="664" y="420"/>
                </a:lnTo>
                <a:lnTo>
                  <a:pt x="665" y="420"/>
                </a:lnTo>
                <a:lnTo>
                  <a:pt x="666" y="421"/>
                </a:lnTo>
                <a:lnTo>
                  <a:pt x="674" y="427"/>
                </a:lnTo>
                <a:lnTo>
                  <a:pt x="676" y="428"/>
                </a:lnTo>
                <a:lnTo>
                  <a:pt x="678" y="429"/>
                </a:lnTo>
                <a:lnTo>
                  <a:pt x="679" y="430"/>
                </a:lnTo>
                <a:lnTo>
                  <a:pt x="681" y="431"/>
                </a:lnTo>
                <a:lnTo>
                  <a:pt x="682" y="431"/>
                </a:lnTo>
                <a:lnTo>
                  <a:pt x="683" y="431"/>
                </a:lnTo>
                <a:lnTo>
                  <a:pt x="684" y="431"/>
                </a:lnTo>
                <a:lnTo>
                  <a:pt x="685" y="431"/>
                </a:lnTo>
                <a:lnTo>
                  <a:pt x="687" y="431"/>
                </a:lnTo>
                <a:lnTo>
                  <a:pt x="689" y="431"/>
                </a:lnTo>
                <a:lnTo>
                  <a:pt x="694" y="430"/>
                </a:lnTo>
                <a:lnTo>
                  <a:pt x="697" y="429"/>
                </a:lnTo>
                <a:lnTo>
                  <a:pt x="699" y="429"/>
                </a:lnTo>
                <a:lnTo>
                  <a:pt x="703" y="429"/>
                </a:lnTo>
                <a:lnTo>
                  <a:pt x="708" y="428"/>
                </a:lnTo>
                <a:lnTo>
                  <a:pt x="709" y="428"/>
                </a:lnTo>
                <a:lnTo>
                  <a:pt x="710" y="428"/>
                </a:lnTo>
                <a:lnTo>
                  <a:pt x="711" y="428"/>
                </a:lnTo>
                <a:lnTo>
                  <a:pt x="712" y="428"/>
                </a:lnTo>
                <a:lnTo>
                  <a:pt x="713" y="429"/>
                </a:lnTo>
                <a:lnTo>
                  <a:pt x="716" y="430"/>
                </a:lnTo>
                <a:lnTo>
                  <a:pt x="720" y="431"/>
                </a:lnTo>
                <a:lnTo>
                  <a:pt x="721" y="432"/>
                </a:lnTo>
                <a:lnTo>
                  <a:pt x="723" y="432"/>
                </a:lnTo>
                <a:lnTo>
                  <a:pt x="724" y="433"/>
                </a:lnTo>
                <a:lnTo>
                  <a:pt x="726" y="435"/>
                </a:lnTo>
                <a:lnTo>
                  <a:pt x="727" y="436"/>
                </a:lnTo>
                <a:lnTo>
                  <a:pt x="728" y="436"/>
                </a:lnTo>
                <a:lnTo>
                  <a:pt x="729" y="437"/>
                </a:lnTo>
                <a:lnTo>
                  <a:pt x="729" y="438"/>
                </a:lnTo>
                <a:lnTo>
                  <a:pt x="729" y="439"/>
                </a:lnTo>
                <a:lnTo>
                  <a:pt x="730" y="439"/>
                </a:lnTo>
                <a:lnTo>
                  <a:pt x="730" y="440"/>
                </a:lnTo>
                <a:lnTo>
                  <a:pt x="730" y="441"/>
                </a:lnTo>
                <a:lnTo>
                  <a:pt x="731" y="443"/>
                </a:lnTo>
                <a:lnTo>
                  <a:pt x="731" y="446"/>
                </a:lnTo>
                <a:lnTo>
                  <a:pt x="731" y="448"/>
                </a:lnTo>
                <a:lnTo>
                  <a:pt x="731" y="448"/>
                </a:lnTo>
                <a:lnTo>
                  <a:pt x="732" y="449"/>
                </a:lnTo>
                <a:lnTo>
                  <a:pt x="732" y="450"/>
                </a:lnTo>
                <a:lnTo>
                  <a:pt x="733" y="451"/>
                </a:lnTo>
                <a:lnTo>
                  <a:pt x="733" y="451"/>
                </a:lnTo>
                <a:lnTo>
                  <a:pt x="734" y="452"/>
                </a:lnTo>
                <a:lnTo>
                  <a:pt x="735" y="452"/>
                </a:lnTo>
                <a:lnTo>
                  <a:pt x="736" y="453"/>
                </a:lnTo>
                <a:lnTo>
                  <a:pt x="739" y="454"/>
                </a:lnTo>
                <a:lnTo>
                  <a:pt x="741" y="455"/>
                </a:lnTo>
                <a:lnTo>
                  <a:pt x="751" y="459"/>
                </a:lnTo>
                <a:lnTo>
                  <a:pt x="752" y="460"/>
                </a:lnTo>
                <a:lnTo>
                  <a:pt x="754" y="461"/>
                </a:lnTo>
                <a:lnTo>
                  <a:pt x="756" y="463"/>
                </a:lnTo>
                <a:lnTo>
                  <a:pt x="757" y="464"/>
                </a:lnTo>
                <a:lnTo>
                  <a:pt x="759" y="466"/>
                </a:lnTo>
                <a:lnTo>
                  <a:pt x="760" y="468"/>
                </a:lnTo>
                <a:lnTo>
                  <a:pt x="762" y="470"/>
                </a:lnTo>
                <a:lnTo>
                  <a:pt x="767" y="477"/>
                </a:lnTo>
                <a:lnTo>
                  <a:pt x="770" y="481"/>
                </a:lnTo>
                <a:lnTo>
                  <a:pt x="771" y="483"/>
                </a:lnTo>
                <a:lnTo>
                  <a:pt x="772" y="484"/>
                </a:lnTo>
                <a:lnTo>
                  <a:pt x="773" y="486"/>
                </a:lnTo>
                <a:lnTo>
                  <a:pt x="774" y="491"/>
                </a:lnTo>
                <a:lnTo>
                  <a:pt x="775" y="493"/>
                </a:lnTo>
                <a:lnTo>
                  <a:pt x="776" y="495"/>
                </a:lnTo>
                <a:lnTo>
                  <a:pt x="776" y="495"/>
                </a:lnTo>
                <a:lnTo>
                  <a:pt x="777" y="495"/>
                </a:lnTo>
                <a:lnTo>
                  <a:pt x="776" y="495"/>
                </a:lnTo>
                <a:lnTo>
                  <a:pt x="776" y="495"/>
                </a:lnTo>
                <a:lnTo>
                  <a:pt x="775" y="495"/>
                </a:lnTo>
                <a:lnTo>
                  <a:pt x="775" y="496"/>
                </a:lnTo>
                <a:lnTo>
                  <a:pt x="773" y="496"/>
                </a:lnTo>
                <a:lnTo>
                  <a:pt x="771" y="498"/>
                </a:lnTo>
                <a:lnTo>
                  <a:pt x="766" y="501"/>
                </a:lnTo>
                <a:lnTo>
                  <a:pt x="760" y="506"/>
                </a:lnTo>
                <a:lnTo>
                  <a:pt x="758" y="508"/>
                </a:lnTo>
                <a:lnTo>
                  <a:pt x="754" y="511"/>
                </a:lnTo>
                <a:lnTo>
                  <a:pt x="752" y="512"/>
                </a:lnTo>
                <a:lnTo>
                  <a:pt x="751" y="513"/>
                </a:lnTo>
                <a:lnTo>
                  <a:pt x="750" y="513"/>
                </a:lnTo>
                <a:lnTo>
                  <a:pt x="749" y="514"/>
                </a:lnTo>
                <a:lnTo>
                  <a:pt x="748" y="514"/>
                </a:lnTo>
                <a:lnTo>
                  <a:pt x="747" y="514"/>
                </a:lnTo>
                <a:lnTo>
                  <a:pt x="744" y="515"/>
                </a:lnTo>
                <a:lnTo>
                  <a:pt x="740" y="515"/>
                </a:lnTo>
                <a:lnTo>
                  <a:pt x="739" y="516"/>
                </a:lnTo>
                <a:lnTo>
                  <a:pt x="738" y="516"/>
                </a:lnTo>
                <a:lnTo>
                  <a:pt x="737" y="517"/>
                </a:lnTo>
                <a:lnTo>
                  <a:pt x="734" y="519"/>
                </a:lnTo>
                <a:lnTo>
                  <a:pt x="734" y="519"/>
                </a:lnTo>
                <a:lnTo>
                  <a:pt x="733" y="520"/>
                </a:lnTo>
                <a:lnTo>
                  <a:pt x="732" y="520"/>
                </a:lnTo>
                <a:lnTo>
                  <a:pt x="731" y="520"/>
                </a:lnTo>
                <a:lnTo>
                  <a:pt x="728" y="521"/>
                </a:lnTo>
                <a:lnTo>
                  <a:pt x="727" y="521"/>
                </a:lnTo>
                <a:lnTo>
                  <a:pt x="726" y="521"/>
                </a:lnTo>
                <a:lnTo>
                  <a:pt x="725" y="521"/>
                </a:lnTo>
                <a:lnTo>
                  <a:pt x="724" y="521"/>
                </a:lnTo>
                <a:lnTo>
                  <a:pt x="723" y="520"/>
                </a:lnTo>
                <a:lnTo>
                  <a:pt x="723" y="520"/>
                </a:lnTo>
                <a:lnTo>
                  <a:pt x="721" y="518"/>
                </a:lnTo>
                <a:lnTo>
                  <a:pt x="721" y="518"/>
                </a:lnTo>
                <a:lnTo>
                  <a:pt x="720" y="518"/>
                </a:lnTo>
                <a:lnTo>
                  <a:pt x="717" y="517"/>
                </a:lnTo>
                <a:lnTo>
                  <a:pt x="716" y="517"/>
                </a:lnTo>
                <a:lnTo>
                  <a:pt x="715" y="516"/>
                </a:lnTo>
                <a:lnTo>
                  <a:pt x="713" y="515"/>
                </a:lnTo>
                <a:lnTo>
                  <a:pt x="709" y="512"/>
                </a:lnTo>
                <a:lnTo>
                  <a:pt x="707" y="510"/>
                </a:lnTo>
                <a:lnTo>
                  <a:pt x="705" y="509"/>
                </a:lnTo>
                <a:lnTo>
                  <a:pt x="703" y="508"/>
                </a:lnTo>
                <a:lnTo>
                  <a:pt x="701" y="507"/>
                </a:lnTo>
                <a:lnTo>
                  <a:pt x="699" y="507"/>
                </a:lnTo>
                <a:lnTo>
                  <a:pt x="697" y="506"/>
                </a:lnTo>
                <a:lnTo>
                  <a:pt x="695" y="506"/>
                </a:lnTo>
                <a:lnTo>
                  <a:pt x="694" y="506"/>
                </a:lnTo>
                <a:lnTo>
                  <a:pt x="693" y="507"/>
                </a:lnTo>
                <a:lnTo>
                  <a:pt x="693" y="507"/>
                </a:lnTo>
                <a:lnTo>
                  <a:pt x="692" y="507"/>
                </a:lnTo>
                <a:lnTo>
                  <a:pt x="690" y="508"/>
                </a:lnTo>
                <a:lnTo>
                  <a:pt x="687" y="509"/>
                </a:lnTo>
                <a:lnTo>
                  <a:pt x="687" y="510"/>
                </a:lnTo>
                <a:lnTo>
                  <a:pt x="685" y="511"/>
                </a:lnTo>
                <a:lnTo>
                  <a:pt x="682" y="514"/>
                </a:lnTo>
                <a:lnTo>
                  <a:pt x="680" y="515"/>
                </a:lnTo>
                <a:lnTo>
                  <a:pt x="674" y="520"/>
                </a:lnTo>
                <a:lnTo>
                  <a:pt x="671" y="521"/>
                </a:lnTo>
                <a:lnTo>
                  <a:pt x="670" y="522"/>
                </a:lnTo>
                <a:lnTo>
                  <a:pt x="669" y="523"/>
                </a:lnTo>
                <a:lnTo>
                  <a:pt x="668" y="523"/>
                </a:lnTo>
                <a:lnTo>
                  <a:pt x="667" y="523"/>
                </a:lnTo>
                <a:lnTo>
                  <a:pt x="665" y="523"/>
                </a:lnTo>
                <a:lnTo>
                  <a:pt x="663" y="524"/>
                </a:lnTo>
                <a:lnTo>
                  <a:pt x="659" y="524"/>
                </a:lnTo>
                <a:lnTo>
                  <a:pt x="657" y="524"/>
                </a:lnTo>
                <a:lnTo>
                  <a:pt x="656" y="523"/>
                </a:lnTo>
                <a:lnTo>
                  <a:pt x="655" y="523"/>
                </a:lnTo>
                <a:lnTo>
                  <a:pt x="654" y="523"/>
                </a:lnTo>
                <a:lnTo>
                  <a:pt x="653" y="522"/>
                </a:lnTo>
                <a:lnTo>
                  <a:pt x="651" y="521"/>
                </a:lnTo>
                <a:lnTo>
                  <a:pt x="649" y="520"/>
                </a:lnTo>
                <a:lnTo>
                  <a:pt x="648" y="519"/>
                </a:lnTo>
                <a:lnTo>
                  <a:pt x="645" y="517"/>
                </a:lnTo>
                <a:lnTo>
                  <a:pt x="643" y="516"/>
                </a:lnTo>
                <a:lnTo>
                  <a:pt x="640" y="513"/>
                </a:lnTo>
                <a:lnTo>
                  <a:pt x="636" y="509"/>
                </a:lnTo>
                <a:lnTo>
                  <a:pt x="635" y="509"/>
                </a:lnTo>
                <a:lnTo>
                  <a:pt x="634" y="508"/>
                </a:lnTo>
                <a:lnTo>
                  <a:pt x="633" y="507"/>
                </a:lnTo>
                <a:lnTo>
                  <a:pt x="630" y="506"/>
                </a:lnTo>
                <a:lnTo>
                  <a:pt x="628" y="505"/>
                </a:lnTo>
                <a:lnTo>
                  <a:pt x="622" y="501"/>
                </a:lnTo>
                <a:lnTo>
                  <a:pt x="617" y="498"/>
                </a:lnTo>
                <a:lnTo>
                  <a:pt x="616" y="498"/>
                </a:lnTo>
                <a:lnTo>
                  <a:pt x="614" y="497"/>
                </a:lnTo>
                <a:lnTo>
                  <a:pt x="613" y="497"/>
                </a:lnTo>
                <a:lnTo>
                  <a:pt x="609" y="495"/>
                </a:lnTo>
                <a:lnTo>
                  <a:pt x="603" y="493"/>
                </a:lnTo>
                <a:lnTo>
                  <a:pt x="601" y="492"/>
                </a:lnTo>
                <a:lnTo>
                  <a:pt x="599" y="492"/>
                </a:lnTo>
                <a:lnTo>
                  <a:pt x="597" y="491"/>
                </a:lnTo>
                <a:lnTo>
                  <a:pt x="595" y="490"/>
                </a:lnTo>
                <a:lnTo>
                  <a:pt x="593" y="490"/>
                </a:lnTo>
                <a:lnTo>
                  <a:pt x="590" y="490"/>
                </a:lnTo>
                <a:lnTo>
                  <a:pt x="588" y="489"/>
                </a:lnTo>
                <a:lnTo>
                  <a:pt x="587" y="489"/>
                </a:lnTo>
                <a:lnTo>
                  <a:pt x="586" y="489"/>
                </a:lnTo>
                <a:lnTo>
                  <a:pt x="584" y="489"/>
                </a:lnTo>
                <a:lnTo>
                  <a:pt x="583" y="490"/>
                </a:lnTo>
                <a:lnTo>
                  <a:pt x="582" y="490"/>
                </a:lnTo>
                <a:lnTo>
                  <a:pt x="580" y="491"/>
                </a:lnTo>
                <a:lnTo>
                  <a:pt x="579" y="491"/>
                </a:lnTo>
                <a:lnTo>
                  <a:pt x="578" y="492"/>
                </a:lnTo>
                <a:lnTo>
                  <a:pt x="576" y="494"/>
                </a:lnTo>
                <a:lnTo>
                  <a:pt x="574" y="495"/>
                </a:lnTo>
                <a:lnTo>
                  <a:pt x="570" y="499"/>
                </a:lnTo>
                <a:lnTo>
                  <a:pt x="563" y="506"/>
                </a:lnTo>
                <a:lnTo>
                  <a:pt x="561" y="507"/>
                </a:lnTo>
                <a:lnTo>
                  <a:pt x="556" y="511"/>
                </a:lnTo>
                <a:lnTo>
                  <a:pt x="553" y="514"/>
                </a:lnTo>
                <a:lnTo>
                  <a:pt x="550" y="516"/>
                </a:lnTo>
                <a:lnTo>
                  <a:pt x="549" y="517"/>
                </a:lnTo>
                <a:lnTo>
                  <a:pt x="548" y="518"/>
                </a:lnTo>
                <a:lnTo>
                  <a:pt x="547" y="519"/>
                </a:lnTo>
                <a:lnTo>
                  <a:pt x="547" y="520"/>
                </a:lnTo>
                <a:lnTo>
                  <a:pt x="546" y="521"/>
                </a:lnTo>
                <a:lnTo>
                  <a:pt x="545" y="523"/>
                </a:lnTo>
                <a:lnTo>
                  <a:pt x="544" y="525"/>
                </a:lnTo>
                <a:lnTo>
                  <a:pt x="542" y="531"/>
                </a:lnTo>
                <a:lnTo>
                  <a:pt x="542" y="533"/>
                </a:lnTo>
                <a:lnTo>
                  <a:pt x="541" y="534"/>
                </a:lnTo>
                <a:lnTo>
                  <a:pt x="540" y="536"/>
                </a:lnTo>
                <a:lnTo>
                  <a:pt x="539" y="538"/>
                </a:lnTo>
                <a:lnTo>
                  <a:pt x="536" y="543"/>
                </a:lnTo>
                <a:lnTo>
                  <a:pt x="535" y="545"/>
                </a:lnTo>
                <a:lnTo>
                  <a:pt x="534" y="547"/>
                </a:lnTo>
                <a:lnTo>
                  <a:pt x="532" y="549"/>
                </a:lnTo>
                <a:lnTo>
                  <a:pt x="527" y="554"/>
                </a:lnTo>
                <a:lnTo>
                  <a:pt x="521" y="560"/>
                </a:lnTo>
                <a:lnTo>
                  <a:pt x="519" y="563"/>
                </a:lnTo>
                <a:lnTo>
                  <a:pt x="517" y="565"/>
                </a:lnTo>
                <a:lnTo>
                  <a:pt x="516" y="567"/>
                </a:lnTo>
                <a:lnTo>
                  <a:pt x="512" y="575"/>
                </a:lnTo>
                <a:lnTo>
                  <a:pt x="510" y="578"/>
                </a:lnTo>
                <a:lnTo>
                  <a:pt x="507" y="584"/>
                </a:lnTo>
                <a:lnTo>
                  <a:pt x="506" y="587"/>
                </a:lnTo>
                <a:lnTo>
                  <a:pt x="504" y="592"/>
                </a:lnTo>
                <a:lnTo>
                  <a:pt x="501" y="597"/>
                </a:lnTo>
                <a:lnTo>
                  <a:pt x="500" y="599"/>
                </a:lnTo>
                <a:lnTo>
                  <a:pt x="499" y="602"/>
                </a:lnTo>
                <a:lnTo>
                  <a:pt x="498" y="607"/>
                </a:lnTo>
                <a:lnTo>
                  <a:pt x="497" y="610"/>
                </a:lnTo>
                <a:lnTo>
                  <a:pt x="495" y="612"/>
                </a:lnTo>
                <a:lnTo>
                  <a:pt x="493" y="616"/>
                </a:lnTo>
                <a:lnTo>
                  <a:pt x="492" y="618"/>
                </a:lnTo>
                <a:lnTo>
                  <a:pt x="491" y="621"/>
                </a:lnTo>
                <a:lnTo>
                  <a:pt x="490" y="623"/>
                </a:lnTo>
                <a:lnTo>
                  <a:pt x="488" y="627"/>
                </a:lnTo>
                <a:lnTo>
                  <a:pt x="488" y="628"/>
                </a:lnTo>
                <a:lnTo>
                  <a:pt x="488" y="629"/>
                </a:lnTo>
                <a:lnTo>
                  <a:pt x="487" y="633"/>
                </a:lnTo>
                <a:lnTo>
                  <a:pt x="486" y="639"/>
                </a:lnTo>
                <a:lnTo>
                  <a:pt x="485" y="642"/>
                </a:lnTo>
                <a:lnTo>
                  <a:pt x="485" y="644"/>
                </a:lnTo>
                <a:lnTo>
                  <a:pt x="484" y="646"/>
                </a:lnTo>
                <a:lnTo>
                  <a:pt x="483" y="648"/>
                </a:lnTo>
                <a:lnTo>
                  <a:pt x="483" y="649"/>
                </a:lnTo>
                <a:lnTo>
                  <a:pt x="482" y="651"/>
                </a:lnTo>
                <a:lnTo>
                  <a:pt x="481" y="652"/>
                </a:lnTo>
                <a:lnTo>
                  <a:pt x="480" y="653"/>
                </a:lnTo>
                <a:lnTo>
                  <a:pt x="479" y="655"/>
                </a:lnTo>
                <a:lnTo>
                  <a:pt x="478" y="656"/>
                </a:lnTo>
                <a:lnTo>
                  <a:pt x="477" y="656"/>
                </a:lnTo>
                <a:lnTo>
                  <a:pt x="476" y="656"/>
                </a:lnTo>
                <a:lnTo>
                  <a:pt x="475" y="657"/>
                </a:lnTo>
                <a:lnTo>
                  <a:pt x="474" y="657"/>
                </a:lnTo>
                <a:lnTo>
                  <a:pt x="474" y="657"/>
                </a:lnTo>
                <a:lnTo>
                  <a:pt x="473" y="657"/>
                </a:lnTo>
                <a:lnTo>
                  <a:pt x="472" y="657"/>
                </a:lnTo>
                <a:lnTo>
                  <a:pt x="471" y="656"/>
                </a:lnTo>
                <a:lnTo>
                  <a:pt x="470" y="656"/>
                </a:lnTo>
                <a:lnTo>
                  <a:pt x="470" y="655"/>
                </a:lnTo>
                <a:lnTo>
                  <a:pt x="469" y="655"/>
                </a:lnTo>
                <a:lnTo>
                  <a:pt x="469" y="654"/>
                </a:lnTo>
                <a:lnTo>
                  <a:pt x="469" y="653"/>
                </a:lnTo>
                <a:lnTo>
                  <a:pt x="468" y="652"/>
                </a:lnTo>
                <a:lnTo>
                  <a:pt x="468" y="651"/>
                </a:lnTo>
                <a:lnTo>
                  <a:pt x="468" y="646"/>
                </a:lnTo>
                <a:lnTo>
                  <a:pt x="467" y="640"/>
                </a:lnTo>
                <a:lnTo>
                  <a:pt x="466" y="637"/>
                </a:lnTo>
                <a:lnTo>
                  <a:pt x="466" y="633"/>
                </a:lnTo>
                <a:lnTo>
                  <a:pt x="466" y="630"/>
                </a:lnTo>
                <a:lnTo>
                  <a:pt x="465" y="626"/>
                </a:lnTo>
                <a:lnTo>
                  <a:pt x="464" y="622"/>
                </a:lnTo>
                <a:lnTo>
                  <a:pt x="464" y="620"/>
                </a:lnTo>
                <a:lnTo>
                  <a:pt x="463" y="618"/>
                </a:lnTo>
                <a:lnTo>
                  <a:pt x="463" y="611"/>
                </a:lnTo>
                <a:lnTo>
                  <a:pt x="463" y="610"/>
                </a:lnTo>
                <a:lnTo>
                  <a:pt x="462" y="608"/>
                </a:lnTo>
                <a:lnTo>
                  <a:pt x="462" y="607"/>
                </a:lnTo>
                <a:lnTo>
                  <a:pt x="461" y="605"/>
                </a:lnTo>
                <a:lnTo>
                  <a:pt x="461" y="603"/>
                </a:lnTo>
                <a:lnTo>
                  <a:pt x="460" y="602"/>
                </a:lnTo>
                <a:lnTo>
                  <a:pt x="459" y="600"/>
                </a:lnTo>
                <a:lnTo>
                  <a:pt x="457" y="599"/>
                </a:lnTo>
                <a:lnTo>
                  <a:pt x="457" y="598"/>
                </a:lnTo>
                <a:lnTo>
                  <a:pt x="456" y="597"/>
                </a:lnTo>
                <a:lnTo>
                  <a:pt x="455" y="596"/>
                </a:lnTo>
                <a:lnTo>
                  <a:pt x="454" y="596"/>
                </a:lnTo>
                <a:lnTo>
                  <a:pt x="453" y="596"/>
                </a:lnTo>
                <a:lnTo>
                  <a:pt x="452" y="595"/>
                </a:lnTo>
                <a:lnTo>
                  <a:pt x="450" y="595"/>
                </a:lnTo>
                <a:lnTo>
                  <a:pt x="449" y="595"/>
                </a:lnTo>
                <a:lnTo>
                  <a:pt x="448" y="595"/>
                </a:lnTo>
                <a:lnTo>
                  <a:pt x="447" y="595"/>
                </a:lnTo>
                <a:lnTo>
                  <a:pt x="446" y="595"/>
                </a:lnTo>
                <a:lnTo>
                  <a:pt x="445" y="595"/>
                </a:lnTo>
                <a:lnTo>
                  <a:pt x="442" y="596"/>
                </a:lnTo>
                <a:lnTo>
                  <a:pt x="440" y="597"/>
                </a:lnTo>
                <a:lnTo>
                  <a:pt x="438" y="597"/>
                </a:lnTo>
                <a:lnTo>
                  <a:pt x="435" y="597"/>
                </a:lnTo>
                <a:lnTo>
                  <a:pt x="432" y="598"/>
                </a:lnTo>
                <a:lnTo>
                  <a:pt x="428" y="598"/>
                </a:lnTo>
                <a:lnTo>
                  <a:pt x="422" y="599"/>
                </a:lnTo>
                <a:lnTo>
                  <a:pt x="419" y="600"/>
                </a:lnTo>
                <a:lnTo>
                  <a:pt x="414" y="600"/>
                </a:lnTo>
                <a:lnTo>
                  <a:pt x="413" y="600"/>
                </a:lnTo>
                <a:lnTo>
                  <a:pt x="412" y="600"/>
                </a:lnTo>
                <a:lnTo>
                  <a:pt x="409" y="600"/>
                </a:lnTo>
                <a:lnTo>
                  <a:pt x="404" y="598"/>
                </a:lnTo>
                <a:lnTo>
                  <a:pt x="402" y="598"/>
                </a:lnTo>
                <a:lnTo>
                  <a:pt x="400" y="597"/>
                </a:lnTo>
                <a:lnTo>
                  <a:pt x="397" y="595"/>
                </a:lnTo>
                <a:lnTo>
                  <a:pt x="395" y="594"/>
                </a:lnTo>
                <a:lnTo>
                  <a:pt x="393" y="593"/>
                </a:lnTo>
                <a:lnTo>
                  <a:pt x="390" y="590"/>
                </a:lnTo>
                <a:lnTo>
                  <a:pt x="389" y="589"/>
                </a:lnTo>
                <a:lnTo>
                  <a:pt x="388" y="589"/>
                </a:lnTo>
                <a:lnTo>
                  <a:pt x="387" y="588"/>
                </a:lnTo>
                <a:lnTo>
                  <a:pt x="383" y="587"/>
                </a:lnTo>
                <a:lnTo>
                  <a:pt x="382" y="586"/>
                </a:lnTo>
                <a:lnTo>
                  <a:pt x="380" y="586"/>
                </a:lnTo>
                <a:lnTo>
                  <a:pt x="379" y="585"/>
                </a:lnTo>
                <a:lnTo>
                  <a:pt x="378" y="585"/>
                </a:lnTo>
                <a:lnTo>
                  <a:pt x="377" y="585"/>
                </a:lnTo>
                <a:lnTo>
                  <a:pt x="375" y="585"/>
                </a:lnTo>
                <a:lnTo>
                  <a:pt x="374" y="585"/>
                </a:lnTo>
                <a:lnTo>
                  <a:pt x="373" y="585"/>
                </a:lnTo>
                <a:lnTo>
                  <a:pt x="368" y="585"/>
                </a:lnTo>
                <a:lnTo>
                  <a:pt x="367" y="585"/>
                </a:lnTo>
                <a:lnTo>
                  <a:pt x="366" y="585"/>
                </a:lnTo>
                <a:lnTo>
                  <a:pt x="365" y="585"/>
                </a:lnTo>
                <a:lnTo>
                  <a:pt x="364" y="585"/>
                </a:lnTo>
                <a:lnTo>
                  <a:pt x="364" y="585"/>
                </a:lnTo>
                <a:lnTo>
                  <a:pt x="363" y="585"/>
                </a:lnTo>
                <a:lnTo>
                  <a:pt x="363" y="584"/>
                </a:lnTo>
                <a:lnTo>
                  <a:pt x="362" y="584"/>
                </a:lnTo>
                <a:lnTo>
                  <a:pt x="362" y="583"/>
                </a:lnTo>
                <a:lnTo>
                  <a:pt x="361" y="582"/>
                </a:lnTo>
                <a:lnTo>
                  <a:pt x="361" y="582"/>
                </a:lnTo>
                <a:lnTo>
                  <a:pt x="360" y="581"/>
                </a:lnTo>
                <a:lnTo>
                  <a:pt x="360" y="580"/>
                </a:lnTo>
                <a:lnTo>
                  <a:pt x="360" y="579"/>
                </a:lnTo>
                <a:lnTo>
                  <a:pt x="359" y="573"/>
                </a:lnTo>
                <a:lnTo>
                  <a:pt x="358" y="570"/>
                </a:lnTo>
                <a:lnTo>
                  <a:pt x="358" y="568"/>
                </a:lnTo>
                <a:lnTo>
                  <a:pt x="358" y="567"/>
                </a:lnTo>
                <a:lnTo>
                  <a:pt x="357" y="566"/>
                </a:lnTo>
                <a:lnTo>
                  <a:pt x="357" y="564"/>
                </a:lnTo>
                <a:lnTo>
                  <a:pt x="356" y="563"/>
                </a:lnTo>
                <a:lnTo>
                  <a:pt x="355" y="562"/>
                </a:lnTo>
                <a:lnTo>
                  <a:pt x="354" y="560"/>
                </a:lnTo>
                <a:lnTo>
                  <a:pt x="352" y="559"/>
                </a:lnTo>
                <a:lnTo>
                  <a:pt x="351" y="558"/>
                </a:lnTo>
                <a:lnTo>
                  <a:pt x="350" y="557"/>
                </a:lnTo>
                <a:lnTo>
                  <a:pt x="349" y="556"/>
                </a:lnTo>
                <a:lnTo>
                  <a:pt x="348" y="555"/>
                </a:lnTo>
                <a:lnTo>
                  <a:pt x="346" y="555"/>
                </a:lnTo>
                <a:lnTo>
                  <a:pt x="344" y="554"/>
                </a:lnTo>
                <a:lnTo>
                  <a:pt x="343" y="554"/>
                </a:lnTo>
                <a:lnTo>
                  <a:pt x="341" y="554"/>
                </a:lnTo>
                <a:lnTo>
                  <a:pt x="336" y="554"/>
                </a:lnTo>
                <a:lnTo>
                  <a:pt x="334" y="554"/>
                </a:lnTo>
                <a:lnTo>
                  <a:pt x="332" y="554"/>
                </a:lnTo>
                <a:lnTo>
                  <a:pt x="330" y="554"/>
                </a:lnTo>
                <a:lnTo>
                  <a:pt x="328" y="554"/>
                </a:lnTo>
                <a:lnTo>
                  <a:pt x="327" y="553"/>
                </a:lnTo>
                <a:lnTo>
                  <a:pt x="325" y="553"/>
                </a:lnTo>
                <a:lnTo>
                  <a:pt x="323" y="552"/>
                </a:lnTo>
                <a:lnTo>
                  <a:pt x="322" y="552"/>
                </a:lnTo>
                <a:lnTo>
                  <a:pt x="312" y="547"/>
                </a:lnTo>
                <a:lnTo>
                  <a:pt x="310" y="545"/>
                </a:lnTo>
                <a:lnTo>
                  <a:pt x="306" y="542"/>
                </a:lnTo>
                <a:lnTo>
                  <a:pt x="304" y="542"/>
                </a:lnTo>
                <a:lnTo>
                  <a:pt x="302" y="540"/>
                </a:lnTo>
                <a:lnTo>
                  <a:pt x="301" y="540"/>
                </a:lnTo>
                <a:lnTo>
                  <a:pt x="300" y="540"/>
                </a:lnTo>
                <a:lnTo>
                  <a:pt x="299" y="540"/>
                </a:lnTo>
                <a:lnTo>
                  <a:pt x="298" y="540"/>
                </a:lnTo>
                <a:lnTo>
                  <a:pt x="298" y="540"/>
                </a:lnTo>
                <a:lnTo>
                  <a:pt x="297" y="540"/>
                </a:lnTo>
                <a:lnTo>
                  <a:pt x="295" y="540"/>
                </a:lnTo>
                <a:lnTo>
                  <a:pt x="292" y="541"/>
                </a:lnTo>
                <a:lnTo>
                  <a:pt x="290" y="542"/>
                </a:lnTo>
                <a:lnTo>
                  <a:pt x="288" y="542"/>
                </a:lnTo>
                <a:lnTo>
                  <a:pt x="286" y="542"/>
                </a:lnTo>
                <a:lnTo>
                  <a:pt x="282" y="542"/>
                </a:lnTo>
                <a:lnTo>
                  <a:pt x="279" y="542"/>
                </a:lnTo>
                <a:lnTo>
                  <a:pt x="275" y="542"/>
                </a:lnTo>
                <a:lnTo>
                  <a:pt x="270" y="542"/>
                </a:lnTo>
                <a:lnTo>
                  <a:pt x="269" y="542"/>
                </a:lnTo>
                <a:lnTo>
                  <a:pt x="268" y="542"/>
                </a:lnTo>
                <a:lnTo>
                  <a:pt x="267" y="542"/>
                </a:lnTo>
                <a:lnTo>
                  <a:pt x="266" y="542"/>
                </a:lnTo>
                <a:lnTo>
                  <a:pt x="265" y="542"/>
                </a:lnTo>
                <a:lnTo>
                  <a:pt x="264" y="543"/>
                </a:lnTo>
                <a:lnTo>
                  <a:pt x="263" y="544"/>
                </a:lnTo>
                <a:lnTo>
                  <a:pt x="262" y="545"/>
                </a:lnTo>
                <a:lnTo>
                  <a:pt x="261" y="546"/>
                </a:lnTo>
                <a:lnTo>
                  <a:pt x="260" y="548"/>
                </a:lnTo>
                <a:lnTo>
                  <a:pt x="258" y="550"/>
                </a:lnTo>
                <a:lnTo>
                  <a:pt x="256" y="555"/>
                </a:lnTo>
                <a:lnTo>
                  <a:pt x="255" y="558"/>
                </a:lnTo>
                <a:lnTo>
                  <a:pt x="253" y="563"/>
                </a:lnTo>
                <a:lnTo>
                  <a:pt x="252" y="565"/>
                </a:lnTo>
                <a:lnTo>
                  <a:pt x="251" y="567"/>
                </a:lnTo>
                <a:lnTo>
                  <a:pt x="251" y="568"/>
                </a:lnTo>
                <a:lnTo>
                  <a:pt x="247" y="573"/>
                </a:lnTo>
                <a:lnTo>
                  <a:pt x="244" y="579"/>
                </a:lnTo>
                <a:lnTo>
                  <a:pt x="242" y="581"/>
                </a:lnTo>
                <a:lnTo>
                  <a:pt x="241" y="582"/>
                </a:lnTo>
                <a:lnTo>
                  <a:pt x="240" y="583"/>
                </a:lnTo>
                <a:lnTo>
                  <a:pt x="238" y="584"/>
                </a:lnTo>
                <a:lnTo>
                  <a:pt x="237" y="586"/>
                </a:lnTo>
                <a:lnTo>
                  <a:pt x="233" y="588"/>
                </a:lnTo>
                <a:lnTo>
                  <a:pt x="232" y="589"/>
                </a:lnTo>
                <a:lnTo>
                  <a:pt x="230" y="590"/>
                </a:lnTo>
                <a:lnTo>
                  <a:pt x="229" y="590"/>
                </a:lnTo>
                <a:lnTo>
                  <a:pt x="227" y="590"/>
                </a:lnTo>
                <a:lnTo>
                  <a:pt x="226" y="590"/>
                </a:lnTo>
                <a:lnTo>
                  <a:pt x="224" y="590"/>
                </a:lnTo>
                <a:lnTo>
                  <a:pt x="223" y="590"/>
                </a:lnTo>
                <a:lnTo>
                  <a:pt x="222" y="589"/>
                </a:lnTo>
                <a:lnTo>
                  <a:pt x="221" y="589"/>
                </a:lnTo>
                <a:lnTo>
                  <a:pt x="220" y="588"/>
                </a:lnTo>
                <a:lnTo>
                  <a:pt x="218" y="587"/>
                </a:lnTo>
                <a:lnTo>
                  <a:pt x="217" y="586"/>
                </a:lnTo>
                <a:lnTo>
                  <a:pt x="217" y="586"/>
                </a:lnTo>
                <a:lnTo>
                  <a:pt x="216" y="585"/>
                </a:lnTo>
                <a:lnTo>
                  <a:pt x="215" y="585"/>
                </a:lnTo>
                <a:lnTo>
                  <a:pt x="215" y="585"/>
                </a:lnTo>
                <a:lnTo>
                  <a:pt x="214" y="585"/>
                </a:lnTo>
                <a:lnTo>
                  <a:pt x="213" y="585"/>
                </a:lnTo>
                <a:lnTo>
                  <a:pt x="212" y="586"/>
                </a:lnTo>
                <a:lnTo>
                  <a:pt x="210" y="587"/>
                </a:lnTo>
                <a:lnTo>
                  <a:pt x="209" y="587"/>
                </a:lnTo>
                <a:lnTo>
                  <a:pt x="208" y="588"/>
                </a:lnTo>
                <a:lnTo>
                  <a:pt x="207" y="588"/>
                </a:lnTo>
                <a:lnTo>
                  <a:pt x="206" y="588"/>
                </a:lnTo>
                <a:lnTo>
                  <a:pt x="205" y="588"/>
                </a:lnTo>
                <a:lnTo>
                  <a:pt x="204" y="588"/>
                </a:lnTo>
                <a:lnTo>
                  <a:pt x="203" y="588"/>
                </a:lnTo>
                <a:lnTo>
                  <a:pt x="201" y="588"/>
                </a:lnTo>
                <a:lnTo>
                  <a:pt x="197" y="587"/>
                </a:lnTo>
                <a:lnTo>
                  <a:pt x="195" y="587"/>
                </a:lnTo>
                <a:lnTo>
                  <a:pt x="191" y="586"/>
                </a:lnTo>
                <a:lnTo>
                  <a:pt x="189" y="586"/>
                </a:lnTo>
                <a:lnTo>
                  <a:pt x="186" y="586"/>
                </a:lnTo>
                <a:lnTo>
                  <a:pt x="184" y="586"/>
                </a:lnTo>
                <a:lnTo>
                  <a:pt x="179" y="586"/>
                </a:lnTo>
                <a:lnTo>
                  <a:pt x="176" y="586"/>
                </a:lnTo>
                <a:lnTo>
                  <a:pt x="172" y="586"/>
                </a:lnTo>
                <a:lnTo>
                  <a:pt x="167" y="585"/>
                </a:lnTo>
                <a:lnTo>
                  <a:pt x="161" y="585"/>
                </a:lnTo>
                <a:lnTo>
                  <a:pt x="143" y="583"/>
                </a:lnTo>
                <a:lnTo>
                  <a:pt x="139" y="583"/>
                </a:lnTo>
                <a:lnTo>
                  <a:pt x="137" y="583"/>
                </a:lnTo>
                <a:lnTo>
                  <a:pt x="134" y="583"/>
                </a:lnTo>
                <a:lnTo>
                  <a:pt x="133" y="583"/>
                </a:lnTo>
                <a:lnTo>
                  <a:pt x="128" y="583"/>
                </a:lnTo>
                <a:lnTo>
                  <a:pt x="125" y="583"/>
                </a:lnTo>
                <a:lnTo>
                  <a:pt x="123" y="583"/>
                </a:lnTo>
                <a:lnTo>
                  <a:pt x="119" y="583"/>
                </a:lnTo>
                <a:lnTo>
                  <a:pt x="112" y="582"/>
                </a:lnTo>
                <a:lnTo>
                  <a:pt x="110" y="582"/>
                </a:lnTo>
                <a:lnTo>
                  <a:pt x="108" y="582"/>
                </a:lnTo>
                <a:lnTo>
                  <a:pt x="106" y="581"/>
                </a:lnTo>
                <a:lnTo>
                  <a:pt x="104" y="581"/>
                </a:lnTo>
                <a:lnTo>
                  <a:pt x="103" y="580"/>
                </a:lnTo>
                <a:lnTo>
                  <a:pt x="101" y="580"/>
                </a:lnTo>
                <a:lnTo>
                  <a:pt x="99" y="579"/>
                </a:lnTo>
                <a:lnTo>
                  <a:pt x="97" y="578"/>
                </a:lnTo>
                <a:lnTo>
                  <a:pt x="95" y="577"/>
                </a:lnTo>
                <a:lnTo>
                  <a:pt x="91" y="575"/>
                </a:lnTo>
                <a:lnTo>
                  <a:pt x="83" y="571"/>
                </a:lnTo>
                <a:lnTo>
                  <a:pt x="71" y="565"/>
                </a:lnTo>
                <a:lnTo>
                  <a:pt x="67" y="562"/>
                </a:lnTo>
                <a:lnTo>
                  <a:pt x="65" y="561"/>
                </a:lnTo>
                <a:lnTo>
                  <a:pt x="63" y="560"/>
                </a:lnTo>
                <a:lnTo>
                  <a:pt x="62" y="559"/>
                </a:lnTo>
                <a:lnTo>
                  <a:pt x="60" y="557"/>
                </a:lnTo>
                <a:lnTo>
                  <a:pt x="57" y="555"/>
                </a:lnTo>
                <a:lnTo>
                  <a:pt x="55" y="553"/>
                </a:lnTo>
                <a:lnTo>
                  <a:pt x="53" y="552"/>
                </a:lnTo>
                <a:lnTo>
                  <a:pt x="51" y="550"/>
                </a:lnTo>
                <a:lnTo>
                  <a:pt x="50" y="548"/>
                </a:lnTo>
                <a:lnTo>
                  <a:pt x="49" y="547"/>
                </a:lnTo>
                <a:lnTo>
                  <a:pt x="48" y="546"/>
                </a:lnTo>
                <a:lnTo>
                  <a:pt x="47" y="545"/>
                </a:lnTo>
                <a:lnTo>
                  <a:pt x="46" y="544"/>
                </a:lnTo>
                <a:lnTo>
                  <a:pt x="46" y="543"/>
                </a:lnTo>
                <a:lnTo>
                  <a:pt x="45" y="542"/>
                </a:lnTo>
                <a:lnTo>
                  <a:pt x="44" y="538"/>
                </a:lnTo>
                <a:lnTo>
                  <a:pt x="44" y="537"/>
                </a:lnTo>
                <a:lnTo>
                  <a:pt x="44" y="536"/>
                </a:lnTo>
                <a:lnTo>
                  <a:pt x="44" y="536"/>
                </a:lnTo>
                <a:lnTo>
                  <a:pt x="43" y="535"/>
                </a:lnTo>
                <a:lnTo>
                  <a:pt x="43" y="535"/>
                </a:lnTo>
                <a:lnTo>
                  <a:pt x="42" y="534"/>
                </a:lnTo>
                <a:lnTo>
                  <a:pt x="41" y="533"/>
                </a:lnTo>
                <a:lnTo>
                  <a:pt x="40" y="533"/>
                </a:lnTo>
                <a:lnTo>
                  <a:pt x="39" y="533"/>
                </a:lnTo>
                <a:lnTo>
                  <a:pt x="38" y="532"/>
                </a:lnTo>
                <a:lnTo>
                  <a:pt x="37" y="532"/>
                </a:lnTo>
                <a:lnTo>
                  <a:pt x="36" y="532"/>
                </a:lnTo>
                <a:lnTo>
                  <a:pt x="36" y="532"/>
                </a:lnTo>
                <a:lnTo>
                  <a:pt x="35" y="531"/>
                </a:lnTo>
                <a:lnTo>
                  <a:pt x="34" y="530"/>
                </a:lnTo>
                <a:lnTo>
                  <a:pt x="32" y="528"/>
                </a:lnTo>
                <a:lnTo>
                  <a:pt x="31" y="528"/>
                </a:lnTo>
                <a:lnTo>
                  <a:pt x="30" y="527"/>
                </a:lnTo>
                <a:lnTo>
                  <a:pt x="29" y="526"/>
                </a:lnTo>
                <a:lnTo>
                  <a:pt x="28" y="526"/>
                </a:lnTo>
                <a:lnTo>
                  <a:pt x="27" y="525"/>
                </a:lnTo>
                <a:lnTo>
                  <a:pt x="23" y="524"/>
                </a:lnTo>
                <a:lnTo>
                  <a:pt x="22" y="524"/>
                </a:lnTo>
                <a:lnTo>
                  <a:pt x="22" y="524"/>
                </a:lnTo>
                <a:lnTo>
                  <a:pt x="21" y="523"/>
                </a:lnTo>
                <a:lnTo>
                  <a:pt x="21" y="523"/>
                </a:lnTo>
                <a:lnTo>
                  <a:pt x="20" y="522"/>
                </a:lnTo>
                <a:lnTo>
                  <a:pt x="20" y="521"/>
                </a:lnTo>
                <a:lnTo>
                  <a:pt x="20" y="521"/>
                </a:lnTo>
                <a:lnTo>
                  <a:pt x="20" y="520"/>
                </a:lnTo>
                <a:lnTo>
                  <a:pt x="19" y="519"/>
                </a:lnTo>
                <a:lnTo>
                  <a:pt x="18" y="519"/>
                </a:lnTo>
                <a:lnTo>
                  <a:pt x="16" y="518"/>
                </a:lnTo>
                <a:lnTo>
                  <a:pt x="15" y="517"/>
                </a:lnTo>
                <a:lnTo>
                  <a:pt x="14" y="516"/>
                </a:lnTo>
                <a:lnTo>
                  <a:pt x="12" y="514"/>
                </a:lnTo>
                <a:lnTo>
                  <a:pt x="11" y="513"/>
                </a:lnTo>
                <a:lnTo>
                  <a:pt x="10" y="513"/>
                </a:lnTo>
                <a:lnTo>
                  <a:pt x="10" y="512"/>
                </a:lnTo>
                <a:lnTo>
                  <a:pt x="9" y="512"/>
                </a:lnTo>
                <a:lnTo>
                  <a:pt x="7" y="512"/>
                </a:lnTo>
                <a:lnTo>
                  <a:pt x="5" y="511"/>
                </a:lnTo>
                <a:lnTo>
                  <a:pt x="3" y="510"/>
                </a:lnTo>
                <a:lnTo>
                  <a:pt x="2" y="510"/>
                </a:lnTo>
                <a:lnTo>
                  <a:pt x="1" y="509"/>
                </a:lnTo>
                <a:lnTo>
                  <a:pt x="1" y="508"/>
                </a:lnTo>
                <a:lnTo>
                  <a:pt x="0" y="507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3" name="Freeform 286">
            <a:extLst>
              <a:ext uri="{FF2B5EF4-FFF2-40B4-BE49-F238E27FC236}">
                <a16:creationId xmlns:a16="http://schemas.microsoft.com/office/drawing/2014/main" id="{8724B12F-6731-4838-ACEE-65D95324E650}"/>
              </a:ext>
            </a:extLst>
          </p:cNvPr>
          <p:cNvSpPr>
            <a:spLocks/>
          </p:cNvSpPr>
          <p:nvPr/>
        </p:nvSpPr>
        <p:spPr bwMode="auto">
          <a:xfrm>
            <a:off x="9165670" y="4918279"/>
            <a:ext cx="817311" cy="1064728"/>
          </a:xfrm>
          <a:custGeom>
            <a:avLst/>
            <a:gdLst>
              <a:gd name="T0" fmla="*/ 127 w 430"/>
              <a:gd name="T1" fmla="*/ 501 h 512"/>
              <a:gd name="T2" fmla="*/ 103 w 430"/>
              <a:gd name="T3" fmla="*/ 504 h 512"/>
              <a:gd name="T4" fmla="*/ 83 w 430"/>
              <a:gd name="T5" fmla="*/ 512 h 512"/>
              <a:gd name="T6" fmla="*/ 50 w 430"/>
              <a:gd name="T7" fmla="*/ 499 h 512"/>
              <a:gd name="T8" fmla="*/ 18 w 430"/>
              <a:gd name="T9" fmla="*/ 485 h 512"/>
              <a:gd name="T10" fmla="*/ 5 w 430"/>
              <a:gd name="T11" fmla="*/ 469 h 512"/>
              <a:gd name="T12" fmla="*/ 9 w 430"/>
              <a:gd name="T13" fmla="*/ 465 h 512"/>
              <a:gd name="T14" fmla="*/ 15 w 430"/>
              <a:gd name="T15" fmla="*/ 458 h 512"/>
              <a:gd name="T16" fmla="*/ 21 w 430"/>
              <a:gd name="T17" fmla="*/ 451 h 512"/>
              <a:gd name="T18" fmla="*/ 35 w 430"/>
              <a:gd name="T19" fmla="*/ 454 h 512"/>
              <a:gd name="T20" fmla="*/ 46 w 430"/>
              <a:gd name="T21" fmla="*/ 454 h 512"/>
              <a:gd name="T22" fmla="*/ 57 w 430"/>
              <a:gd name="T23" fmla="*/ 443 h 512"/>
              <a:gd name="T24" fmla="*/ 79 w 430"/>
              <a:gd name="T25" fmla="*/ 448 h 512"/>
              <a:gd name="T26" fmla="*/ 89 w 430"/>
              <a:gd name="T27" fmla="*/ 440 h 512"/>
              <a:gd name="T28" fmla="*/ 108 w 430"/>
              <a:gd name="T29" fmla="*/ 426 h 512"/>
              <a:gd name="T30" fmla="*/ 127 w 430"/>
              <a:gd name="T31" fmla="*/ 411 h 512"/>
              <a:gd name="T32" fmla="*/ 144 w 430"/>
              <a:gd name="T33" fmla="*/ 407 h 512"/>
              <a:gd name="T34" fmla="*/ 151 w 430"/>
              <a:gd name="T35" fmla="*/ 395 h 512"/>
              <a:gd name="T36" fmla="*/ 163 w 430"/>
              <a:gd name="T37" fmla="*/ 394 h 512"/>
              <a:gd name="T38" fmla="*/ 177 w 430"/>
              <a:gd name="T39" fmla="*/ 384 h 512"/>
              <a:gd name="T40" fmla="*/ 186 w 430"/>
              <a:gd name="T41" fmla="*/ 391 h 512"/>
              <a:gd name="T42" fmla="*/ 204 w 430"/>
              <a:gd name="T43" fmla="*/ 395 h 512"/>
              <a:gd name="T44" fmla="*/ 221 w 430"/>
              <a:gd name="T45" fmla="*/ 391 h 512"/>
              <a:gd name="T46" fmla="*/ 248 w 430"/>
              <a:gd name="T47" fmla="*/ 390 h 512"/>
              <a:gd name="T48" fmla="*/ 255 w 430"/>
              <a:gd name="T49" fmla="*/ 378 h 512"/>
              <a:gd name="T50" fmla="*/ 269 w 430"/>
              <a:gd name="T51" fmla="*/ 369 h 512"/>
              <a:gd name="T52" fmla="*/ 289 w 430"/>
              <a:gd name="T53" fmla="*/ 363 h 512"/>
              <a:gd name="T54" fmla="*/ 299 w 430"/>
              <a:gd name="T55" fmla="*/ 350 h 512"/>
              <a:gd name="T56" fmla="*/ 299 w 430"/>
              <a:gd name="T57" fmla="*/ 340 h 512"/>
              <a:gd name="T58" fmla="*/ 288 w 430"/>
              <a:gd name="T59" fmla="*/ 327 h 512"/>
              <a:gd name="T60" fmla="*/ 297 w 430"/>
              <a:gd name="T61" fmla="*/ 320 h 512"/>
              <a:gd name="T62" fmla="*/ 296 w 430"/>
              <a:gd name="T63" fmla="*/ 307 h 512"/>
              <a:gd name="T64" fmla="*/ 309 w 430"/>
              <a:gd name="T65" fmla="*/ 297 h 512"/>
              <a:gd name="T66" fmla="*/ 310 w 430"/>
              <a:gd name="T67" fmla="*/ 284 h 512"/>
              <a:gd name="T68" fmla="*/ 299 w 430"/>
              <a:gd name="T69" fmla="*/ 273 h 512"/>
              <a:gd name="T70" fmla="*/ 301 w 430"/>
              <a:gd name="T71" fmla="*/ 259 h 512"/>
              <a:gd name="T72" fmla="*/ 314 w 430"/>
              <a:gd name="T73" fmla="*/ 246 h 512"/>
              <a:gd name="T74" fmla="*/ 309 w 430"/>
              <a:gd name="T75" fmla="*/ 234 h 512"/>
              <a:gd name="T76" fmla="*/ 315 w 430"/>
              <a:gd name="T77" fmla="*/ 217 h 512"/>
              <a:gd name="T78" fmla="*/ 315 w 430"/>
              <a:gd name="T79" fmla="*/ 207 h 512"/>
              <a:gd name="T80" fmla="*/ 303 w 430"/>
              <a:gd name="T81" fmla="*/ 201 h 512"/>
              <a:gd name="T82" fmla="*/ 306 w 430"/>
              <a:gd name="T83" fmla="*/ 196 h 512"/>
              <a:gd name="T84" fmla="*/ 291 w 430"/>
              <a:gd name="T85" fmla="*/ 181 h 512"/>
              <a:gd name="T86" fmla="*/ 295 w 430"/>
              <a:gd name="T87" fmla="*/ 156 h 512"/>
              <a:gd name="T88" fmla="*/ 308 w 430"/>
              <a:gd name="T89" fmla="*/ 137 h 512"/>
              <a:gd name="T90" fmla="*/ 330 w 430"/>
              <a:gd name="T91" fmla="*/ 131 h 512"/>
              <a:gd name="T92" fmla="*/ 333 w 430"/>
              <a:gd name="T93" fmla="*/ 124 h 512"/>
              <a:gd name="T94" fmla="*/ 323 w 430"/>
              <a:gd name="T95" fmla="*/ 119 h 512"/>
              <a:gd name="T96" fmla="*/ 333 w 430"/>
              <a:gd name="T97" fmla="*/ 109 h 512"/>
              <a:gd name="T98" fmla="*/ 343 w 430"/>
              <a:gd name="T99" fmla="*/ 114 h 512"/>
              <a:gd name="T100" fmla="*/ 351 w 430"/>
              <a:gd name="T101" fmla="*/ 117 h 512"/>
              <a:gd name="T102" fmla="*/ 356 w 430"/>
              <a:gd name="T103" fmla="*/ 105 h 512"/>
              <a:gd name="T104" fmla="*/ 348 w 430"/>
              <a:gd name="T105" fmla="*/ 92 h 512"/>
              <a:gd name="T106" fmla="*/ 354 w 430"/>
              <a:gd name="T107" fmla="*/ 89 h 512"/>
              <a:gd name="T108" fmla="*/ 368 w 430"/>
              <a:gd name="T109" fmla="*/ 75 h 512"/>
              <a:gd name="T110" fmla="*/ 366 w 430"/>
              <a:gd name="T111" fmla="*/ 65 h 512"/>
              <a:gd name="T112" fmla="*/ 354 w 430"/>
              <a:gd name="T113" fmla="*/ 54 h 512"/>
              <a:gd name="T114" fmla="*/ 359 w 430"/>
              <a:gd name="T115" fmla="*/ 34 h 512"/>
              <a:gd name="T116" fmla="*/ 367 w 430"/>
              <a:gd name="T117" fmla="*/ 32 h 512"/>
              <a:gd name="T118" fmla="*/ 380 w 430"/>
              <a:gd name="T119" fmla="*/ 24 h 512"/>
              <a:gd name="T120" fmla="*/ 399 w 430"/>
              <a:gd name="T121" fmla="*/ 24 h 512"/>
              <a:gd name="T122" fmla="*/ 420 w 430"/>
              <a:gd name="T123" fmla="*/ 25 h 512"/>
              <a:gd name="T124" fmla="*/ 430 w 430"/>
              <a:gd name="T125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30" h="512">
                <a:moveTo>
                  <a:pt x="134" y="507"/>
                </a:moveTo>
                <a:lnTo>
                  <a:pt x="133" y="507"/>
                </a:lnTo>
                <a:lnTo>
                  <a:pt x="132" y="505"/>
                </a:lnTo>
                <a:lnTo>
                  <a:pt x="132" y="504"/>
                </a:lnTo>
                <a:lnTo>
                  <a:pt x="131" y="504"/>
                </a:lnTo>
                <a:lnTo>
                  <a:pt x="131" y="503"/>
                </a:lnTo>
                <a:lnTo>
                  <a:pt x="130" y="502"/>
                </a:lnTo>
                <a:lnTo>
                  <a:pt x="129" y="502"/>
                </a:lnTo>
                <a:lnTo>
                  <a:pt x="129" y="502"/>
                </a:lnTo>
                <a:lnTo>
                  <a:pt x="128" y="501"/>
                </a:lnTo>
                <a:lnTo>
                  <a:pt x="127" y="501"/>
                </a:lnTo>
                <a:lnTo>
                  <a:pt x="126" y="501"/>
                </a:lnTo>
                <a:lnTo>
                  <a:pt x="121" y="501"/>
                </a:lnTo>
                <a:lnTo>
                  <a:pt x="119" y="501"/>
                </a:lnTo>
                <a:lnTo>
                  <a:pt x="116" y="501"/>
                </a:lnTo>
                <a:lnTo>
                  <a:pt x="113" y="501"/>
                </a:lnTo>
                <a:lnTo>
                  <a:pt x="110" y="502"/>
                </a:lnTo>
                <a:lnTo>
                  <a:pt x="108" y="502"/>
                </a:lnTo>
                <a:lnTo>
                  <a:pt x="107" y="503"/>
                </a:lnTo>
                <a:lnTo>
                  <a:pt x="106" y="503"/>
                </a:lnTo>
                <a:lnTo>
                  <a:pt x="105" y="504"/>
                </a:lnTo>
                <a:lnTo>
                  <a:pt x="103" y="504"/>
                </a:lnTo>
                <a:lnTo>
                  <a:pt x="102" y="505"/>
                </a:lnTo>
                <a:lnTo>
                  <a:pt x="97" y="509"/>
                </a:lnTo>
                <a:lnTo>
                  <a:pt x="95" y="510"/>
                </a:lnTo>
                <a:lnTo>
                  <a:pt x="94" y="510"/>
                </a:lnTo>
                <a:lnTo>
                  <a:pt x="92" y="511"/>
                </a:lnTo>
                <a:lnTo>
                  <a:pt x="91" y="512"/>
                </a:lnTo>
                <a:lnTo>
                  <a:pt x="90" y="512"/>
                </a:lnTo>
                <a:lnTo>
                  <a:pt x="89" y="512"/>
                </a:lnTo>
                <a:lnTo>
                  <a:pt x="87" y="512"/>
                </a:lnTo>
                <a:lnTo>
                  <a:pt x="85" y="512"/>
                </a:lnTo>
                <a:lnTo>
                  <a:pt x="83" y="512"/>
                </a:lnTo>
                <a:lnTo>
                  <a:pt x="81" y="512"/>
                </a:lnTo>
                <a:lnTo>
                  <a:pt x="77" y="512"/>
                </a:lnTo>
                <a:lnTo>
                  <a:pt x="68" y="511"/>
                </a:lnTo>
                <a:lnTo>
                  <a:pt x="67" y="510"/>
                </a:lnTo>
                <a:lnTo>
                  <a:pt x="65" y="510"/>
                </a:lnTo>
                <a:lnTo>
                  <a:pt x="63" y="509"/>
                </a:lnTo>
                <a:lnTo>
                  <a:pt x="62" y="508"/>
                </a:lnTo>
                <a:lnTo>
                  <a:pt x="60" y="507"/>
                </a:lnTo>
                <a:lnTo>
                  <a:pt x="58" y="505"/>
                </a:lnTo>
                <a:lnTo>
                  <a:pt x="56" y="504"/>
                </a:lnTo>
                <a:lnTo>
                  <a:pt x="50" y="499"/>
                </a:lnTo>
                <a:lnTo>
                  <a:pt x="48" y="497"/>
                </a:lnTo>
                <a:lnTo>
                  <a:pt x="47" y="496"/>
                </a:lnTo>
                <a:lnTo>
                  <a:pt x="45" y="495"/>
                </a:lnTo>
                <a:lnTo>
                  <a:pt x="44" y="494"/>
                </a:lnTo>
                <a:lnTo>
                  <a:pt x="39" y="492"/>
                </a:lnTo>
                <a:lnTo>
                  <a:pt x="34" y="489"/>
                </a:lnTo>
                <a:lnTo>
                  <a:pt x="33" y="488"/>
                </a:lnTo>
                <a:lnTo>
                  <a:pt x="31" y="488"/>
                </a:lnTo>
                <a:lnTo>
                  <a:pt x="29" y="487"/>
                </a:lnTo>
                <a:lnTo>
                  <a:pt x="26" y="486"/>
                </a:lnTo>
                <a:lnTo>
                  <a:pt x="18" y="485"/>
                </a:lnTo>
                <a:lnTo>
                  <a:pt x="15" y="484"/>
                </a:lnTo>
                <a:lnTo>
                  <a:pt x="13" y="484"/>
                </a:lnTo>
                <a:lnTo>
                  <a:pt x="11" y="483"/>
                </a:lnTo>
                <a:lnTo>
                  <a:pt x="9" y="482"/>
                </a:lnTo>
                <a:lnTo>
                  <a:pt x="0" y="479"/>
                </a:lnTo>
                <a:lnTo>
                  <a:pt x="1" y="478"/>
                </a:lnTo>
                <a:lnTo>
                  <a:pt x="2" y="476"/>
                </a:lnTo>
                <a:lnTo>
                  <a:pt x="4" y="471"/>
                </a:lnTo>
                <a:lnTo>
                  <a:pt x="4" y="470"/>
                </a:lnTo>
                <a:lnTo>
                  <a:pt x="5" y="470"/>
                </a:lnTo>
                <a:lnTo>
                  <a:pt x="5" y="469"/>
                </a:lnTo>
                <a:lnTo>
                  <a:pt x="6" y="469"/>
                </a:lnTo>
                <a:lnTo>
                  <a:pt x="7" y="469"/>
                </a:lnTo>
                <a:lnTo>
                  <a:pt x="7" y="468"/>
                </a:lnTo>
                <a:lnTo>
                  <a:pt x="9" y="467"/>
                </a:lnTo>
                <a:lnTo>
                  <a:pt x="10" y="467"/>
                </a:lnTo>
                <a:lnTo>
                  <a:pt x="10" y="466"/>
                </a:lnTo>
                <a:lnTo>
                  <a:pt x="10" y="466"/>
                </a:lnTo>
                <a:lnTo>
                  <a:pt x="10" y="466"/>
                </a:lnTo>
                <a:lnTo>
                  <a:pt x="9" y="465"/>
                </a:lnTo>
                <a:lnTo>
                  <a:pt x="9" y="465"/>
                </a:lnTo>
                <a:lnTo>
                  <a:pt x="9" y="465"/>
                </a:lnTo>
                <a:lnTo>
                  <a:pt x="9" y="464"/>
                </a:lnTo>
                <a:lnTo>
                  <a:pt x="10" y="464"/>
                </a:lnTo>
                <a:lnTo>
                  <a:pt x="11" y="463"/>
                </a:lnTo>
                <a:lnTo>
                  <a:pt x="11" y="462"/>
                </a:lnTo>
                <a:lnTo>
                  <a:pt x="12" y="460"/>
                </a:lnTo>
                <a:lnTo>
                  <a:pt x="12" y="460"/>
                </a:lnTo>
                <a:lnTo>
                  <a:pt x="12" y="459"/>
                </a:lnTo>
                <a:lnTo>
                  <a:pt x="12" y="458"/>
                </a:lnTo>
                <a:lnTo>
                  <a:pt x="13" y="458"/>
                </a:lnTo>
                <a:lnTo>
                  <a:pt x="13" y="458"/>
                </a:lnTo>
                <a:lnTo>
                  <a:pt x="15" y="458"/>
                </a:lnTo>
                <a:lnTo>
                  <a:pt x="15" y="457"/>
                </a:lnTo>
                <a:lnTo>
                  <a:pt x="16" y="457"/>
                </a:lnTo>
                <a:lnTo>
                  <a:pt x="16" y="457"/>
                </a:lnTo>
                <a:lnTo>
                  <a:pt x="17" y="456"/>
                </a:lnTo>
                <a:lnTo>
                  <a:pt x="19" y="454"/>
                </a:lnTo>
                <a:lnTo>
                  <a:pt x="19" y="453"/>
                </a:lnTo>
                <a:lnTo>
                  <a:pt x="19" y="453"/>
                </a:lnTo>
                <a:lnTo>
                  <a:pt x="20" y="453"/>
                </a:lnTo>
                <a:lnTo>
                  <a:pt x="20" y="452"/>
                </a:lnTo>
                <a:lnTo>
                  <a:pt x="20" y="452"/>
                </a:lnTo>
                <a:lnTo>
                  <a:pt x="21" y="451"/>
                </a:lnTo>
                <a:lnTo>
                  <a:pt x="22" y="451"/>
                </a:lnTo>
                <a:lnTo>
                  <a:pt x="23" y="450"/>
                </a:lnTo>
                <a:lnTo>
                  <a:pt x="25" y="450"/>
                </a:lnTo>
                <a:lnTo>
                  <a:pt x="26" y="450"/>
                </a:lnTo>
                <a:lnTo>
                  <a:pt x="28" y="450"/>
                </a:lnTo>
                <a:lnTo>
                  <a:pt x="29" y="450"/>
                </a:lnTo>
                <a:lnTo>
                  <a:pt x="30" y="450"/>
                </a:lnTo>
                <a:lnTo>
                  <a:pt x="31" y="450"/>
                </a:lnTo>
                <a:lnTo>
                  <a:pt x="32" y="451"/>
                </a:lnTo>
                <a:lnTo>
                  <a:pt x="33" y="452"/>
                </a:lnTo>
                <a:lnTo>
                  <a:pt x="35" y="454"/>
                </a:lnTo>
                <a:lnTo>
                  <a:pt x="36" y="454"/>
                </a:lnTo>
                <a:lnTo>
                  <a:pt x="37" y="455"/>
                </a:lnTo>
                <a:lnTo>
                  <a:pt x="38" y="455"/>
                </a:lnTo>
                <a:lnTo>
                  <a:pt x="40" y="455"/>
                </a:lnTo>
                <a:lnTo>
                  <a:pt x="41" y="456"/>
                </a:lnTo>
                <a:lnTo>
                  <a:pt x="43" y="456"/>
                </a:lnTo>
                <a:lnTo>
                  <a:pt x="43" y="456"/>
                </a:lnTo>
                <a:lnTo>
                  <a:pt x="44" y="456"/>
                </a:lnTo>
                <a:lnTo>
                  <a:pt x="45" y="455"/>
                </a:lnTo>
                <a:lnTo>
                  <a:pt x="46" y="455"/>
                </a:lnTo>
                <a:lnTo>
                  <a:pt x="46" y="454"/>
                </a:lnTo>
                <a:lnTo>
                  <a:pt x="47" y="453"/>
                </a:lnTo>
                <a:lnTo>
                  <a:pt x="48" y="452"/>
                </a:lnTo>
                <a:lnTo>
                  <a:pt x="49" y="451"/>
                </a:lnTo>
                <a:lnTo>
                  <a:pt x="51" y="449"/>
                </a:lnTo>
                <a:lnTo>
                  <a:pt x="53" y="446"/>
                </a:lnTo>
                <a:lnTo>
                  <a:pt x="54" y="445"/>
                </a:lnTo>
                <a:lnTo>
                  <a:pt x="54" y="444"/>
                </a:lnTo>
                <a:lnTo>
                  <a:pt x="55" y="444"/>
                </a:lnTo>
                <a:lnTo>
                  <a:pt x="56" y="444"/>
                </a:lnTo>
                <a:lnTo>
                  <a:pt x="56" y="443"/>
                </a:lnTo>
                <a:lnTo>
                  <a:pt x="57" y="443"/>
                </a:lnTo>
                <a:lnTo>
                  <a:pt x="59" y="443"/>
                </a:lnTo>
                <a:lnTo>
                  <a:pt x="64" y="442"/>
                </a:lnTo>
                <a:lnTo>
                  <a:pt x="66" y="442"/>
                </a:lnTo>
                <a:lnTo>
                  <a:pt x="67" y="442"/>
                </a:lnTo>
                <a:lnTo>
                  <a:pt x="69" y="442"/>
                </a:lnTo>
                <a:lnTo>
                  <a:pt x="70" y="443"/>
                </a:lnTo>
                <a:lnTo>
                  <a:pt x="72" y="443"/>
                </a:lnTo>
                <a:lnTo>
                  <a:pt x="73" y="444"/>
                </a:lnTo>
                <a:lnTo>
                  <a:pt x="75" y="445"/>
                </a:lnTo>
                <a:lnTo>
                  <a:pt x="78" y="447"/>
                </a:lnTo>
                <a:lnTo>
                  <a:pt x="79" y="448"/>
                </a:lnTo>
                <a:lnTo>
                  <a:pt x="79" y="448"/>
                </a:lnTo>
                <a:lnTo>
                  <a:pt x="80" y="448"/>
                </a:lnTo>
                <a:lnTo>
                  <a:pt x="81" y="448"/>
                </a:lnTo>
                <a:lnTo>
                  <a:pt x="82" y="448"/>
                </a:lnTo>
                <a:lnTo>
                  <a:pt x="82" y="448"/>
                </a:lnTo>
                <a:lnTo>
                  <a:pt x="83" y="448"/>
                </a:lnTo>
                <a:lnTo>
                  <a:pt x="84" y="447"/>
                </a:lnTo>
                <a:lnTo>
                  <a:pt x="85" y="446"/>
                </a:lnTo>
                <a:lnTo>
                  <a:pt x="87" y="443"/>
                </a:lnTo>
                <a:lnTo>
                  <a:pt x="88" y="441"/>
                </a:lnTo>
                <a:lnTo>
                  <a:pt x="89" y="440"/>
                </a:lnTo>
                <a:lnTo>
                  <a:pt x="91" y="438"/>
                </a:lnTo>
                <a:lnTo>
                  <a:pt x="93" y="436"/>
                </a:lnTo>
                <a:lnTo>
                  <a:pt x="95" y="434"/>
                </a:lnTo>
                <a:lnTo>
                  <a:pt x="96" y="434"/>
                </a:lnTo>
                <a:lnTo>
                  <a:pt x="97" y="433"/>
                </a:lnTo>
                <a:lnTo>
                  <a:pt x="98" y="432"/>
                </a:lnTo>
                <a:lnTo>
                  <a:pt x="102" y="430"/>
                </a:lnTo>
                <a:lnTo>
                  <a:pt x="103" y="429"/>
                </a:lnTo>
                <a:lnTo>
                  <a:pt x="104" y="428"/>
                </a:lnTo>
                <a:lnTo>
                  <a:pt x="106" y="427"/>
                </a:lnTo>
                <a:lnTo>
                  <a:pt x="108" y="426"/>
                </a:lnTo>
                <a:lnTo>
                  <a:pt x="110" y="423"/>
                </a:lnTo>
                <a:lnTo>
                  <a:pt x="111" y="421"/>
                </a:lnTo>
                <a:lnTo>
                  <a:pt x="113" y="419"/>
                </a:lnTo>
                <a:lnTo>
                  <a:pt x="114" y="418"/>
                </a:lnTo>
                <a:lnTo>
                  <a:pt x="115" y="417"/>
                </a:lnTo>
                <a:lnTo>
                  <a:pt x="115" y="416"/>
                </a:lnTo>
                <a:lnTo>
                  <a:pt x="117" y="415"/>
                </a:lnTo>
                <a:lnTo>
                  <a:pt x="119" y="414"/>
                </a:lnTo>
                <a:lnTo>
                  <a:pt x="121" y="413"/>
                </a:lnTo>
                <a:lnTo>
                  <a:pt x="125" y="412"/>
                </a:lnTo>
                <a:lnTo>
                  <a:pt x="127" y="411"/>
                </a:lnTo>
                <a:lnTo>
                  <a:pt x="130" y="410"/>
                </a:lnTo>
                <a:lnTo>
                  <a:pt x="133" y="410"/>
                </a:lnTo>
                <a:lnTo>
                  <a:pt x="134" y="410"/>
                </a:lnTo>
                <a:lnTo>
                  <a:pt x="137" y="410"/>
                </a:lnTo>
                <a:lnTo>
                  <a:pt x="139" y="410"/>
                </a:lnTo>
                <a:lnTo>
                  <a:pt x="140" y="410"/>
                </a:lnTo>
                <a:lnTo>
                  <a:pt x="141" y="409"/>
                </a:lnTo>
                <a:lnTo>
                  <a:pt x="142" y="409"/>
                </a:lnTo>
                <a:lnTo>
                  <a:pt x="142" y="409"/>
                </a:lnTo>
                <a:lnTo>
                  <a:pt x="143" y="408"/>
                </a:lnTo>
                <a:lnTo>
                  <a:pt x="144" y="407"/>
                </a:lnTo>
                <a:lnTo>
                  <a:pt x="144" y="406"/>
                </a:lnTo>
                <a:lnTo>
                  <a:pt x="145" y="405"/>
                </a:lnTo>
                <a:lnTo>
                  <a:pt x="146" y="401"/>
                </a:lnTo>
                <a:lnTo>
                  <a:pt x="147" y="399"/>
                </a:lnTo>
                <a:lnTo>
                  <a:pt x="148" y="398"/>
                </a:lnTo>
                <a:lnTo>
                  <a:pt x="148" y="397"/>
                </a:lnTo>
                <a:lnTo>
                  <a:pt x="149" y="396"/>
                </a:lnTo>
                <a:lnTo>
                  <a:pt x="150" y="396"/>
                </a:lnTo>
                <a:lnTo>
                  <a:pt x="150" y="395"/>
                </a:lnTo>
                <a:lnTo>
                  <a:pt x="151" y="395"/>
                </a:lnTo>
                <a:lnTo>
                  <a:pt x="151" y="395"/>
                </a:lnTo>
                <a:lnTo>
                  <a:pt x="152" y="395"/>
                </a:lnTo>
                <a:lnTo>
                  <a:pt x="153" y="395"/>
                </a:lnTo>
                <a:lnTo>
                  <a:pt x="154" y="395"/>
                </a:lnTo>
                <a:lnTo>
                  <a:pt x="157" y="395"/>
                </a:lnTo>
                <a:lnTo>
                  <a:pt x="158" y="396"/>
                </a:lnTo>
                <a:lnTo>
                  <a:pt x="159" y="395"/>
                </a:lnTo>
                <a:lnTo>
                  <a:pt x="160" y="395"/>
                </a:lnTo>
                <a:lnTo>
                  <a:pt x="161" y="395"/>
                </a:lnTo>
                <a:lnTo>
                  <a:pt x="161" y="395"/>
                </a:lnTo>
                <a:lnTo>
                  <a:pt x="162" y="394"/>
                </a:lnTo>
                <a:lnTo>
                  <a:pt x="163" y="394"/>
                </a:lnTo>
                <a:lnTo>
                  <a:pt x="164" y="393"/>
                </a:lnTo>
                <a:lnTo>
                  <a:pt x="165" y="392"/>
                </a:lnTo>
                <a:lnTo>
                  <a:pt x="166" y="391"/>
                </a:lnTo>
                <a:lnTo>
                  <a:pt x="169" y="388"/>
                </a:lnTo>
                <a:lnTo>
                  <a:pt x="170" y="387"/>
                </a:lnTo>
                <a:lnTo>
                  <a:pt x="170" y="387"/>
                </a:lnTo>
                <a:lnTo>
                  <a:pt x="171" y="386"/>
                </a:lnTo>
                <a:lnTo>
                  <a:pt x="172" y="386"/>
                </a:lnTo>
                <a:lnTo>
                  <a:pt x="174" y="385"/>
                </a:lnTo>
                <a:lnTo>
                  <a:pt x="176" y="384"/>
                </a:lnTo>
                <a:lnTo>
                  <a:pt x="177" y="384"/>
                </a:lnTo>
                <a:lnTo>
                  <a:pt x="178" y="384"/>
                </a:lnTo>
                <a:lnTo>
                  <a:pt x="179" y="384"/>
                </a:lnTo>
                <a:lnTo>
                  <a:pt x="180" y="384"/>
                </a:lnTo>
                <a:lnTo>
                  <a:pt x="180" y="384"/>
                </a:lnTo>
                <a:lnTo>
                  <a:pt x="181" y="384"/>
                </a:lnTo>
                <a:lnTo>
                  <a:pt x="181" y="385"/>
                </a:lnTo>
                <a:lnTo>
                  <a:pt x="182" y="386"/>
                </a:lnTo>
                <a:lnTo>
                  <a:pt x="183" y="387"/>
                </a:lnTo>
                <a:lnTo>
                  <a:pt x="185" y="389"/>
                </a:lnTo>
                <a:lnTo>
                  <a:pt x="185" y="390"/>
                </a:lnTo>
                <a:lnTo>
                  <a:pt x="186" y="391"/>
                </a:lnTo>
                <a:lnTo>
                  <a:pt x="187" y="392"/>
                </a:lnTo>
                <a:lnTo>
                  <a:pt x="191" y="394"/>
                </a:lnTo>
                <a:lnTo>
                  <a:pt x="192" y="395"/>
                </a:lnTo>
                <a:lnTo>
                  <a:pt x="193" y="395"/>
                </a:lnTo>
                <a:lnTo>
                  <a:pt x="195" y="396"/>
                </a:lnTo>
                <a:lnTo>
                  <a:pt x="196" y="396"/>
                </a:lnTo>
                <a:lnTo>
                  <a:pt x="197" y="396"/>
                </a:lnTo>
                <a:lnTo>
                  <a:pt x="198" y="396"/>
                </a:lnTo>
                <a:lnTo>
                  <a:pt x="200" y="396"/>
                </a:lnTo>
                <a:lnTo>
                  <a:pt x="202" y="396"/>
                </a:lnTo>
                <a:lnTo>
                  <a:pt x="204" y="395"/>
                </a:lnTo>
                <a:lnTo>
                  <a:pt x="206" y="395"/>
                </a:lnTo>
                <a:lnTo>
                  <a:pt x="208" y="393"/>
                </a:lnTo>
                <a:lnTo>
                  <a:pt x="209" y="392"/>
                </a:lnTo>
                <a:lnTo>
                  <a:pt x="211" y="391"/>
                </a:lnTo>
                <a:lnTo>
                  <a:pt x="212" y="390"/>
                </a:lnTo>
                <a:lnTo>
                  <a:pt x="213" y="390"/>
                </a:lnTo>
                <a:lnTo>
                  <a:pt x="214" y="390"/>
                </a:lnTo>
                <a:lnTo>
                  <a:pt x="215" y="390"/>
                </a:lnTo>
                <a:lnTo>
                  <a:pt x="216" y="390"/>
                </a:lnTo>
                <a:lnTo>
                  <a:pt x="219" y="390"/>
                </a:lnTo>
                <a:lnTo>
                  <a:pt x="221" y="391"/>
                </a:lnTo>
                <a:lnTo>
                  <a:pt x="224" y="391"/>
                </a:lnTo>
                <a:lnTo>
                  <a:pt x="225" y="392"/>
                </a:lnTo>
                <a:lnTo>
                  <a:pt x="228" y="392"/>
                </a:lnTo>
                <a:lnTo>
                  <a:pt x="232" y="393"/>
                </a:lnTo>
                <a:lnTo>
                  <a:pt x="233" y="393"/>
                </a:lnTo>
                <a:lnTo>
                  <a:pt x="234" y="393"/>
                </a:lnTo>
                <a:lnTo>
                  <a:pt x="237" y="392"/>
                </a:lnTo>
                <a:lnTo>
                  <a:pt x="242" y="391"/>
                </a:lnTo>
                <a:lnTo>
                  <a:pt x="245" y="390"/>
                </a:lnTo>
                <a:lnTo>
                  <a:pt x="247" y="390"/>
                </a:lnTo>
                <a:lnTo>
                  <a:pt x="248" y="390"/>
                </a:lnTo>
                <a:lnTo>
                  <a:pt x="249" y="389"/>
                </a:lnTo>
                <a:lnTo>
                  <a:pt x="253" y="387"/>
                </a:lnTo>
                <a:lnTo>
                  <a:pt x="254" y="386"/>
                </a:lnTo>
                <a:lnTo>
                  <a:pt x="254" y="385"/>
                </a:lnTo>
                <a:lnTo>
                  <a:pt x="255" y="385"/>
                </a:lnTo>
                <a:lnTo>
                  <a:pt x="255" y="384"/>
                </a:lnTo>
                <a:lnTo>
                  <a:pt x="256" y="383"/>
                </a:lnTo>
                <a:lnTo>
                  <a:pt x="256" y="383"/>
                </a:lnTo>
                <a:lnTo>
                  <a:pt x="256" y="382"/>
                </a:lnTo>
                <a:lnTo>
                  <a:pt x="256" y="379"/>
                </a:lnTo>
                <a:lnTo>
                  <a:pt x="255" y="378"/>
                </a:lnTo>
                <a:lnTo>
                  <a:pt x="256" y="377"/>
                </a:lnTo>
                <a:lnTo>
                  <a:pt x="256" y="376"/>
                </a:lnTo>
                <a:lnTo>
                  <a:pt x="257" y="375"/>
                </a:lnTo>
                <a:lnTo>
                  <a:pt x="258" y="373"/>
                </a:lnTo>
                <a:lnTo>
                  <a:pt x="259" y="373"/>
                </a:lnTo>
                <a:lnTo>
                  <a:pt x="260" y="372"/>
                </a:lnTo>
                <a:lnTo>
                  <a:pt x="261" y="371"/>
                </a:lnTo>
                <a:lnTo>
                  <a:pt x="262" y="371"/>
                </a:lnTo>
                <a:lnTo>
                  <a:pt x="264" y="370"/>
                </a:lnTo>
                <a:lnTo>
                  <a:pt x="266" y="369"/>
                </a:lnTo>
                <a:lnTo>
                  <a:pt x="269" y="369"/>
                </a:lnTo>
                <a:lnTo>
                  <a:pt x="274" y="369"/>
                </a:lnTo>
                <a:lnTo>
                  <a:pt x="278" y="368"/>
                </a:lnTo>
                <a:lnTo>
                  <a:pt x="281" y="367"/>
                </a:lnTo>
                <a:lnTo>
                  <a:pt x="284" y="367"/>
                </a:lnTo>
                <a:lnTo>
                  <a:pt x="285" y="366"/>
                </a:lnTo>
                <a:lnTo>
                  <a:pt x="286" y="366"/>
                </a:lnTo>
                <a:lnTo>
                  <a:pt x="286" y="366"/>
                </a:lnTo>
                <a:lnTo>
                  <a:pt x="287" y="365"/>
                </a:lnTo>
                <a:lnTo>
                  <a:pt x="288" y="364"/>
                </a:lnTo>
                <a:lnTo>
                  <a:pt x="289" y="364"/>
                </a:lnTo>
                <a:lnTo>
                  <a:pt x="289" y="363"/>
                </a:lnTo>
                <a:lnTo>
                  <a:pt x="290" y="362"/>
                </a:lnTo>
                <a:lnTo>
                  <a:pt x="291" y="361"/>
                </a:lnTo>
                <a:lnTo>
                  <a:pt x="292" y="360"/>
                </a:lnTo>
                <a:lnTo>
                  <a:pt x="292" y="359"/>
                </a:lnTo>
                <a:lnTo>
                  <a:pt x="293" y="356"/>
                </a:lnTo>
                <a:lnTo>
                  <a:pt x="294" y="355"/>
                </a:lnTo>
                <a:lnTo>
                  <a:pt x="294" y="354"/>
                </a:lnTo>
                <a:lnTo>
                  <a:pt x="295" y="354"/>
                </a:lnTo>
                <a:lnTo>
                  <a:pt x="296" y="353"/>
                </a:lnTo>
                <a:lnTo>
                  <a:pt x="298" y="350"/>
                </a:lnTo>
                <a:lnTo>
                  <a:pt x="299" y="350"/>
                </a:lnTo>
                <a:lnTo>
                  <a:pt x="300" y="349"/>
                </a:lnTo>
                <a:lnTo>
                  <a:pt x="301" y="348"/>
                </a:lnTo>
                <a:lnTo>
                  <a:pt x="301" y="347"/>
                </a:lnTo>
                <a:lnTo>
                  <a:pt x="301" y="346"/>
                </a:lnTo>
                <a:lnTo>
                  <a:pt x="302" y="346"/>
                </a:lnTo>
                <a:lnTo>
                  <a:pt x="302" y="345"/>
                </a:lnTo>
                <a:lnTo>
                  <a:pt x="301" y="344"/>
                </a:lnTo>
                <a:lnTo>
                  <a:pt x="301" y="343"/>
                </a:lnTo>
                <a:lnTo>
                  <a:pt x="300" y="342"/>
                </a:lnTo>
                <a:lnTo>
                  <a:pt x="299" y="341"/>
                </a:lnTo>
                <a:lnTo>
                  <a:pt x="299" y="340"/>
                </a:lnTo>
                <a:lnTo>
                  <a:pt x="297" y="339"/>
                </a:lnTo>
                <a:lnTo>
                  <a:pt x="293" y="335"/>
                </a:lnTo>
                <a:lnTo>
                  <a:pt x="292" y="334"/>
                </a:lnTo>
                <a:lnTo>
                  <a:pt x="290" y="332"/>
                </a:lnTo>
                <a:lnTo>
                  <a:pt x="289" y="331"/>
                </a:lnTo>
                <a:lnTo>
                  <a:pt x="288" y="330"/>
                </a:lnTo>
                <a:lnTo>
                  <a:pt x="288" y="329"/>
                </a:lnTo>
                <a:lnTo>
                  <a:pt x="288" y="328"/>
                </a:lnTo>
                <a:lnTo>
                  <a:pt x="288" y="327"/>
                </a:lnTo>
                <a:lnTo>
                  <a:pt x="288" y="327"/>
                </a:lnTo>
                <a:lnTo>
                  <a:pt x="288" y="327"/>
                </a:lnTo>
                <a:lnTo>
                  <a:pt x="288" y="326"/>
                </a:lnTo>
                <a:lnTo>
                  <a:pt x="289" y="326"/>
                </a:lnTo>
                <a:lnTo>
                  <a:pt x="290" y="326"/>
                </a:lnTo>
                <a:lnTo>
                  <a:pt x="291" y="325"/>
                </a:lnTo>
                <a:lnTo>
                  <a:pt x="292" y="325"/>
                </a:lnTo>
                <a:lnTo>
                  <a:pt x="294" y="324"/>
                </a:lnTo>
                <a:lnTo>
                  <a:pt x="295" y="324"/>
                </a:lnTo>
                <a:lnTo>
                  <a:pt x="295" y="323"/>
                </a:lnTo>
                <a:lnTo>
                  <a:pt x="296" y="322"/>
                </a:lnTo>
                <a:lnTo>
                  <a:pt x="297" y="321"/>
                </a:lnTo>
                <a:lnTo>
                  <a:pt x="297" y="320"/>
                </a:lnTo>
                <a:lnTo>
                  <a:pt x="298" y="319"/>
                </a:lnTo>
                <a:lnTo>
                  <a:pt x="298" y="319"/>
                </a:lnTo>
                <a:lnTo>
                  <a:pt x="298" y="318"/>
                </a:lnTo>
                <a:lnTo>
                  <a:pt x="298" y="317"/>
                </a:lnTo>
                <a:lnTo>
                  <a:pt x="297" y="316"/>
                </a:lnTo>
                <a:lnTo>
                  <a:pt x="297" y="314"/>
                </a:lnTo>
                <a:lnTo>
                  <a:pt x="296" y="311"/>
                </a:lnTo>
                <a:lnTo>
                  <a:pt x="296" y="310"/>
                </a:lnTo>
                <a:lnTo>
                  <a:pt x="296" y="309"/>
                </a:lnTo>
                <a:lnTo>
                  <a:pt x="296" y="308"/>
                </a:lnTo>
                <a:lnTo>
                  <a:pt x="296" y="307"/>
                </a:lnTo>
                <a:lnTo>
                  <a:pt x="297" y="305"/>
                </a:lnTo>
                <a:lnTo>
                  <a:pt x="297" y="305"/>
                </a:lnTo>
                <a:lnTo>
                  <a:pt x="298" y="304"/>
                </a:lnTo>
                <a:lnTo>
                  <a:pt x="298" y="303"/>
                </a:lnTo>
                <a:lnTo>
                  <a:pt x="299" y="303"/>
                </a:lnTo>
                <a:lnTo>
                  <a:pt x="300" y="302"/>
                </a:lnTo>
                <a:lnTo>
                  <a:pt x="301" y="301"/>
                </a:lnTo>
                <a:lnTo>
                  <a:pt x="304" y="300"/>
                </a:lnTo>
                <a:lnTo>
                  <a:pt x="305" y="299"/>
                </a:lnTo>
                <a:lnTo>
                  <a:pt x="307" y="298"/>
                </a:lnTo>
                <a:lnTo>
                  <a:pt x="309" y="297"/>
                </a:lnTo>
                <a:lnTo>
                  <a:pt x="310" y="296"/>
                </a:lnTo>
                <a:lnTo>
                  <a:pt x="310" y="295"/>
                </a:lnTo>
                <a:lnTo>
                  <a:pt x="311" y="294"/>
                </a:lnTo>
                <a:lnTo>
                  <a:pt x="311" y="293"/>
                </a:lnTo>
                <a:lnTo>
                  <a:pt x="311" y="292"/>
                </a:lnTo>
                <a:lnTo>
                  <a:pt x="311" y="290"/>
                </a:lnTo>
                <a:lnTo>
                  <a:pt x="311" y="288"/>
                </a:lnTo>
                <a:lnTo>
                  <a:pt x="311" y="287"/>
                </a:lnTo>
                <a:lnTo>
                  <a:pt x="311" y="286"/>
                </a:lnTo>
                <a:lnTo>
                  <a:pt x="310" y="285"/>
                </a:lnTo>
                <a:lnTo>
                  <a:pt x="310" y="284"/>
                </a:lnTo>
                <a:lnTo>
                  <a:pt x="309" y="283"/>
                </a:lnTo>
                <a:lnTo>
                  <a:pt x="309" y="282"/>
                </a:lnTo>
                <a:lnTo>
                  <a:pt x="308" y="282"/>
                </a:lnTo>
                <a:lnTo>
                  <a:pt x="307" y="281"/>
                </a:lnTo>
                <a:lnTo>
                  <a:pt x="306" y="280"/>
                </a:lnTo>
                <a:lnTo>
                  <a:pt x="303" y="277"/>
                </a:lnTo>
                <a:lnTo>
                  <a:pt x="301" y="276"/>
                </a:lnTo>
                <a:lnTo>
                  <a:pt x="300" y="275"/>
                </a:lnTo>
                <a:lnTo>
                  <a:pt x="299" y="274"/>
                </a:lnTo>
                <a:lnTo>
                  <a:pt x="299" y="274"/>
                </a:lnTo>
                <a:lnTo>
                  <a:pt x="299" y="273"/>
                </a:lnTo>
                <a:lnTo>
                  <a:pt x="298" y="272"/>
                </a:lnTo>
                <a:lnTo>
                  <a:pt x="298" y="271"/>
                </a:lnTo>
                <a:lnTo>
                  <a:pt x="298" y="270"/>
                </a:lnTo>
                <a:lnTo>
                  <a:pt x="298" y="269"/>
                </a:lnTo>
                <a:lnTo>
                  <a:pt x="298" y="268"/>
                </a:lnTo>
                <a:lnTo>
                  <a:pt x="298" y="267"/>
                </a:lnTo>
                <a:lnTo>
                  <a:pt x="299" y="265"/>
                </a:lnTo>
                <a:lnTo>
                  <a:pt x="299" y="264"/>
                </a:lnTo>
                <a:lnTo>
                  <a:pt x="300" y="262"/>
                </a:lnTo>
                <a:lnTo>
                  <a:pt x="300" y="261"/>
                </a:lnTo>
                <a:lnTo>
                  <a:pt x="301" y="259"/>
                </a:lnTo>
                <a:lnTo>
                  <a:pt x="302" y="258"/>
                </a:lnTo>
                <a:lnTo>
                  <a:pt x="303" y="256"/>
                </a:lnTo>
                <a:lnTo>
                  <a:pt x="304" y="255"/>
                </a:lnTo>
                <a:lnTo>
                  <a:pt x="305" y="253"/>
                </a:lnTo>
                <a:lnTo>
                  <a:pt x="306" y="252"/>
                </a:lnTo>
                <a:lnTo>
                  <a:pt x="308" y="251"/>
                </a:lnTo>
                <a:lnTo>
                  <a:pt x="311" y="249"/>
                </a:lnTo>
                <a:lnTo>
                  <a:pt x="313" y="247"/>
                </a:lnTo>
                <a:lnTo>
                  <a:pt x="313" y="247"/>
                </a:lnTo>
                <a:lnTo>
                  <a:pt x="314" y="246"/>
                </a:lnTo>
                <a:lnTo>
                  <a:pt x="314" y="246"/>
                </a:lnTo>
                <a:lnTo>
                  <a:pt x="315" y="245"/>
                </a:lnTo>
                <a:lnTo>
                  <a:pt x="315" y="244"/>
                </a:lnTo>
                <a:lnTo>
                  <a:pt x="315" y="243"/>
                </a:lnTo>
                <a:lnTo>
                  <a:pt x="315" y="243"/>
                </a:lnTo>
                <a:lnTo>
                  <a:pt x="314" y="242"/>
                </a:lnTo>
                <a:lnTo>
                  <a:pt x="314" y="241"/>
                </a:lnTo>
                <a:lnTo>
                  <a:pt x="313" y="240"/>
                </a:lnTo>
                <a:lnTo>
                  <a:pt x="312" y="238"/>
                </a:lnTo>
                <a:lnTo>
                  <a:pt x="310" y="236"/>
                </a:lnTo>
                <a:lnTo>
                  <a:pt x="310" y="235"/>
                </a:lnTo>
                <a:lnTo>
                  <a:pt x="309" y="234"/>
                </a:lnTo>
                <a:lnTo>
                  <a:pt x="309" y="233"/>
                </a:lnTo>
                <a:lnTo>
                  <a:pt x="308" y="231"/>
                </a:lnTo>
                <a:lnTo>
                  <a:pt x="308" y="230"/>
                </a:lnTo>
                <a:lnTo>
                  <a:pt x="308" y="229"/>
                </a:lnTo>
                <a:lnTo>
                  <a:pt x="308" y="228"/>
                </a:lnTo>
                <a:lnTo>
                  <a:pt x="308" y="227"/>
                </a:lnTo>
                <a:lnTo>
                  <a:pt x="309" y="226"/>
                </a:lnTo>
                <a:lnTo>
                  <a:pt x="309" y="225"/>
                </a:lnTo>
                <a:lnTo>
                  <a:pt x="310" y="224"/>
                </a:lnTo>
                <a:lnTo>
                  <a:pt x="314" y="219"/>
                </a:lnTo>
                <a:lnTo>
                  <a:pt x="315" y="217"/>
                </a:lnTo>
                <a:lnTo>
                  <a:pt x="316" y="215"/>
                </a:lnTo>
                <a:lnTo>
                  <a:pt x="316" y="214"/>
                </a:lnTo>
                <a:lnTo>
                  <a:pt x="317" y="213"/>
                </a:lnTo>
                <a:lnTo>
                  <a:pt x="317" y="212"/>
                </a:lnTo>
                <a:lnTo>
                  <a:pt x="317" y="211"/>
                </a:lnTo>
                <a:lnTo>
                  <a:pt x="317" y="210"/>
                </a:lnTo>
                <a:lnTo>
                  <a:pt x="317" y="210"/>
                </a:lnTo>
                <a:lnTo>
                  <a:pt x="317" y="209"/>
                </a:lnTo>
                <a:lnTo>
                  <a:pt x="316" y="208"/>
                </a:lnTo>
                <a:lnTo>
                  <a:pt x="316" y="208"/>
                </a:lnTo>
                <a:lnTo>
                  <a:pt x="315" y="207"/>
                </a:lnTo>
                <a:lnTo>
                  <a:pt x="315" y="207"/>
                </a:lnTo>
                <a:lnTo>
                  <a:pt x="314" y="206"/>
                </a:lnTo>
                <a:lnTo>
                  <a:pt x="310" y="205"/>
                </a:lnTo>
                <a:lnTo>
                  <a:pt x="309" y="205"/>
                </a:lnTo>
                <a:lnTo>
                  <a:pt x="307" y="204"/>
                </a:lnTo>
                <a:lnTo>
                  <a:pt x="306" y="204"/>
                </a:lnTo>
                <a:lnTo>
                  <a:pt x="305" y="203"/>
                </a:lnTo>
                <a:lnTo>
                  <a:pt x="304" y="203"/>
                </a:lnTo>
                <a:lnTo>
                  <a:pt x="304" y="202"/>
                </a:lnTo>
                <a:lnTo>
                  <a:pt x="303" y="202"/>
                </a:lnTo>
                <a:lnTo>
                  <a:pt x="303" y="201"/>
                </a:lnTo>
                <a:lnTo>
                  <a:pt x="303" y="201"/>
                </a:lnTo>
                <a:lnTo>
                  <a:pt x="303" y="200"/>
                </a:lnTo>
                <a:lnTo>
                  <a:pt x="303" y="200"/>
                </a:lnTo>
                <a:lnTo>
                  <a:pt x="304" y="199"/>
                </a:lnTo>
                <a:lnTo>
                  <a:pt x="304" y="199"/>
                </a:lnTo>
                <a:lnTo>
                  <a:pt x="306" y="198"/>
                </a:lnTo>
                <a:lnTo>
                  <a:pt x="306" y="197"/>
                </a:lnTo>
                <a:lnTo>
                  <a:pt x="306" y="197"/>
                </a:lnTo>
                <a:lnTo>
                  <a:pt x="307" y="197"/>
                </a:lnTo>
                <a:lnTo>
                  <a:pt x="306" y="196"/>
                </a:lnTo>
                <a:lnTo>
                  <a:pt x="306" y="196"/>
                </a:lnTo>
                <a:lnTo>
                  <a:pt x="306" y="195"/>
                </a:lnTo>
                <a:lnTo>
                  <a:pt x="305" y="195"/>
                </a:lnTo>
                <a:lnTo>
                  <a:pt x="298" y="190"/>
                </a:lnTo>
                <a:lnTo>
                  <a:pt x="294" y="186"/>
                </a:lnTo>
                <a:lnTo>
                  <a:pt x="293" y="186"/>
                </a:lnTo>
                <a:lnTo>
                  <a:pt x="292" y="185"/>
                </a:lnTo>
                <a:lnTo>
                  <a:pt x="292" y="184"/>
                </a:lnTo>
                <a:lnTo>
                  <a:pt x="291" y="184"/>
                </a:lnTo>
                <a:lnTo>
                  <a:pt x="291" y="183"/>
                </a:lnTo>
                <a:lnTo>
                  <a:pt x="291" y="182"/>
                </a:lnTo>
                <a:lnTo>
                  <a:pt x="291" y="181"/>
                </a:lnTo>
                <a:lnTo>
                  <a:pt x="291" y="180"/>
                </a:lnTo>
                <a:lnTo>
                  <a:pt x="291" y="178"/>
                </a:lnTo>
                <a:lnTo>
                  <a:pt x="292" y="174"/>
                </a:lnTo>
                <a:lnTo>
                  <a:pt x="293" y="171"/>
                </a:lnTo>
                <a:lnTo>
                  <a:pt x="293" y="169"/>
                </a:lnTo>
                <a:lnTo>
                  <a:pt x="293" y="166"/>
                </a:lnTo>
                <a:lnTo>
                  <a:pt x="293" y="162"/>
                </a:lnTo>
                <a:lnTo>
                  <a:pt x="294" y="160"/>
                </a:lnTo>
                <a:lnTo>
                  <a:pt x="294" y="159"/>
                </a:lnTo>
                <a:lnTo>
                  <a:pt x="294" y="158"/>
                </a:lnTo>
                <a:lnTo>
                  <a:pt x="295" y="156"/>
                </a:lnTo>
                <a:lnTo>
                  <a:pt x="296" y="154"/>
                </a:lnTo>
                <a:lnTo>
                  <a:pt x="298" y="153"/>
                </a:lnTo>
                <a:lnTo>
                  <a:pt x="300" y="150"/>
                </a:lnTo>
                <a:lnTo>
                  <a:pt x="301" y="148"/>
                </a:lnTo>
                <a:lnTo>
                  <a:pt x="302" y="147"/>
                </a:lnTo>
                <a:lnTo>
                  <a:pt x="304" y="143"/>
                </a:lnTo>
                <a:lnTo>
                  <a:pt x="305" y="141"/>
                </a:lnTo>
                <a:lnTo>
                  <a:pt x="306" y="140"/>
                </a:lnTo>
                <a:lnTo>
                  <a:pt x="307" y="139"/>
                </a:lnTo>
                <a:lnTo>
                  <a:pt x="308" y="138"/>
                </a:lnTo>
                <a:lnTo>
                  <a:pt x="308" y="137"/>
                </a:lnTo>
                <a:lnTo>
                  <a:pt x="309" y="137"/>
                </a:lnTo>
                <a:lnTo>
                  <a:pt x="310" y="136"/>
                </a:lnTo>
                <a:lnTo>
                  <a:pt x="312" y="135"/>
                </a:lnTo>
                <a:lnTo>
                  <a:pt x="313" y="134"/>
                </a:lnTo>
                <a:lnTo>
                  <a:pt x="315" y="134"/>
                </a:lnTo>
                <a:lnTo>
                  <a:pt x="317" y="133"/>
                </a:lnTo>
                <a:lnTo>
                  <a:pt x="321" y="133"/>
                </a:lnTo>
                <a:lnTo>
                  <a:pt x="324" y="133"/>
                </a:lnTo>
                <a:lnTo>
                  <a:pt x="327" y="132"/>
                </a:lnTo>
                <a:lnTo>
                  <a:pt x="329" y="132"/>
                </a:lnTo>
                <a:lnTo>
                  <a:pt x="330" y="131"/>
                </a:lnTo>
                <a:lnTo>
                  <a:pt x="331" y="131"/>
                </a:lnTo>
                <a:lnTo>
                  <a:pt x="332" y="130"/>
                </a:lnTo>
                <a:lnTo>
                  <a:pt x="333" y="129"/>
                </a:lnTo>
                <a:lnTo>
                  <a:pt x="333" y="128"/>
                </a:lnTo>
                <a:lnTo>
                  <a:pt x="333" y="128"/>
                </a:lnTo>
                <a:lnTo>
                  <a:pt x="334" y="127"/>
                </a:lnTo>
                <a:lnTo>
                  <a:pt x="334" y="126"/>
                </a:lnTo>
                <a:lnTo>
                  <a:pt x="334" y="126"/>
                </a:lnTo>
                <a:lnTo>
                  <a:pt x="334" y="125"/>
                </a:lnTo>
                <a:lnTo>
                  <a:pt x="333" y="124"/>
                </a:lnTo>
                <a:lnTo>
                  <a:pt x="333" y="124"/>
                </a:lnTo>
                <a:lnTo>
                  <a:pt x="332" y="123"/>
                </a:lnTo>
                <a:lnTo>
                  <a:pt x="332" y="123"/>
                </a:lnTo>
                <a:lnTo>
                  <a:pt x="331" y="122"/>
                </a:lnTo>
                <a:lnTo>
                  <a:pt x="330" y="122"/>
                </a:lnTo>
                <a:lnTo>
                  <a:pt x="329" y="121"/>
                </a:lnTo>
                <a:lnTo>
                  <a:pt x="325" y="120"/>
                </a:lnTo>
                <a:lnTo>
                  <a:pt x="324" y="120"/>
                </a:lnTo>
                <a:lnTo>
                  <a:pt x="323" y="120"/>
                </a:lnTo>
                <a:lnTo>
                  <a:pt x="323" y="120"/>
                </a:lnTo>
                <a:lnTo>
                  <a:pt x="323" y="119"/>
                </a:lnTo>
                <a:lnTo>
                  <a:pt x="323" y="119"/>
                </a:lnTo>
                <a:lnTo>
                  <a:pt x="323" y="118"/>
                </a:lnTo>
                <a:lnTo>
                  <a:pt x="323" y="118"/>
                </a:lnTo>
                <a:lnTo>
                  <a:pt x="324" y="117"/>
                </a:lnTo>
                <a:lnTo>
                  <a:pt x="324" y="116"/>
                </a:lnTo>
                <a:lnTo>
                  <a:pt x="325" y="115"/>
                </a:lnTo>
                <a:lnTo>
                  <a:pt x="327" y="113"/>
                </a:lnTo>
                <a:lnTo>
                  <a:pt x="328" y="112"/>
                </a:lnTo>
                <a:lnTo>
                  <a:pt x="329" y="111"/>
                </a:lnTo>
                <a:lnTo>
                  <a:pt x="330" y="110"/>
                </a:lnTo>
                <a:lnTo>
                  <a:pt x="332" y="110"/>
                </a:lnTo>
                <a:lnTo>
                  <a:pt x="333" y="109"/>
                </a:lnTo>
                <a:lnTo>
                  <a:pt x="334" y="109"/>
                </a:lnTo>
                <a:lnTo>
                  <a:pt x="336" y="108"/>
                </a:lnTo>
                <a:lnTo>
                  <a:pt x="337" y="108"/>
                </a:lnTo>
                <a:lnTo>
                  <a:pt x="338" y="109"/>
                </a:lnTo>
                <a:lnTo>
                  <a:pt x="339" y="109"/>
                </a:lnTo>
                <a:lnTo>
                  <a:pt x="340" y="109"/>
                </a:lnTo>
                <a:lnTo>
                  <a:pt x="340" y="110"/>
                </a:lnTo>
                <a:lnTo>
                  <a:pt x="341" y="110"/>
                </a:lnTo>
                <a:lnTo>
                  <a:pt x="341" y="110"/>
                </a:lnTo>
                <a:lnTo>
                  <a:pt x="342" y="112"/>
                </a:lnTo>
                <a:lnTo>
                  <a:pt x="343" y="114"/>
                </a:lnTo>
                <a:lnTo>
                  <a:pt x="343" y="114"/>
                </a:lnTo>
                <a:lnTo>
                  <a:pt x="344" y="115"/>
                </a:lnTo>
                <a:lnTo>
                  <a:pt x="345" y="116"/>
                </a:lnTo>
                <a:lnTo>
                  <a:pt x="345" y="117"/>
                </a:lnTo>
                <a:lnTo>
                  <a:pt x="346" y="117"/>
                </a:lnTo>
                <a:lnTo>
                  <a:pt x="347" y="117"/>
                </a:lnTo>
                <a:lnTo>
                  <a:pt x="347" y="118"/>
                </a:lnTo>
                <a:lnTo>
                  <a:pt x="348" y="118"/>
                </a:lnTo>
                <a:lnTo>
                  <a:pt x="350" y="118"/>
                </a:lnTo>
                <a:lnTo>
                  <a:pt x="351" y="117"/>
                </a:lnTo>
                <a:lnTo>
                  <a:pt x="351" y="117"/>
                </a:lnTo>
                <a:lnTo>
                  <a:pt x="352" y="117"/>
                </a:lnTo>
                <a:lnTo>
                  <a:pt x="353" y="116"/>
                </a:lnTo>
                <a:lnTo>
                  <a:pt x="353" y="116"/>
                </a:lnTo>
                <a:lnTo>
                  <a:pt x="354" y="115"/>
                </a:lnTo>
                <a:lnTo>
                  <a:pt x="354" y="114"/>
                </a:lnTo>
                <a:lnTo>
                  <a:pt x="355" y="111"/>
                </a:lnTo>
                <a:lnTo>
                  <a:pt x="356" y="108"/>
                </a:lnTo>
                <a:lnTo>
                  <a:pt x="356" y="107"/>
                </a:lnTo>
                <a:lnTo>
                  <a:pt x="356" y="106"/>
                </a:lnTo>
                <a:lnTo>
                  <a:pt x="356" y="106"/>
                </a:lnTo>
                <a:lnTo>
                  <a:pt x="356" y="105"/>
                </a:lnTo>
                <a:lnTo>
                  <a:pt x="356" y="104"/>
                </a:lnTo>
                <a:lnTo>
                  <a:pt x="356" y="103"/>
                </a:lnTo>
                <a:lnTo>
                  <a:pt x="356" y="102"/>
                </a:lnTo>
                <a:lnTo>
                  <a:pt x="355" y="100"/>
                </a:lnTo>
                <a:lnTo>
                  <a:pt x="354" y="99"/>
                </a:lnTo>
                <a:lnTo>
                  <a:pt x="353" y="98"/>
                </a:lnTo>
                <a:lnTo>
                  <a:pt x="351" y="96"/>
                </a:lnTo>
                <a:lnTo>
                  <a:pt x="350" y="95"/>
                </a:lnTo>
                <a:lnTo>
                  <a:pt x="349" y="94"/>
                </a:lnTo>
                <a:lnTo>
                  <a:pt x="349" y="93"/>
                </a:lnTo>
                <a:lnTo>
                  <a:pt x="348" y="92"/>
                </a:lnTo>
                <a:lnTo>
                  <a:pt x="348" y="91"/>
                </a:lnTo>
                <a:lnTo>
                  <a:pt x="348" y="90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8" y="89"/>
                </a:lnTo>
                <a:lnTo>
                  <a:pt x="349" y="89"/>
                </a:lnTo>
                <a:lnTo>
                  <a:pt x="350" y="89"/>
                </a:lnTo>
                <a:lnTo>
                  <a:pt x="352" y="89"/>
                </a:lnTo>
                <a:lnTo>
                  <a:pt x="353" y="89"/>
                </a:lnTo>
                <a:lnTo>
                  <a:pt x="354" y="89"/>
                </a:lnTo>
                <a:lnTo>
                  <a:pt x="355" y="88"/>
                </a:lnTo>
                <a:lnTo>
                  <a:pt x="356" y="88"/>
                </a:lnTo>
                <a:lnTo>
                  <a:pt x="357" y="87"/>
                </a:lnTo>
                <a:lnTo>
                  <a:pt x="358" y="87"/>
                </a:lnTo>
                <a:lnTo>
                  <a:pt x="360" y="86"/>
                </a:lnTo>
                <a:lnTo>
                  <a:pt x="361" y="84"/>
                </a:lnTo>
                <a:lnTo>
                  <a:pt x="363" y="82"/>
                </a:lnTo>
                <a:lnTo>
                  <a:pt x="365" y="80"/>
                </a:lnTo>
                <a:lnTo>
                  <a:pt x="366" y="79"/>
                </a:lnTo>
                <a:lnTo>
                  <a:pt x="367" y="77"/>
                </a:lnTo>
                <a:lnTo>
                  <a:pt x="368" y="75"/>
                </a:lnTo>
                <a:lnTo>
                  <a:pt x="368" y="74"/>
                </a:lnTo>
                <a:lnTo>
                  <a:pt x="368" y="73"/>
                </a:lnTo>
                <a:lnTo>
                  <a:pt x="368" y="72"/>
                </a:lnTo>
                <a:lnTo>
                  <a:pt x="368" y="71"/>
                </a:lnTo>
                <a:lnTo>
                  <a:pt x="368" y="70"/>
                </a:lnTo>
                <a:lnTo>
                  <a:pt x="368" y="69"/>
                </a:lnTo>
                <a:lnTo>
                  <a:pt x="368" y="68"/>
                </a:lnTo>
                <a:lnTo>
                  <a:pt x="368" y="67"/>
                </a:lnTo>
                <a:lnTo>
                  <a:pt x="367" y="66"/>
                </a:lnTo>
                <a:lnTo>
                  <a:pt x="367" y="65"/>
                </a:lnTo>
                <a:lnTo>
                  <a:pt x="366" y="65"/>
                </a:lnTo>
                <a:lnTo>
                  <a:pt x="365" y="64"/>
                </a:lnTo>
                <a:lnTo>
                  <a:pt x="364" y="63"/>
                </a:lnTo>
                <a:lnTo>
                  <a:pt x="363" y="62"/>
                </a:lnTo>
                <a:lnTo>
                  <a:pt x="360" y="60"/>
                </a:lnTo>
                <a:lnTo>
                  <a:pt x="358" y="59"/>
                </a:lnTo>
                <a:lnTo>
                  <a:pt x="357" y="59"/>
                </a:lnTo>
                <a:lnTo>
                  <a:pt x="356" y="57"/>
                </a:lnTo>
                <a:lnTo>
                  <a:pt x="355" y="56"/>
                </a:lnTo>
                <a:lnTo>
                  <a:pt x="355" y="55"/>
                </a:lnTo>
                <a:lnTo>
                  <a:pt x="354" y="54"/>
                </a:lnTo>
                <a:lnTo>
                  <a:pt x="354" y="54"/>
                </a:lnTo>
                <a:lnTo>
                  <a:pt x="354" y="53"/>
                </a:lnTo>
                <a:lnTo>
                  <a:pt x="354" y="52"/>
                </a:lnTo>
                <a:lnTo>
                  <a:pt x="355" y="51"/>
                </a:lnTo>
                <a:lnTo>
                  <a:pt x="355" y="50"/>
                </a:lnTo>
                <a:lnTo>
                  <a:pt x="357" y="44"/>
                </a:lnTo>
                <a:lnTo>
                  <a:pt x="358" y="41"/>
                </a:lnTo>
                <a:lnTo>
                  <a:pt x="359" y="39"/>
                </a:lnTo>
                <a:lnTo>
                  <a:pt x="359" y="37"/>
                </a:lnTo>
                <a:lnTo>
                  <a:pt x="359" y="36"/>
                </a:lnTo>
                <a:lnTo>
                  <a:pt x="359" y="35"/>
                </a:lnTo>
                <a:lnTo>
                  <a:pt x="359" y="34"/>
                </a:lnTo>
                <a:lnTo>
                  <a:pt x="359" y="35"/>
                </a:lnTo>
                <a:lnTo>
                  <a:pt x="360" y="35"/>
                </a:lnTo>
                <a:lnTo>
                  <a:pt x="360" y="35"/>
                </a:lnTo>
                <a:lnTo>
                  <a:pt x="361" y="35"/>
                </a:lnTo>
                <a:lnTo>
                  <a:pt x="361" y="35"/>
                </a:lnTo>
                <a:lnTo>
                  <a:pt x="362" y="35"/>
                </a:lnTo>
                <a:lnTo>
                  <a:pt x="363" y="35"/>
                </a:lnTo>
                <a:lnTo>
                  <a:pt x="363" y="35"/>
                </a:lnTo>
                <a:lnTo>
                  <a:pt x="364" y="34"/>
                </a:lnTo>
                <a:lnTo>
                  <a:pt x="365" y="33"/>
                </a:lnTo>
                <a:lnTo>
                  <a:pt x="367" y="32"/>
                </a:lnTo>
                <a:lnTo>
                  <a:pt x="368" y="30"/>
                </a:lnTo>
                <a:lnTo>
                  <a:pt x="371" y="27"/>
                </a:lnTo>
                <a:lnTo>
                  <a:pt x="371" y="27"/>
                </a:lnTo>
                <a:lnTo>
                  <a:pt x="372" y="26"/>
                </a:lnTo>
                <a:lnTo>
                  <a:pt x="373" y="25"/>
                </a:lnTo>
                <a:lnTo>
                  <a:pt x="375" y="25"/>
                </a:lnTo>
                <a:lnTo>
                  <a:pt x="376" y="24"/>
                </a:lnTo>
                <a:lnTo>
                  <a:pt x="377" y="24"/>
                </a:lnTo>
                <a:lnTo>
                  <a:pt x="378" y="24"/>
                </a:lnTo>
                <a:lnTo>
                  <a:pt x="379" y="24"/>
                </a:lnTo>
                <a:lnTo>
                  <a:pt x="380" y="24"/>
                </a:lnTo>
                <a:lnTo>
                  <a:pt x="380" y="24"/>
                </a:lnTo>
                <a:lnTo>
                  <a:pt x="382" y="24"/>
                </a:lnTo>
                <a:lnTo>
                  <a:pt x="383" y="25"/>
                </a:lnTo>
                <a:lnTo>
                  <a:pt x="384" y="26"/>
                </a:lnTo>
                <a:lnTo>
                  <a:pt x="385" y="26"/>
                </a:lnTo>
                <a:lnTo>
                  <a:pt x="386" y="26"/>
                </a:lnTo>
                <a:lnTo>
                  <a:pt x="388" y="26"/>
                </a:lnTo>
                <a:lnTo>
                  <a:pt x="391" y="25"/>
                </a:lnTo>
                <a:lnTo>
                  <a:pt x="393" y="25"/>
                </a:lnTo>
                <a:lnTo>
                  <a:pt x="397" y="24"/>
                </a:lnTo>
                <a:lnTo>
                  <a:pt x="399" y="24"/>
                </a:lnTo>
                <a:lnTo>
                  <a:pt x="400" y="24"/>
                </a:lnTo>
                <a:lnTo>
                  <a:pt x="401" y="24"/>
                </a:lnTo>
                <a:lnTo>
                  <a:pt x="402" y="24"/>
                </a:lnTo>
                <a:lnTo>
                  <a:pt x="408" y="25"/>
                </a:lnTo>
                <a:lnTo>
                  <a:pt x="410" y="25"/>
                </a:lnTo>
                <a:lnTo>
                  <a:pt x="412" y="26"/>
                </a:lnTo>
                <a:lnTo>
                  <a:pt x="415" y="26"/>
                </a:lnTo>
                <a:lnTo>
                  <a:pt x="417" y="25"/>
                </a:lnTo>
                <a:lnTo>
                  <a:pt x="419" y="25"/>
                </a:lnTo>
                <a:lnTo>
                  <a:pt x="420" y="25"/>
                </a:lnTo>
                <a:lnTo>
                  <a:pt x="420" y="25"/>
                </a:lnTo>
                <a:lnTo>
                  <a:pt x="421" y="24"/>
                </a:lnTo>
                <a:lnTo>
                  <a:pt x="422" y="23"/>
                </a:lnTo>
                <a:lnTo>
                  <a:pt x="422" y="23"/>
                </a:lnTo>
                <a:lnTo>
                  <a:pt x="423" y="21"/>
                </a:lnTo>
                <a:lnTo>
                  <a:pt x="424" y="20"/>
                </a:lnTo>
                <a:lnTo>
                  <a:pt x="424" y="18"/>
                </a:lnTo>
                <a:lnTo>
                  <a:pt x="427" y="7"/>
                </a:lnTo>
                <a:lnTo>
                  <a:pt x="428" y="4"/>
                </a:lnTo>
                <a:lnTo>
                  <a:pt x="428" y="2"/>
                </a:lnTo>
                <a:lnTo>
                  <a:pt x="429" y="1"/>
                </a:lnTo>
                <a:lnTo>
                  <a:pt x="430" y="0"/>
                </a:lnTo>
                <a:lnTo>
                  <a:pt x="430" y="0"/>
                </a:lnTo>
                <a:lnTo>
                  <a:pt x="430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Freeform 287">
            <a:extLst>
              <a:ext uri="{FF2B5EF4-FFF2-40B4-BE49-F238E27FC236}">
                <a16:creationId xmlns:a16="http://schemas.microsoft.com/office/drawing/2014/main" id="{F94AEE6A-2E40-4982-BABA-35028205E985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982674" cy="1595013"/>
          </a:xfrm>
          <a:custGeom>
            <a:avLst/>
            <a:gdLst>
              <a:gd name="T0" fmla="*/ 258 w 517"/>
              <a:gd name="T1" fmla="*/ 105 h 767"/>
              <a:gd name="T2" fmla="*/ 281 w 517"/>
              <a:gd name="T3" fmla="*/ 107 h 767"/>
              <a:gd name="T4" fmla="*/ 290 w 517"/>
              <a:gd name="T5" fmla="*/ 147 h 767"/>
              <a:gd name="T6" fmla="*/ 254 w 517"/>
              <a:gd name="T7" fmla="*/ 165 h 767"/>
              <a:gd name="T8" fmla="*/ 217 w 517"/>
              <a:gd name="T9" fmla="*/ 213 h 767"/>
              <a:gd name="T10" fmla="*/ 194 w 517"/>
              <a:gd name="T11" fmla="*/ 277 h 767"/>
              <a:gd name="T12" fmla="*/ 201 w 517"/>
              <a:gd name="T13" fmla="*/ 320 h 767"/>
              <a:gd name="T14" fmla="*/ 189 w 517"/>
              <a:gd name="T15" fmla="*/ 356 h 767"/>
              <a:gd name="T16" fmla="*/ 201 w 517"/>
              <a:gd name="T17" fmla="*/ 389 h 767"/>
              <a:gd name="T18" fmla="*/ 215 w 517"/>
              <a:gd name="T19" fmla="*/ 406 h 767"/>
              <a:gd name="T20" fmla="*/ 258 w 517"/>
              <a:gd name="T21" fmla="*/ 384 h 767"/>
              <a:gd name="T22" fmla="*/ 276 w 517"/>
              <a:gd name="T23" fmla="*/ 406 h 767"/>
              <a:gd name="T24" fmla="*/ 294 w 517"/>
              <a:gd name="T25" fmla="*/ 409 h 767"/>
              <a:gd name="T26" fmla="*/ 314 w 517"/>
              <a:gd name="T27" fmla="*/ 396 h 767"/>
              <a:gd name="T28" fmla="*/ 322 w 517"/>
              <a:gd name="T29" fmla="*/ 379 h 767"/>
              <a:gd name="T30" fmla="*/ 336 w 517"/>
              <a:gd name="T31" fmla="*/ 420 h 767"/>
              <a:gd name="T32" fmla="*/ 379 w 517"/>
              <a:gd name="T33" fmla="*/ 449 h 767"/>
              <a:gd name="T34" fmla="*/ 416 w 517"/>
              <a:gd name="T35" fmla="*/ 449 h 767"/>
              <a:gd name="T36" fmla="*/ 419 w 517"/>
              <a:gd name="T37" fmla="*/ 495 h 767"/>
              <a:gd name="T38" fmla="*/ 444 w 517"/>
              <a:gd name="T39" fmla="*/ 501 h 767"/>
              <a:gd name="T40" fmla="*/ 491 w 517"/>
              <a:gd name="T41" fmla="*/ 558 h 767"/>
              <a:gd name="T42" fmla="*/ 501 w 517"/>
              <a:gd name="T43" fmla="*/ 569 h 767"/>
              <a:gd name="T44" fmla="*/ 513 w 517"/>
              <a:gd name="T45" fmla="*/ 593 h 767"/>
              <a:gd name="T46" fmla="*/ 484 w 517"/>
              <a:gd name="T47" fmla="*/ 602 h 767"/>
              <a:gd name="T48" fmla="*/ 459 w 517"/>
              <a:gd name="T49" fmla="*/ 646 h 767"/>
              <a:gd name="T50" fmla="*/ 424 w 517"/>
              <a:gd name="T51" fmla="*/ 640 h 767"/>
              <a:gd name="T52" fmla="*/ 400 w 517"/>
              <a:gd name="T53" fmla="*/ 647 h 767"/>
              <a:gd name="T54" fmla="*/ 400 w 517"/>
              <a:gd name="T55" fmla="*/ 674 h 767"/>
              <a:gd name="T56" fmla="*/ 364 w 517"/>
              <a:gd name="T57" fmla="*/ 676 h 767"/>
              <a:gd name="T58" fmla="*/ 339 w 517"/>
              <a:gd name="T59" fmla="*/ 702 h 767"/>
              <a:gd name="T60" fmla="*/ 298 w 517"/>
              <a:gd name="T61" fmla="*/ 692 h 767"/>
              <a:gd name="T62" fmla="*/ 281 w 517"/>
              <a:gd name="T63" fmla="*/ 678 h 767"/>
              <a:gd name="T64" fmla="*/ 278 w 517"/>
              <a:gd name="T65" fmla="*/ 719 h 767"/>
              <a:gd name="T66" fmla="*/ 239 w 517"/>
              <a:gd name="T67" fmla="*/ 750 h 767"/>
              <a:gd name="T68" fmla="*/ 200 w 517"/>
              <a:gd name="T69" fmla="*/ 767 h 767"/>
              <a:gd name="T70" fmla="*/ 161 w 517"/>
              <a:gd name="T71" fmla="*/ 721 h 767"/>
              <a:gd name="T72" fmla="*/ 151 w 517"/>
              <a:gd name="T73" fmla="*/ 686 h 767"/>
              <a:gd name="T74" fmla="*/ 133 w 517"/>
              <a:gd name="T75" fmla="*/ 678 h 767"/>
              <a:gd name="T76" fmla="*/ 111 w 517"/>
              <a:gd name="T77" fmla="*/ 639 h 767"/>
              <a:gd name="T78" fmla="*/ 71 w 517"/>
              <a:gd name="T79" fmla="*/ 634 h 767"/>
              <a:gd name="T80" fmla="*/ 88 w 517"/>
              <a:gd name="T81" fmla="*/ 664 h 767"/>
              <a:gd name="T82" fmla="*/ 65 w 517"/>
              <a:gd name="T83" fmla="*/ 695 h 767"/>
              <a:gd name="T84" fmla="*/ 50 w 517"/>
              <a:gd name="T85" fmla="*/ 667 h 767"/>
              <a:gd name="T86" fmla="*/ 38 w 517"/>
              <a:gd name="T87" fmla="*/ 620 h 767"/>
              <a:gd name="T88" fmla="*/ 25 w 517"/>
              <a:gd name="T89" fmla="*/ 596 h 767"/>
              <a:gd name="T90" fmla="*/ 21 w 517"/>
              <a:gd name="T91" fmla="*/ 570 h 767"/>
              <a:gd name="T92" fmla="*/ 42 w 517"/>
              <a:gd name="T93" fmla="*/ 551 h 767"/>
              <a:gd name="T94" fmla="*/ 55 w 517"/>
              <a:gd name="T95" fmla="*/ 504 h 767"/>
              <a:gd name="T96" fmla="*/ 39 w 517"/>
              <a:gd name="T97" fmla="*/ 472 h 767"/>
              <a:gd name="T98" fmla="*/ 30 w 517"/>
              <a:gd name="T99" fmla="*/ 440 h 767"/>
              <a:gd name="T100" fmla="*/ 11 w 517"/>
              <a:gd name="T101" fmla="*/ 391 h 767"/>
              <a:gd name="T102" fmla="*/ 7 w 517"/>
              <a:gd name="T103" fmla="*/ 329 h 767"/>
              <a:gd name="T104" fmla="*/ 15 w 517"/>
              <a:gd name="T105" fmla="*/ 294 h 767"/>
              <a:gd name="T106" fmla="*/ 36 w 517"/>
              <a:gd name="T107" fmla="*/ 252 h 767"/>
              <a:gd name="T108" fmla="*/ 51 w 517"/>
              <a:gd name="T109" fmla="*/ 192 h 767"/>
              <a:gd name="T110" fmla="*/ 74 w 517"/>
              <a:gd name="T111" fmla="*/ 150 h 767"/>
              <a:gd name="T112" fmla="*/ 113 w 517"/>
              <a:gd name="T113" fmla="*/ 146 h 767"/>
              <a:gd name="T114" fmla="*/ 120 w 517"/>
              <a:gd name="T115" fmla="*/ 114 h 767"/>
              <a:gd name="T116" fmla="*/ 84 w 517"/>
              <a:gd name="T117" fmla="*/ 70 h 767"/>
              <a:gd name="T118" fmla="*/ 55 w 517"/>
              <a:gd name="T119" fmla="*/ 22 h 767"/>
              <a:gd name="T120" fmla="*/ 96 w 517"/>
              <a:gd name="T121" fmla="*/ 15 h 767"/>
              <a:gd name="T122" fmla="*/ 157 w 517"/>
              <a:gd name="T123" fmla="*/ 31 h 767"/>
              <a:gd name="T124" fmla="*/ 200 w 517"/>
              <a:gd name="T125" fmla="*/ 54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17" h="767">
                <a:moveTo>
                  <a:pt x="238" y="79"/>
                </a:moveTo>
                <a:lnTo>
                  <a:pt x="240" y="79"/>
                </a:lnTo>
                <a:lnTo>
                  <a:pt x="241" y="79"/>
                </a:lnTo>
                <a:lnTo>
                  <a:pt x="243" y="78"/>
                </a:lnTo>
                <a:lnTo>
                  <a:pt x="249" y="77"/>
                </a:lnTo>
                <a:lnTo>
                  <a:pt x="250" y="77"/>
                </a:lnTo>
                <a:lnTo>
                  <a:pt x="251" y="77"/>
                </a:lnTo>
                <a:lnTo>
                  <a:pt x="252" y="77"/>
                </a:lnTo>
                <a:lnTo>
                  <a:pt x="253" y="77"/>
                </a:lnTo>
                <a:lnTo>
                  <a:pt x="254" y="77"/>
                </a:lnTo>
                <a:lnTo>
                  <a:pt x="254" y="77"/>
                </a:lnTo>
                <a:lnTo>
                  <a:pt x="255" y="77"/>
                </a:lnTo>
                <a:lnTo>
                  <a:pt x="255" y="78"/>
                </a:lnTo>
                <a:lnTo>
                  <a:pt x="255" y="78"/>
                </a:lnTo>
                <a:lnTo>
                  <a:pt x="256" y="79"/>
                </a:lnTo>
                <a:lnTo>
                  <a:pt x="257" y="83"/>
                </a:lnTo>
                <a:lnTo>
                  <a:pt x="258" y="87"/>
                </a:lnTo>
                <a:lnTo>
                  <a:pt x="258" y="87"/>
                </a:lnTo>
                <a:lnTo>
                  <a:pt x="258" y="89"/>
                </a:lnTo>
                <a:lnTo>
                  <a:pt x="258" y="90"/>
                </a:lnTo>
                <a:lnTo>
                  <a:pt x="258" y="92"/>
                </a:lnTo>
                <a:lnTo>
                  <a:pt x="258" y="103"/>
                </a:lnTo>
                <a:lnTo>
                  <a:pt x="258" y="104"/>
                </a:lnTo>
                <a:lnTo>
                  <a:pt x="258" y="105"/>
                </a:lnTo>
                <a:lnTo>
                  <a:pt x="258" y="107"/>
                </a:lnTo>
                <a:lnTo>
                  <a:pt x="259" y="109"/>
                </a:lnTo>
                <a:lnTo>
                  <a:pt x="259" y="110"/>
                </a:lnTo>
                <a:lnTo>
                  <a:pt x="260" y="110"/>
                </a:lnTo>
                <a:lnTo>
                  <a:pt x="260" y="111"/>
                </a:lnTo>
                <a:lnTo>
                  <a:pt x="260" y="111"/>
                </a:lnTo>
                <a:lnTo>
                  <a:pt x="261" y="112"/>
                </a:lnTo>
                <a:lnTo>
                  <a:pt x="262" y="112"/>
                </a:lnTo>
                <a:lnTo>
                  <a:pt x="263" y="112"/>
                </a:lnTo>
                <a:lnTo>
                  <a:pt x="263" y="112"/>
                </a:lnTo>
                <a:lnTo>
                  <a:pt x="264" y="111"/>
                </a:lnTo>
                <a:lnTo>
                  <a:pt x="264" y="111"/>
                </a:lnTo>
                <a:lnTo>
                  <a:pt x="267" y="109"/>
                </a:lnTo>
                <a:lnTo>
                  <a:pt x="268" y="108"/>
                </a:lnTo>
                <a:lnTo>
                  <a:pt x="269" y="107"/>
                </a:lnTo>
                <a:lnTo>
                  <a:pt x="270" y="107"/>
                </a:lnTo>
                <a:lnTo>
                  <a:pt x="271" y="107"/>
                </a:lnTo>
                <a:lnTo>
                  <a:pt x="272" y="106"/>
                </a:lnTo>
                <a:lnTo>
                  <a:pt x="274" y="106"/>
                </a:lnTo>
                <a:lnTo>
                  <a:pt x="275" y="106"/>
                </a:lnTo>
                <a:lnTo>
                  <a:pt x="276" y="106"/>
                </a:lnTo>
                <a:lnTo>
                  <a:pt x="278" y="106"/>
                </a:lnTo>
                <a:lnTo>
                  <a:pt x="279" y="106"/>
                </a:lnTo>
                <a:lnTo>
                  <a:pt x="281" y="107"/>
                </a:lnTo>
                <a:lnTo>
                  <a:pt x="282" y="107"/>
                </a:lnTo>
                <a:lnTo>
                  <a:pt x="284" y="108"/>
                </a:lnTo>
                <a:lnTo>
                  <a:pt x="285" y="109"/>
                </a:lnTo>
                <a:lnTo>
                  <a:pt x="287" y="110"/>
                </a:lnTo>
                <a:lnTo>
                  <a:pt x="288" y="111"/>
                </a:lnTo>
                <a:lnTo>
                  <a:pt x="289" y="112"/>
                </a:lnTo>
                <a:lnTo>
                  <a:pt x="290" y="112"/>
                </a:lnTo>
                <a:lnTo>
                  <a:pt x="291" y="113"/>
                </a:lnTo>
                <a:lnTo>
                  <a:pt x="292" y="115"/>
                </a:lnTo>
                <a:lnTo>
                  <a:pt x="292" y="116"/>
                </a:lnTo>
                <a:lnTo>
                  <a:pt x="293" y="117"/>
                </a:lnTo>
                <a:lnTo>
                  <a:pt x="294" y="119"/>
                </a:lnTo>
                <a:lnTo>
                  <a:pt x="294" y="120"/>
                </a:lnTo>
                <a:lnTo>
                  <a:pt x="294" y="121"/>
                </a:lnTo>
                <a:lnTo>
                  <a:pt x="294" y="121"/>
                </a:lnTo>
                <a:lnTo>
                  <a:pt x="294" y="122"/>
                </a:lnTo>
                <a:lnTo>
                  <a:pt x="293" y="134"/>
                </a:lnTo>
                <a:lnTo>
                  <a:pt x="293" y="137"/>
                </a:lnTo>
                <a:lnTo>
                  <a:pt x="293" y="140"/>
                </a:lnTo>
                <a:lnTo>
                  <a:pt x="292" y="143"/>
                </a:lnTo>
                <a:lnTo>
                  <a:pt x="292" y="144"/>
                </a:lnTo>
                <a:lnTo>
                  <a:pt x="291" y="145"/>
                </a:lnTo>
                <a:lnTo>
                  <a:pt x="291" y="147"/>
                </a:lnTo>
                <a:lnTo>
                  <a:pt x="290" y="147"/>
                </a:lnTo>
                <a:lnTo>
                  <a:pt x="290" y="148"/>
                </a:lnTo>
                <a:lnTo>
                  <a:pt x="289" y="148"/>
                </a:lnTo>
                <a:lnTo>
                  <a:pt x="288" y="149"/>
                </a:lnTo>
                <a:lnTo>
                  <a:pt x="287" y="149"/>
                </a:lnTo>
                <a:lnTo>
                  <a:pt x="286" y="149"/>
                </a:lnTo>
                <a:lnTo>
                  <a:pt x="285" y="149"/>
                </a:lnTo>
                <a:lnTo>
                  <a:pt x="284" y="149"/>
                </a:lnTo>
                <a:lnTo>
                  <a:pt x="282" y="149"/>
                </a:lnTo>
                <a:lnTo>
                  <a:pt x="280" y="149"/>
                </a:lnTo>
                <a:lnTo>
                  <a:pt x="278" y="148"/>
                </a:lnTo>
                <a:lnTo>
                  <a:pt x="276" y="148"/>
                </a:lnTo>
                <a:lnTo>
                  <a:pt x="275" y="148"/>
                </a:lnTo>
                <a:lnTo>
                  <a:pt x="274" y="148"/>
                </a:lnTo>
                <a:lnTo>
                  <a:pt x="273" y="149"/>
                </a:lnTo>
                <a:lnTo>
                  <a:pt x="272" y="149"/>
                </a:lnTo>
                <a:lnTo>
                  <a:pt x="271" y="150"/>
                </a:lnTo>
                <a:lnTo>
                  <a:pt x="269" y="152"/>
                </a:lnTo>
                <a:lnTo>
                  <a:pt x="266" y="155"/>
                </a:lnTo>
                <a:lnTo>
                  <a:pt x="262" y="160"/>
                </a:lnTo>
                <a:lnTo>
                  <a:pt x="260" y="161"/>
                </a:lnTo>
                <a:lnTo>
                  <a:pt x="259" y="162"/>
                </a:lnTo>
                <a:lnTo>
                  <a:pt x="257" y="164"/>
                </a:lnTo>
                <a:lnTo>
                  <a:pt x="256" y="165"/>
                </a:lnTo>
                <a:lnTo>
                  <a:pt x="254" y="165"/>
                </a:lnTo>
                <a:lnTo>
                  <a:pt x="251" y="166"/>
                </a:lnTo>
                <a:lnTo>
                  <a:pt x="250" y="167"/>
                </a:lnTo>
                <a:lnTo>
                  <a:pt x="248" y="168"/>
                </a:lnTo>
                <a:lnTo>
                  <a:pt x="247" y="169"/>
                </a:lnTo>
                <a:lnTo>
                  <a:pt x="246" y="170"/>
                </a:lnTo>
                <a:lnTo>
                  <a:pt x="245" y="171"/>
                </a:lnTo>
                <a:lnTo>
                  <a:pt x="241" y="174"/>
                </a:lnTo>
                <a:lnTo>
                  <a:pt x="240" y="175"/>
                </a:lnTo>
                <a:lnTo>
                  <a:pt x="239" y="176"/>
                </a:lnTo>
                <a:lnTo>
                  <a:pt x="236" y="178"/>
                </a:lnTo>
                <a:lnTo>
                  <a:pt x="235" y="179"/>
                </a:lnTo>
                <a:lnTo>
                  <a:pt x="233" y="181"/>
                </a:lnTo>
                <a:lnTo>
                  <a:pt x="230" y="185"/>
                </a:lnTo>
                <a:lnTo>
                  <a:pt x="223" y="193"/>
                </a:lnTo>
                <a:lnTo>
                  <a:pt x="221" y="196"/>
                </a:lnTo>
                <a:lnTo>
                  <a:pt x="220" y="198"/>
                </a:lnTo>
                <a:lnTo>
                  <a:pt x="220" y="199"/>
                </a:lnTo>
                <a:lnTo>
                  <a:pt x="219" y="200"/>
                </a:lnTo>
                <a:lnTo>
                  <a:pt x="219" y="202"/>
                </a:lnTo>
                <a:lnTo>
                  <a:pt x="218" y="205"/>
                </a:lnTo>
                <a:lnTo>
                  <a:pt x="218" y="209"/>
                </a:lnTo>
                <a:lnTo>
                  <a:pt x="218" y="211"/>
                </a:lnTo>
                <a:lnTo>
                  <a:pt x="217" y="212"/>
                </a:lnTo>
                <a:lnTo>
                  <a:pt x="217" y="213"/>
                </a:lnTo>
                <a:lnTo>
                  <a:pt x="216" y="215"/>
                </a:lnTo>
                <a:lnTo>
                  <a:pt x="214" y="220"/>
                </a:lnTo>
                <a:lnTo>
                  <a:pt x="214" y="222"/>
                </a:lnTo>
                <a:lnTo>
                  <a:pt x="213" y="223"/>
                </a:lnTo>
                <a:lnTo>
                  <a:pt x="213" y="225"/>
                </a:lnTo>
                <a:lnTo>
                  <a:pt x="213" y="227"/>
                </a:lnTo>
                <a:lnTo>
                  <a:pt x="213" y="229"/>
                </a:lnTo>
                <a:lnTo>
                  <a:pt x="213" y="236"/>
                </a:lnTo>
                <a:lnTo>
                  <a:pt x="213" y="242"/>
                </a:lnTo>
                <a:lnTo>
                  <a:pt x="213" y="245"/>
                </a:lnTo>
                <a:lnTo>
                  <a:pt x="213" y="247"/>
                </a:lnTo>
                <a:lnTo>
                  <a:pt x="213" y="249"/>
                </a:lnTo>
                <a:lnTo>
                  <a:pt x="213" y="250"/>
                </a:lnTo>
                <a:lnTo>
                  <a:pt x="212" y="252"/>
                </a:lnTo>
                <a:lnTo>
                  <a:pt x="211" y="254"/>
                </a:lnTo>
                <a:lnTo>
                  <a:pt x="211" y="255"/>
                </a:lnTo>
                <a:lnTo>
                  <a:pt x="210" y="257"/>
                </a:lnTo>
                <a:lnTo>
                  <a:pt x="209" y="259"/>
                </a:lnTo>
                <a:lnTo>
                  <a:pt x="208" y="260"/>
                </a:lnTo>
                <a:lnTo>
                  <a:pt x="207" y="261"/>
                </a:lnTo>
                <a:lnTo>
                  <a:pt x="199" y="270"/>
                </a:lnTo>
                <a:lnTo>
                  <a:pt x="197" y="273"/>
                </a:lnTo>
                <a:lnTo>
                  <a:pt x="196" y="275"/>
                </a:lnTo>
                <a:lnTo>
                  <a:pt x="194" y="277"/>
                </a:lnTo>
                <a:lnTo>
                  <a:pt x="193" y="279"/>
                </a:lnTo>
                <a:lnTo>
                  <a:pt x="192" y="283"/>
                </a:lnTo>
                <a:lnTo>
                  <a:pt x="191" y="284"/>
                </a:lnTo>
                <a:lnTo>
                  <a:pt x="191" y="285"/>
                </a:lnTo>
                <a:lnTo>
                  <a:pt x="190" y="287"/>
                </a:lnTo>
                <a:lnTo>
                  <a:pt x="190" y="288"/>
                </a:lnTo>
                <a:lnTo>
                  <a:pt x="190" y="290"/>
                </a:lnTo>
                <a:lnTo>
                  <a:pt x="189" y="295"/>
                </a:lnTo>
                <a:lnTo>
                  <a:pt x="188" y="300"/>
                </a:lnTo>
                <a:lnTo>
                  <a:pt x="188" y="301"/>
                </a:lnTo>
                <a:lnTo>
                  <a:pt x="188" y="302"/>
                </a:lnTo>
                <a:lnTo>
                  <a:pt x="189" y="303"/>
                </a:lnTo>
                <a:lnTo>
                  <a:pt x="189" y="304"/>
                </a:lnTo>
                <a:lnTo>
                  <a:pt x="189" y="304"/>
                </a:lnTo>
                <a:lnTo>
                  <a:pt x="189" y="305"/>
                </a:lnTo>
                <a:lnTo>
                  <a:pt x="190" y="306"/>
                </a:lnTo>
                <a:lnTo>
                  <a:pt x="191" y="307"/>
                </a:lnTo>
                <a:lnTo>
                  <a:pt x="192" y="309"/>
                </a:lnTo>
                <a:lnTo>
                  <a:pt x="198" y="315"/>
                </a:lnTo>
                <a:lnTo>
                  <a:pt x="199" y="316"/>
                </a:lnTo>
                <a:lnTo>
                  <a:pt x="200" y="318"/>
                </a:lnTo>
                <a:lnTo>
                  <a:pt x="200" y="318"/>
                </a:lnTo>
                <a:lnTo>
                  <a:pt x="201" y="319"/>
                </a:lnTo>
                <a:lnTo>
                  <a:pt x="201" y="320"/>
                </a:lnTo>
                <a:lnTo>
                  <a:pt x="201" y="321"/>
                </a:lnTo>
                <a:lnTo>
                  <a:pt x="202" y="322"/>
                </a:lnTo>
                <a:lnTo>
                  <a:pt x="202" y="323"/>
                </a:lnTo>
                <a:lnTo>
                  <a:pt x="202" y="324"/>
                </a:lnTo>
                <a:lnTo>
                  <a:pt x="202" y="325"/>
                </a:lnTo>
                <a:lnTo>
                  <a:pt x="202" y="326"/>
                </a:lnTo>
                <a:lnTo>
                  <a:pt x="201" y="328"/>
                </a:lnTo>
                <a:lnTo>
                  <a:pt x="201" y="329"/>
                </a:lnTo>
                <a:lnTo>
                  <a:pt x="200" y="331"/>
                </a:lnTo>
                <a:lnTo>
                  <a:pt x="199" y="333"/>
                </a:lnTo>
                <a:lnTo>
                  <a:pt x="198" y="334"/>
                </a:lnTo>
                <a:lnTo>
                  <a:pt x="195" y="338"/>
                </a:lnTo>
                <a:lnTo>
                  <a:pt x="193" y="340"/>
                </a:lnTo>
                <a:lnTo>
                  <a:pt x="191" y="342"/>
                </a:lnTo>
                <a:lnTo>
                  <a:pt x="191" y="343"/>
                </a:lnTo>
                <a:lnTo>
                  <a:pt x="191" y="344"/>
                </a:lnTo>
                <a:lnTo>
                  <a:pt x="190" y="345"/>
                </a:lnTo>
                <a:lnTo>
                  <a:pt x="190" y="347"/>
                </a:lnTo>
                <a:lnTo>
                  <a:pt x="190" y="348"/>
                </a:lnTo>
                <a:lnTo>
                  <a:pt x="190" y="350"/>
                </a:lnTo>
                <a:lnTo>
                  <a:pt x="190" y="351"/>
                </a:lnTo>
                <a:lnTo>
                  <a:pt x="190" y="353"/>
                </a:lnTo>
                <a:lnTo>
                  <a:pt x="190" y="354"/>
                </a:lnTo>
                <a:lnTo>
                  <a:pt x="189" y="356"/>
                </a:lnTo>
                <a:lnTo>
                  <a:pt x="188" y="358"/>
                </a:lnTo>
                <a:lnTo>
                  <a:pt x="186" y="363"/>
                </a:lnTo>
                <a:lnTo>
                  <a:pt x="185" y="365"/>
                </a:lnTo>
                <a:lnTo>
                  <a:pt x="185" y="366"/>
                </a:lnTo>
                <a:lnTo>
                  <a:pt x="185" y="367"/>
                </a:lnTo>
                <a:lnTo>
                  <a:pt x="185" y="369"/>
                </a:lnTo>
                <a:lnTo>
                  <a:pt x="185" y="369"/>
                </a:lnTo>
                <a:lnTo>
                  <a:pt x="185" y="370"/>
                </a:lnTo>
                <a:lnTo>
                  <a:pt x="185" y="371"/>
                </a:lnTo>
                <a:lnTo>
                  <a:pt x="185" y="372"/>
                </a:lnTo>
                <a:lnTo>
                  <a:pt x="186" y="373"/>
                </a:lnTo>
                <a:lnTo>
                  <a:pt x="187" y="375"/>
                </a:lnTo>
                <a:lnTo>
                  <a:pt x="188" y="377"/>
                </a:lnTo>
                <a:lnTo>
                  <a:pt x="189" y="378"/>
                </a:lnTo>
                <a:lnTo>
                  <a:pt x="189" y="379"/>
                </a:lnTo>
                <a:lnTo>
                  <a:pt x="192" y="382"/>
                </a:lnTo>
                <a:lnTo>
                  <a:pt x="194" y="385"/>
                </a:lnTo>
                <a:lnTo>
                  <a:pt x="195" y="386"/>
                </a:lnTo>
                <a:lnTo>
                  <a:pt x="197" y="388"/>
                </a:lnTo>
                <a:lnTo>
                  <a:pt x="197" y="388"/>
                </a:lnTo>
                <a:lnTo>
                  <a:pt x="198" y="389"/>
                </a:lnTo>
                <a:lnTo>
                  <a:pt x="199" y="389"/>
                </a:lnTo>
                <a:lnTo>
                  <a:pt x="200" y="389"/>
                </a:lnTo>
                <a:lnTo>
                  <a:pt x="201" y="389"/>
                </a:lnTo>
                <a:lnTo>
                  <a:pt x="202" y="389"/>
                </a:lnTo>
                <a:lnTo>
                  <a:pt x="203" y="389"/>
                </a:lnTo>
                <a:lnTo>
                  <a:pt x="207" y="389"/>
                </a:lnTo>
                <a:lnTo>
                  <a:pt x="208" y="388"/>
                </a:lnTo>
                <a:lnTo>
                  <a:pt x="210" y="388"/>
                </a:lnTo>
                <a:lnTo>
                  <a:pt x="211" y="387"/>
                </a:lnTo>
                <a:lnTo>
                  <a:pt x="212" y="387"/>
                </a:lnTo>
                <a:lnTo>
                  <a:pt x="212" y="387"/>
                </a:lnTo>
                <a:lnTo>
                  <a:pt x="213" y="387"/>
                </a:lnTo>
                <a:lnTo>
                  <a:pt x="213" y="388"/>
                </a:lnTo>
                <a:lnTo>
                  <a:pt x="213" y="388"/>
                </a:lnTo>
                <a:lnTo>
                  <a:pt x="213" y="389"/>
                </a:lnTo>
                <a:lnTo>
                  <a:pt x="214" y="390"/>
                </a:lnTo>
                <a:lnTo>
                  <a:pt x="214" y="391"/>
                </a:lnTo>
                <a:lnTo>
                  <a:pt x="213" y="394"/>
                </a:lnTo>
                <a:lnTo>
                  <a:pt x="213" y="398"/>
                </a:lnTo>
                <a:lnTo>
                  <a:pt x="213" y="400"/>
                </a:lnTo>
                <a:lnTo>
                  <a:pt x="212" y="401"/>
                </a:lnTo>
                <a:lnTo>
                  <a:pt x="213" y="403"/>
                </a:lnTo>
                <a:lnTo>
                  <a:pt x="213" y="403"/>
                </a:lnTo>
                <a:lnTo>
                  <a:pt x="213" y="404"/>
                </a:lnTo>
                <a:lnTo>
                  <a:pt x="214" y="405"/>
                </a:lnTo>
                <a:lnTo>
                  <a:pt x="214" y="406"/>
                </a:lnTo>
                <a:lnTo>
                  <a:pt x="215" y="406"/>
                </a:lnTo>
                <a:lnTo>
                  <a:pt x="215" y="406"/>
                </a:lnTo>
                <a:lnTo>
                  <a:pt x="216" y="406"/>
                </a:lnTo>
                <a:lnTo>
                  <a:pt x="217" y="407"/>
                </a:lnTo>
                <a:lnTo>
                  <a:pt x="218" y="407"/>
                </a:lnTo>
                <a:lnTo>
                  <a:pt x="223" y="406"/>
                </a:lnTo>
                <a:lnTo>
                  <a:pt x="228" y="406"/>
                </a:lnTo>
                <a:lnTo>
                  <a:pt x="229" y="406"/>
                </a:lnTo>
                <a:lnTo>
                  <a:pt x="230" y="406"/>
                </a:lnTo>
                <a:lnTo>
                  <a:pt x="231" y="406"/>
                </a:lnTo>
                <a:lnTo>
                  <a:pt x="232" y="405"/>
                </a:lnTo>
                <a:lnTo>
                  <a:pt x="232" y="404"/>
                </a:lnTo>
                <a:lnTo>
                  <a:pt x="234" y="402"/>
                </a:lnTo>
                <a:lnTo>
                  <a:pt x="235" y="401"/>
                </a:lnTo>
                <a:lnTo>
                  <a:pt x="236" y="400"/>
                </a:lnTo>
                <a:lnTo>
                  <a:pt x="237" y="399"/>
                </a:lnTo>
                <a:lnTo>
                  <a:pt x="238" y="397"/>
                </a:lnTo>
                <a:lnTo>
                  <a:pt x="243" y="394"/>
                </a:lnTo>
                <a:lnTo>
                  <a:pt x="247" y="391"/>
                </a:lnTo>
                <a:lnTo>
                  <a:pt x="249" y="389"/>
                </a:lnTo>
                <a:lnTo>
                  <a:pt x="252" y="387"/>
                </a:lnTo>
                <a:lnTo>
                  <a:pt x="253" y="386"/>
                </a:lnTo>
                <a:lnTo>
                  <a:pt x="254" y="386"/>
                </a:lnTo>
                <a:lnTo>
                  <a:pt x="255" y="385"/>
                </a:lnTo>
                <a:lnTo>
                  <a:pt x="258" y="384"/>
                </a:lnTo>
                <a:lnTo>
                  <a:pt x="260" y="383"/>
                </a:lnTo>
                <a:lnTo>
                  <a:pt x="261" y="383"/>
                </a:lnTo>
                <a:lnTo>
                  <a:pt x="262" y="382"/>
                </a:lnTo>
                <a:lnTo>
                  <a:pt x="264" y="382"/>
                </a:lnTo>
                <a:lnTo>
                  <a:pt x="267" y="382"/>
                </a:lnTo>
                <a:lnTo>
                  <a:pt x="269" y="381"/>
                </a:lnTo>
                <a:lnTo>
                  <a:pt x="270" y="381"/>
                </a:lnTo>
                <a:lnTo>
                  <a:pt x="271" y="382"/>
                </a:lnTo>
                <a:lnTo>
                  <a:pt x="272" y="382"/>
                </a:lnTo>
                <a:lnTo>
                  <a:pt x="273" y="382"/>
                </a:lnTo>
                <a:lnTo>
                  <a:pt x="274" y="383"/>
                </a:lnTo>
                <a:lnTo>
                  <a:pt x="275" y="384"/>
                </a:lnTo>
                <a:lnTo>
                  <a:pt x="276" y="384"/>
                </a:lnTo>
                <a:lnTo>
                  <a:pt x="277" y="385"/>
                </a:lnTo>
                <a:lnTo>
                  <a:pt x="277" y="386"/>
                </a:lnTo>
                <a:lnTo>
                  <a:pt x="278" y="387"/>
                </a:lnTo>
                <a:lnTo>
                  <a:pt x="278" y="389"/>
                </a:lnTo>
                <a:lnTo>
                  <a:pt x="278" y="390"/>
                </a:lnTo>
                <a:lnTo>
                  <a:pt x="278" y="390"/>
                </a:lnTo>
                <a:lnTo>
                  <a:pt x="278" y="391"/>
                </a:lnTo>
                <a:lnTo>
                  <a:pt x="278" y="394"/>
                </a:lnTo>
                <a:lnTo>
                  <a:pt x="277" y="397"/>
                </a:lnTo>
                <a:lnTo>
                  <a:pt x="276" y="403"/>
                </a:lnTo>
                <a:lnTo>
                  <a:pt x="276" y="406"/>
                </a:lnTo>
                <a:lnTo>
                  <a:pt x="276" y="408"/>
                </a:lnTo>
                <a:lnTo>
                  <a:pt x="276" y="409"/>
                </a:lnTo>
                <a:lnTo>
                  <a:pt x="276" y="410"/>
                </a:lnTo>
                <a:lnTo>
                  <a:pt x="276" y="412"/>
                </a:lnTo>
                <a:lnTo>
                  <a:pt x="277" y="413"/>
                </a:lnTo>
                <a:lnTo>
                  <a:pt x="278" y="415"/>
                </a:lnTo>
                <a:lnTo>
                  <a:pt x="279" y="417"/>
                </a:lnTo>
                <a:lnTo>
                  <a:pt x="280" y="418"/>
                </a:lnTo>
                <a:lnTo>
                  <a:pt x="281" y="419"/>
                </a:lnTo>
                <a:lnTo>
                  <a:pt x="282" y="420"/>
                </a:lnTo>
                <a:lnTo>
                  <a:pt x="283" y="420"/>
                </a:lnTo>
                <a:lnTo>
                  <a:pt x="283" y="421"/>
                </a:lnTo>
                <a:lnTo>
                  <a:pt x="284" y="421"/>
                </a:lnTo>
                <a:lnTo>
                  <a:pt x="284" y="420"/>
                </a:lnTo>
                <a:lnTo>
                  <a:pt x="285" y="420"/>
                </a:lnTo>
                <a:lnTo>
                  <a:pt x="285" y="420"/>
                </a:lnTo>
                <a:lnTo>
                  <a:pt x="286" y="420"/>
                </a:lnTo>
                <a:lnTo>
                  <a:pt x="287" y="418"/>
                </a:lnTo>
                <a:lnTo>
                  <a:pt x="288" y="415"/>
                </a:lnTo>
                <a:lnTo>
                  <a:pt x="289" y="414"/>
                </a:lnTo>
                <a:lnTo>
                  <a:pt x="290" y="414"/>
                </a:lnTo>
                <a:lnTo>
                  <a:pt x="293" y="410"/>
                </a:lnTo>
                <a:lnTo>
                  <a:pt x="294" y="410"/>
                </a:lnTo>
                <a:lnTo>
                  <a:pt x="294" y="409"/>
                </a:lnTo>
                <a:lnTo>
                  <a:pt x="295" y="408"/>
                </a:lnTo>
                <a:lnTo>
                  <a:pt x="296" y="406"/>
                </a:lnTo>
                <a:lnTo>
                  <a:pt x="296" y="405"/>
                </a:lnTo>
                <a:lnTo>
                  <a:pt x="297" y="404"/>
                </a:lnTo>
                <a:lnTo>
                  <a:pt x="297" y="404"/>
                </a:lnTo>
                <a:lnTo>
                  <a:pt x="298" y="403"/>
                </a:lnTo>
                <a:lnTo>
                  <a:pt x="299" y="403"/>
                </a:lnTo>
                <a:lnTo>
                  <a:pt x="301" y="401"/>
                </a:lnTo>
                <a:lnTo>
                  <a:pt x="302" y="401"/>
                </a:lnTo>
                <a:lnTo>
                  <a:pt x="303" y="400"/>
                </a:lnTo>
                <a:lnTo>
                  <a:pt x="304" y="400"/>
                </a:lnTo>
                <a:lnTo>
                  <a:pt x="304" y="399"/>
                </a:lnTo>
                <a:lnTo>
                  <a:pt x="305" y="399"/>
                </a:lnTo>
                <a:lnTo>
                  <a:pt x="305" y="399"/>
                </a:lnTo>
                <a:lnTo>
                  <a:pt x="306" y="400"/>
                </a:lnTo>
                <a:lnTo>
                  <a:pt x="307" y="400"/>
                </a:lnTo>
                <a:lnTo>
                  <a:pt x="308" y="400"/>
                </a:lnTo>
                <a:lnTo>
                  <a:pt x="308" y="400"/>
                </a:lnTo>
                <a:lnTo>
                  <a:pt x="309" y="400"/>
                </a:lnTo>
                <a:lnTo>
                  <a:pt x="310" y="400"/>
                </a:lnTo>
                <a:lnTo>
                  <a:pt x="311" y="399"/>
                </a:lnTo>
                <a:lnTo>
                  <a:pt x="311" y="398"/>
                </a:lnTo>
                <a:lnTo>
                  <a:pt x="313" y="397"/>
                </a:lnTo>
                <a:lnTo>
                  <a:pt x="314" y="396"/>
                </a:lnTo>
                <a:lnTo>
                  <a:pt x="314" y="395"/>
                </a:lnTo>
                <a:lnTo>
                  <a:pt x="314" y="395"/>
                </a:lnTo>
                <a:lnTo>
                  <a:pt x="315" y="394"/>
                </a:lnTo>
                <a:lnTo>
                  <a:pt x="315" y="393"/>
                </a:lnTo>
                <a:lnTo>
                  <a:pt x="315" y="391"/>
                </a:lnTo>
                <a:lnTo>
                  <a:pt x="315" y="390"/>
                </a:lnTo>
                <a:lnTo>
                  <a:pt x="314" y="389"/>
                </a:lnTo>
                <a:lnTo>
                  <a:pt x="312" y="379"/>
                </a:lnTo>
                <a:lnTo>
                  <a:pt x="312" y="377"/>
                </a:lnTo>
                <a:lnTo>
                  <a:pt x="312" y="376"/>
                </a:lnTo>
                <a:lnTo>
                  <a:pt x="312" y="375"/>
                </a:lnTo>
                <a:lnTo>
                  <a:pt x="312" y="374"/>
                </a:lnTo>
                <a:lnTo>
                  <a:pt x="313" y="374"/>
                </a:lnTo>
                <a:lnTo>
                  <a:pt x="313" y="373"/>
                </a:lnTo>
                <a:lnTo>
                  <a:pt x="314" y="373"/>
                </a:lnTo>
                <a:lnTo>
                  <a:pt x="315" y="373"/>
                </a:lnTo>
                <a:lnTo>
                  <a:pt x="316" y="373"/>
                </a:lnTo>
                <a:lnTo>
                  <a:pt x="318" y="373"/>
                </a:lnTo>
                <a:lnTo>
                  <a:pt x="319" y="373"/>
                </a:lnTo>
                <a:lnTo>
                  <a:pt x="319" y="374"/>
                </a:lnTo>
                <a:lnTo>
                  <a:pt x="319" y="374"/>
                </a:lnTo>
                <a:lnTo>
                  <a:pt x="320" y="375"/>
                </a:lnTo>
                <a:lnTo>
                  <a:pt x="320" y="376"/>
                </a:lnTo>
                <a:lnTo>
                  <a:pt x="322" y="379"/>
                </a:lnTo>
                <a:lnTo>
                  <a:pt x="324" y="383"/>
                </a:lnTo>
                <a:lnTo>
                  <a:pt x="325" y="385"/>
                </a:lnTo>
                <a:lnTo>
                  <a:pt x="326" y="387"/>
                </a:lnTo>
                <a:lnTo>
                  <a:pt x="326" y="389"/>
                </a:lnTo>
                <a:lnTo>
                  <a:pt x="326" y="391"/>
                </a:lnTo>
                <a:lnTo>
                  <a:pt x="326" y="394"/>
                </a:lnTo>
                <a:lnTo>
                  <a:pt x="326" y="395"/>
                </a:lnTo>
                <a:lnTo>
                  <a:pt x="327" y="397"/>
                </a:lnTo>
                <a:lnTo>
                  <a:pt x="327" y="398"/>
                </a:lnTo>
                <a:lnTo>
                  <a:pt x="328" y="401"/>
                </a:lnTo>
                <a:lnTo>
                  <a:pt x="329" y="402"/>
                </a:lnTo>
                <a:lnTo>
                  <a:pt x="331" y="406"/>
                </a:lnTo>
                <a:lnTo>
                  <a:pt x="331" y="407"/>
                </a:lnTo>
                <a:lnTo>
                  <a:pt x="332" y="408"/>
                </a:lnTo>
                <a:lnTo>
                  <a:pt x="333" y="409"/>
                </a:lnTo>
                <a:lnTo>
                  <a:pt x="333" y="410"/>
                </a:lnTo>
                <a:lnTo>
                  <a:pt x="333" y="411"/>
                </a:lnTo>
                <a:lnTo>
                  <a:pt x="333" y="412"/>
                </a:lnTo>
                <a:lnTo>
                  <a:pt x="334" y="414"/>
                </a:lnTo>
                <a:lnTo>
                  <a:pt x="334" y="416"/>
                </a:lnTo>
                <a:lnTo>
                  <a:pt x="334" y="417"/>
                </a:lnTo>
                <a:lnTo>
                  <a:pt x="335" y="418"/>
                </a:lnTo>
                <a:lnTo>
                  <a:pt x="335" y="419"/>
                </a:lnTo>
                <a:lnTo>
                  <a:pt x="336" y="420"/>
                </a:lnTo>
                <a:lnTo>
                  <a:pt x="340" y="424"/>
                </a:lnTo>
                <a:lnTo>
                  <a:pt x="341" y="425"/>
                </a:lnTo>
                <a:lnTo>
                  <a:pt x="342" y="427"/>
                </a:lnTo>
                <a:lnTo>
                  <a:pt x="343" y="429"/>
                </a:lnTo>
                <a:lnTo>
                  <a:pt x="344" y="431"/>
                </a:lnTo>
                <a:lnTo>
                  <a:pt x="345" y="432"/>
                </a:lnTo>
                <a:lnTo>
                  <a:pt x="346" y="433"/>
                </a:lnTo>
                <a:lnTo>
                  <a:pt x="347" y="434"/>
                </a:lnTo>
                <a:lnTo>
                  <a:pt x="349" y="435"/>
                </a:lnTo>
                <a:lnTo>
                  <a:pt x="349" y="435"/>
                </a:lnTo>
                <a:lnTo>
                  <a:pt x="352" y="436"/>
                </a:lnTo>
                <a:lnTo>
                  <a:pt x="353" y="437"/>
                </a:lnTo>
                <a:lnTo>
                  <a:pt x="354" y="438"/>
                </a:lnTo>
                <a:lnTo>
                  <a:pt x="356" y="439"/>
                </a:lnTo>
                <a:lnTo>
                  <a:pt x="358" y="441"/>
                </a:lnTo>
                <a:lnTo>
                  <a:pt x="359" y="442"/>
                </a:lnTo>
                <a:lnTo>
                  <a:pt x="361" y="443"/>
                </a:lnTo>
                <a:lnTo>
                  <a:pt x="362" y="444"/>
                </a:lnTo>
                <a:lnTo>
                  <a:pt x="368" y="447"/>
                </a:lnTo>
                <a:lnTo>
                  <a:pt x="371" y="448"/>
                </a:lnTo>
                <a:lnTo>
                  <a:pt x="372" y="448"/>
                </a:lnTo>
                <a:lnTo>
                  <a:pt x="373" y="448"/>
                </a:lnTo>
                <a:lnTo>
                  <a:pt x="378" y="449"/>
                </a:lnTo>
                <a:lnTo>
                  <a:pt x="379" y="449"/>
                </a:lnTo>
                <a:lnTo>
                  <a:pt x="380" y="449"/>
                </a:lnTo>
                <a:lnTo>
                  <a:pt x="381" y="449"/>
                </a:lnTo>
                <a:lnTo>
                  <a:pt x="382" y="449"/>
                </a:lnTo>
                <a:lnTo>
                  <a:pt x="383" y="449"/>
                </a:lnTo>
                <a:lnTo>
                  <a:pt x="386" y="447"/>
                </a:lnTo>
                <a:lnTo>
                  <a:pt x="389" y="446"/>
                </a:lnTo>
                <a:lnTo>
                  <a:pt x="391" y="445"/>
                </a:lnTo>
                <a:lnTo>
                  <a:pt x="393" y="445"/>
                </a:lnTo>
                <a:lnTo>
                  <a:pt x="400" y="442"/>
                </a:lnTo>
                <a:lnTo>
                  <a:pt x="402" y="442"/>
                </a:lnTo>
                <a:lnTo>
                  <a:pt x="406" y="441"/>
                </a:lnTo>
                <a:lnTo>
                  <a:pt x="407" y="441"/>
                </a:lnTo>
                <a:lnTo>
                  <a:pt x="407" y="441"/>
                </a:lnTo>
                <a:lnTo>
                  <a:pt x="408" y="441"/>
                </a:lnTo>
                <a:lnTo>
                  <a:pt x="409" y="441"/>
                </a:lnTo>
                <a:lnTo>
                  <a:pt x="410" y="441"/>
                </a:lnTo>
                <a:lnTo>
                  <a:pt x="410" y="442"/>
                </a:lnTo>
                <a:lnTo>
                  <a:pt x="411" y="442"/>
                </a:lnTo>
                <a:lnTo>
                  <a:pt x="412" y="442"/>
                </a:lnTo>
                <a:lnTo>
                  <a:pt x="413" y="443"/>
                </a:lnTo>
                <a:lnTo>
                  <a:pt x="414" y="445"/>
                </a:lnTo>
                <a:lnTo>
                  <a:pt x="414" y="446"/>
                </a:lnTo>
                <a:lnTo>
                  <a:pt x="415" y="447"/>
                </a:lnTo>
                <a:lnTo>
                  <a:pt x="416" y="449"/>
                </a:lnTo>
                <a:lnTo>
                  <a:pt x="416" y="451"/>
                </a:lnTo>
                <a:lnTo>
                  <a:pt x="417" y="454"/>
                </a:lnTo>
                <a:lnTo>
                  <a:pt x="417" y="456"/>
                </a:lnTo>
                <a:lnTo>
                  <a:pt x="417" y="457"/>
                </a:lnTo>
                <a:lnTo>
                  <a:pt x="418" y="459"/>
                </a:lnTo>
                <a:lnTo>
                  <a:pt x="417" y="461"/>
                </a:lnTo>
                <a:lnTo>
                  <a:pt x="417" y="462"/>
                </a:lnTo>
                <a:lnTo>
                  <a:pt x="417" y="464"/>
                </a:lnTo>
                <a:lnTo>
                  <a:pt x="417" y="465"/>
                </a:lnTo>
                <a:lnTo>
                  <a:pt x="415" y="471"/>
                </a:lnTo>
                <a:lnTo>
                  <a:pt x="415" y="474"/>
                </a:lnTo>
                <a:lnTo>
                  <a:pt x="415" y="475"/>
                </a:lnTo>
                <a:lnTo>
                  <a:pt x="415" y="477"/>
                </a:lnTo>
                <a:lnTo>
                  <a:pt x="414" y="478"/>
                </a:lnTo>
                <a:lnTo>
                  <a:pt x="414" y="480"/>
                </a:lnTo>
                <a:lnTo>
                  <a:pt x="415" y="482"/>
                </a:lnTo>
                <a:lnTo>
                  <a:pt x="415" y="484"/>
                </a:lnTo>
                <a:lnTo>
                  <a:pt x="415" y="486"/>
                </a:lnTo>
                <a:lnTo>
                  <a:pt x="416" y="488"/>
                </a:lnTo>
                <a:lnTo>
                  <a:pt x="416" y="490"/>
                </a:lnTo>
                <a:lnTo>
                  <a:pt x="417" y="492"/>
                </a:lnTo>
                <a:lnTo>
                  <a:pt x="418" y="493"/>
                </a:lnTo>
                <a:lnTo>
                  <a:pt x="419" y="494"/>
                </a:lnTo>
                <a:lnTo>
                  <a:pt x="419" y="495"/>
                </a:lnTo>
                <a:lnTo>
                  <a:pt x="420" y="496"/>
                </a:lnTo>
                <a:lnTo>
                  <a:pt x="422" y="497"/>
                </a:lnTo>
                <a:lnTo>
                  <a:pt x="423" y="498"/>
                </a:lnTo>
                <a:lnTo>
                  <a:pt x="425" y="499"/>
                </a:lnTo>
                <a:lnTo>
                  <a:pt x="426" y="500"/>
                </a:lnTo>
                <a:lnTo>
                  <a:pt x="428" y="501"/>
                </a:lnTo>
                <a:lnTo>
                  <a:pt x="429" y="501"/>
                </a:lnTo>
                <a:lnTo>
                  <a:pt x="430" y="501"/>
                </a:lnTo>
                <a:lnTo>
                  <a:pt x="431" y="501"/>
                </a:lnTo>
                <a:lnTo>
                  <a:pt x="432" y="501"/>
                </a:lnTo>
                <a:lnTo>
                  <a:pt x="433" y="501"/>
                </a:lnTo>
                <a:lnTo>
                  <a:pt x="434" y="501"/>
                </a:lnTo>
                <a:lnTo>
                  <a:pt x="434" y="500"/>
                </a:lnTo>
                <a:lnTo>
                  <a:pt x="436" y="499"/>
                </a:lnTo>
                <a:lnTo>
                  <a:pt x="437" y="499"/>
                </a:lnTo>
                <a:lnTo>
                  <a:pt x="437" y="498"/>
                </a:lnTo>
                <a:lnTo>
                  <a:pt x="438" y="498"/>
                </a:lnTo>
                <a:lnTo>
                  <a:pt x="439" y="498"/>
                </a:lnTo>
                <a:lnTo>
                  <a:pt x="439" y="498"/>
                </a:lnTo>
                <a:lnTo>
                  <a:pt x="440" y="498"/>
                </a:lnTo>
                <a:lnTo>
                  <a:pt x="440" y="499"/>
                </a:lnTo>
                <a:lnTo>
                  <a:pt x="441" y="499"/>
                </a:lnTo>
                <a:lnTo>
                  <a:pt x="443" y="500"/>
                </a:lnTo>
                <a:lnTo>
                  <a:pt x="444" y="501"/>
                </a:lnTo>
                <a:lnTo>
                  <a:pt x="445" y="503"/>
                </a:lnTo>
                <a:lnTo>
                  <a:pt x="447" y="505"/>
                </a:lnTo>
                <a:lnTo>
                  <a:pt x="448" y="507"/>
                </a:lnTo>
                <a:lnTo>
                  <a:pt x="449" y="508"/>
                </a:lnTo>
                <a:lnTo>
                  <a:pt x="450" y="510"/>
                </a:lnTo>
                <a:lnTo>
                  <a:pt x="452" y="514"/>
                </a:lnTo>
                <a:lnTo>
                  <a:pt x="453" y="515"/>
                </a:lnTo>
                <a:lnTo>
                  <a:pt x="454" y="518"/>
                </a:lnTo>
                <a:lnTo>
                  <a:pt x="455" y="519"/>
                </a:lnTo>
                <a:lnTo>
                  <a:pt x="456" y="520"/>
                </a:lnTo>
                <a:lnTo>
                  <a:pt x="457" y="521"/>
                </a:lnTo>
                <a:lnTo>
                  <a:pt x="458" y="521"/>
                </a:lnTo>
                <a:lnTo>
                  <a:pt x="468" y="529"/>
                </a:lnTo>
                <a:lnTo>
                  <a:pt x="470" y="531"/>
                </a:lnTo>
                <a:lnTo>
                  <a:pt x="472" y="532"/>
                </a:lnTo>
                <a:lnTo>
                  <a:pt x="477" y="537"/>
                </a:lnTo>
                <a:lnTo>
                  <a:pt x="480" y="540"/>
                </a:lnTo>
                <a:lnTo>
                  <a:pt x="481" y="542"/>
                </a:lnTo>
                <a:lnTo>
                  <a:pt x="484" y="545"/>
                </a:lnTo>
                <a:lnTo>
                  <a:pt x="486" y="548"/>
                </a:lnTo>
                <a:lnTo>
                  <a:pt x="488" y="551"/>
                </a:lnTo>
                <a:lnTo>
                  <a:pt x="490" y="555"/>
                </a:lnTo>
                <a:lnTo>
                  <a:pt x="491" y="556"/>
                </a:lnTo>
                <a:lnTo>
                  <a:pt x="491" y="558"/>
                </a:lnTo>
                <a:lnTo>
                  <a:pt x="491" y="559"/>
                </a:lnTo>
                <a:lnTo>
                  <a:pt x="491" y="559"/>
                </a:lnTo>
                <a:lnTo>
                  <a:pt x="491" y="560"/>
                </a:lnTo>
                <a:lnTo>
                  <a:pt x="491" y="561"/>
                </a:lnTo>
                <a:lnTo>
                  <a:pt x="491" y="562"/>
                </a:lnTo>
                <a:lnTo>
                  <a:pt x="490" y="564"/>
                </a:lnTo>
                <a:lnTo>
                  <a:pt x="489" y="565"/>
                </a:lnTo>
                <a:lnTo>
                  <a:pt x="489" y="567"/>
                </a:lnTo>
                <a:lnTo>
                  <a:pt x="489" y="568"/>
                </a:lnTo>
                <a:lnTo>
                  <a:pt x="489" y="568"/>
                </a:lnTo>
                <a:lnTo>
                  <a:pt x="489" y="569"/>
                </a:lnTo>
                <a:lnTo>
                  <a:pt x="489" y="571"/>
                </a:lnTo>
                <a:lnTo>
                  <a:pt x="490" y="572"/>
                </a:lnTo>
                <a:lnTo>
                  <a:pt x="490" y="573"/>
                </a:lnTo>
                <a:lnTo>
                  <a:pt x="491" y="574"/>
                </a:lnTo>
                <a:lnTo>
                  <a:pt x="492" y="574"/>
                </a:lnTo>
                <a:lnTo>
                  <a:pt x="492" y="575"/>
                </a:lnTo>
                <a:lnTo>
                  <a:pt x="493" y="575"/>
                </a:lnTo>
                <a:lnTo>
                  <a:pt x="494" y="575"/>
                </a:lnTo>
                <a:lnTo>
                  <a:pt x="494" y="574"/>
                </a:lnTo>
                <a:lnTo>
                  <a:pt x="495" y="574"/>
                </a:lnTo>
                <a:lnTo>
                  <a:pt x="498" y="571"/>
                </a:lnTo>
                <a:lnTo>
                  <a:pt x="500" y="570"/>
                </a:lnTo>
                <a:lnTo>
                  <a:pt x="501" y="569"/>
                </a:lnTo>
                <a:lnTo>
                  <a:pt x="502" y="568"/>
                </a:lnTo>
                <a:lnTo>
                  <a:pt x="503" y="568"/>
                </a:lnTo>
                <a:lnTo>
                  <a:pt x="505" y="568"/>
                </a:lnTo>
                <a:lnTo>
                  <a:pt x="506" y="568"/>
                </a:lnTo>
                <a:lnTo>
                  <a:pt x="507" y="568"/>
                </a:lnTo>
                <a:lnTo>
                  <a:pt x="507" y="568"/>
                </a:lnTo>
                <a:lnTo>
                  <a:pt x="508" y="568"/>
                </a:lnTo>
                <a:lnTo>
                  <a:pt x="508" y="568"/>
                </a:lnTo>
                <a:lnTo>
                  <a:pt x="509" y="568"/>
                </a:lnTo>
                <a:lnTo>
                  <a:pt x="509" y="569"/>
                </a:lnTo>
                <a:lnTo>
                  <a:pt x="511" y="570"/>
                </a:lnTo>
                <a:lnTo>
                  <a:pt x="512" y="572"/>
                </a:lnTo>
                <a:lnTo>
                  <a:pt x="513" y="574"/>
                </a:lnTo>
                <a:lnTo>
                  <a:pt x="515" y="579"/>
                </a:lnTo>
                <a:lnTo>
                  <a:pt x="516" y="582"/>
                </a:lnTo>
                <a:lnTo>
                  <a:pt x="517" y="583"/>
                </a:lnTo>
                <a:lnTo>
                  <a:pt x="517" y="583"/>
                </a:lnTo>
                <a:lnTo>
                  <a:pt x="517" y="584"/>
                </a:lnTo>
                <a:lnTo>
                  <a:pt x="517" y="585"/>
                </a:lnTo>
                <a:lnTo>
                  <a:pt x="516" y="586"/>
                </a:lnTo>
                <a:lnTo>
                  <a:pt x="516" y="587"/>
                </a:lnTo>
                <a:lnTo>
                  <a:pt x="515" y="588"/>
                </a:lnTo>
                <a:lnTo>
                  <a:pt x="514" y="590"/>
                </a:lnTo>
                <a:lnTo>
                  <a:pt x="513" y="593"/>
                </a:lnTo>
                <a:lnTo>
                  <a:pt x="511" y="595"/>
                </a:lnTo>
                <a:lnTo>
                  <a:pt x="510" y="596"/>
                </a:lnTo>
                <a:lnTo>
                  <a:pt x="510" y="596"/>
                </a:lnTo>
                <a:lnTo>
                  <a:pt x="509" y="597"/>
                </a:lnTo>
                <a:lnTo>
                  <a:pt x="508" y="598"/>
                </a:lnTo>
                <a:lnTo>
                  <a:pt x="507" y="598"/>
                </a:lnTo>
                <a:lnTo>
                  <a:pt x="506" y="599"/>
                </a:lnTo>
                <a:lnTo>
                  <a:pt x="505" y="599"/>
                </a:lnTo>
                <a:lnTo>
                  <a:pt x="505" y="599"/>
                </a:lnTo>
                <a:lnTo>
                  <a:pt x="504" y="599"/>
                </a:lnTo>
                <a:lnTo>
                  <a:pt x="503" y="599"/>
                </a:lnTo>
                <a:lnTo>
                  <a:pt x="502" y="599"/>
                </a:lnTo>
                <a:lnTo>
                  <a:pt x="501" y="599"/>
                </a:lnTo>
                <a:lnTo>
                  <a:pt x="499" y="599"/>
                </a:lnTo>
                <a:lnTo>
                  <a:pt x="497" y="598"/>
                </a:lnTo>
                <a:lnTo>
                  <a:pt x="493" y="597"/>
                </a:lnTo>
                <a:lnTo>
                  <a:pt x="491" y="597"/>
                </a:lnTo>
                <a:lnTo>
                  <a:pt x="489" y="597"/>
                </a:lnTo>
                <a:lnTo>
                  <a:pt x="488" y="597"/>
                </a:lnTo>
                <a:lnTo>
                  <a:pt x="488" y="597"/>
                </a:lnTo>
                <a:lnTo>
                  <a:pt x="487" y="597"/>
                </a:lnTo>
                <a:lnTo>
                  <a:pt x="486" y="598"/>
                </a:lnTo>
                <a:lnTo>
                  <a:pt x="485" y="599"/>
                </a:lnTo>
                <a:lnTo>
                  <a:pt x="484" y="602"/>
                </a:lnTo>
                <a:lnTo>
                  <a:pt x="483" y="603"/>
                </a:lnTo>
                <a:lnTo>
                  <a:pt x="482" y="604"/>
                </a:lnTo>
                <a:lnTo>
                  <a:pt x="482" y="605"/>
                </a:lnTo>
                <a:lnTo>
                  <a:pt x="481" y="606"/>
                </a:lnTo>
                <a:lnTo>
                  <a:pt x="480" y="607"/>
                </a:lnTo>
                <a:lnTo>
                  <a:pt x="479" y="608"/>
                </a:lnTo>
                <a:lnTo>
                  <a:pt x="476" y="610"/>
                </a:lnTo>
                <a:lnTo>
                  <a:pt x="474" y="611"/>
                </a:lnTo>
                <a:lnTo>
                  <a:pt x="473" y="612"/>
                </a:lnTo>
                <a:lnTo>
                  <a:pt x="471" y="615"/>
                </a:lnTo>
                <a:lnTo>
                  <a:pt x="468" y="617"/>
                </a:lnTo>
                <a:lnTo>
                  <a:pt x="468" y="618"/>
                </a:lnTo>
                <a:lnTo>
                  <a:pt x="467" y="619"/>
                </a:lnTo>
                <a:lnTo>
                  <a:pt x="467" y="620"/>
                </a:lnTo>
                <a:lnTo>
                  <a:pt x="466" y="621"/>
                </a:lnTo>
                <a:lnTo>
                  <a:pt x="466" y="622"/>
                </a:lnTo>
                <a:lnTo>
                  <a:pt x="466" y="626"/>
                </a:lnTo>
                <a:lnTo>
                  <a:pt x="466" y="628"/>
                </a:lnTo>
                <a:lnTo>
                  <a:pt x="466" y="629"/>
                </a:lnTo>
                <a:lnTo>
                  <a:pt x="465" y="632"/>
                </a:lnTo>
                <a:lnTo>
                  <a:pt x="464" y="634"/>
                </a:lnTo>
                <a:lnTo>
                  <a:pt x="462" y="638"/>
                </a:lnTo>
                <a:lnTo>
                  <a:pt x="461" y="642"/>
                </a:lnTo>
                <a:lnTo>
                  <a:pt x="459" y="646"/>
                </a:lnTo>
                <a:lnTo>
                  <a:pt x="459" y="647"/>
                </a:lnTo>
                <a:lnTo>
                  <a:pt x="458" y="647"/>
                </a:lnTo>
                <a:lnTo>
                  <a:pt x="457" y="648"/>
                </a:lnTo>
                <a:lnTo>
                  <a:pt x="456" y="649"/>
                </a:lnTo>
                <a:lnTo>
                  <a:pt x="456" y="649"/>
                </a:lnTo>
                <a:lnTo>
                  <a:pt x="456" y="650"/>
                </a:lnTo>
                <a:lnTo>
                  <a:pt x="454" y="650"/>
                </a:lnTo>
                <a:lnTo>
                  <a:pt x="450" y="651"/>
                </a:lnTo>
                <a:lnTo>
                  <a:pt x="447" y="652"/>
                </a:lnTo>
                <a:lnTo>
                  <a:pt x="445" y="652"/>
                </a:lnTo>
                <a:lnTo>
                  <a:pt x="444" y="652"/>
                </a:lnTo>
                <a:lnTo>
                  <a:pt x="442" y="652"/>
                </a:lnTo>
                <a:lnTo>
                  <a:pt x="440" y="651"/>
                </a:lnTo>
                <a:lnTo>
                  <a:pt x="439" y="651"/>
                </a:lnTo>
                <a:lnTo>
                  <a:pt x="437" y="650"/>
                </a:lnTo>
                <a:lnTo>
                  <a:pt x="436" y="650"/>
                </a:lnTo>
                <a:lnTo>
                  <a:pt x="435" y="649"/>
                </a:lnTo>
                <a:lnTo>
                  <a:pt x="434" y="648"/>
                </a:lnTo>
                <a:lnTo>
                  <a:pt x="433" y="647"/>
                </a:lnTo>
                <a:lnTo>
                  <a:pt x="430" y="645"/>
                </a:lnTo>
                <a:lnTo>
                  <a:pt x="429" y="643"/>
                </a:lnTo>
                <a:lnTo>
                  <a:pt x="427" y="642"/>
                </a:lnTo>
                <a:lnTo>
                  <a:pt x="425" y="641"/>
                </a:lnTo>
                <a:lnTo>
                  <a:pt x="424" y="640"/>
                </a:lnTo>
                <a:lnTo>
                  <a:pt x="423" y="640"/>
                </a:lnTo>
                <a:lnTo>
                  <a:pt x="422" y="639"/>
                </a:lnTo>
                <a:lnTo>
                  <a:pt x="421" y="639"/>
                </a:lnTo>
                <a:lnTo>
                  <a:pt x="419" y="639"/>
                </a:lnTo>
                <a:lnTo>
                  <a:pt x="418" y="639"/>
                </a:lnTo>
                <a:lnTo>
                  <a:pt x="417" y="640"/>
                </a:lnTo>
                <a:lnTo>
                  <a:pt x="417" y="640"/>
                </a:lnTo>
                <a:lnTo>
                  <a:pt x="416" y="641"/>
                </a:lnTo>
                <a:lnTo>
                  <a:pt x="415" y="642"/>
                </a:lnTo>
                <a:lnTo>
                  <a:pt x="413" y="645"/>
                </a:lnTo>
                <a:lnTo>
                  <a:pt x="412" y="646"/>
                </a:lnTo>
                <a:lnTo>
                  <a:pt x="412" y="646"/>
                </a:lnTo>
                <a:lnTo>
                  <a:pt x="411" y="647"/>
                </a:lnTo>
                <a:lnTo>
                  <a:pt x="411" y="647"/>
                </a:lnTo>
                <a:lnTo>
                  <a:pt x="410" y="648"/>
                </a:lnTo>
                <a:lnTo>
                  <a:pt x="410" y="648"/>
                </a:lnTo>
                <a:lnTo>
                  <a:pt x="409" y="648"/>
                </a:lnTo>
                <a:lnTo>
                  <a:pt x="408" y="648"/>
                </a:lnTo>
                <a:lnTo>
                  <a:pt x="407" y="647"/>
                </a:lnTo>
                <a:lnTo>
                  <a:pt x="404" y="647"/>
                </a:lnTo>
                <a:lnTo>
                  <a:pt x="403" y="647"/>
                </a:lnTo>
                <a:lnTo>
                  <a:pt x="402" y="647"/>
                </a:lnTo>
                <a:lnTo>
                  <a:pt x="401" y="647"/>
                </a:lnTo>
                <a:lnTo>
                  <a:pt x="400" y="647"/>
                </a:lnTo>
                <a:lnTo>
                  <a:pt x="399" y="647"/>
                </a:lnTo>
                <a:lnTo>
                  <a:pt x="399" y="647"/>
                </a:lnTo>
                <a:lnTo>
                  <a:pt x="398" y="648"/>
                </a:lnTo>
                <a:lnTo>
                  <a:pt x="398" y="648"/>
                </a:lnTo>
                <a:lnTo>
                  <a:pt x="397" y="648"/>
                </a:lnTo>
                <a:lnTo>
                  <a:pt x="397" y="649"/>
                </a:lnTo>
                <a:lnTo>
                  <a:pt x="397" y="649"/>
                </a:lnTo>
                <a:lnTo>
                  <a:pt x="397" y="650"/>
                </a:lnTo>
                <a:lnTo>
                  <a:pt x="397" y="650"/>
                </a:lnTo>
                <a:lnTo>
                  <a:pt x="397" y="651"/>
                </a:lnTo>
                <a:lnTo>
                  <a:pt x="397" y="652"/>
                </a:lnTo>
                <a:lnTo>
                  <a:pt x="398" y="653"/>
                </a:lnTo>
                <a:lnTo>
                  <a:pt x="401" y="659"/>
                </a:lnTo>
                <a:lnTo>
                  <a:pt x="402" y="662"/>
                </a:lnTo>
                <a:lnTo>
                  <a:pt x="402" y="663"/>
                </a:lnTo>
                <a:lnTo>
                  <a:pt x="402" y="664"/>
                </a:lnTo>
                <a:lnTo>
                  <a:pt x="403" y="666"/>
                </a:lnTo>
                <a:lnTo>
                  <a:pt x="403" y="667"/>
                </a:lnTo>
                <a:lnTo>
                  <a:pt x="402" y="668"/>
                </a:lnTo>
                <a:lnTo>
                  <a:pt x="402" y="669"/>
                </a:lnTo>
                <a:lnTo>
                  <a:pt x="402" y="670"/>
                </a:lnTo>
                <a:lnTo>
                  <a:pt x="401" y="671"/>
                </a:lnTo>
                <a:lnTo>
                  <a:pt x="401" y="673"/>
                </a:lnTo>
                <a:lnTo>
                  <a:pt x="400" y="674"/>
                </a:lnTo>
                <a:lnTo>
                  <a:pt x="398" y="675"/>
                </a:lnTo>
                <a:lnTo>
                  <a:pt x="398" y="676"/>
                </a:lnTo>
                <a:lnTo>
                  <a:pt x="397" y="677"/>
                </a:lnTo>
                <a:lnTo>
                  <a:pt x="396" y="677"/>
                </a:lnTo>
                <a:lnTo>
                  <a:pt x="395" y="678"/>
                </a:lnTo>
                <a:lnTo>
                  <a:pt x="394" y="678"/>
                </a:lnTo>
                <a:lnTo>
                  <a:pt x="392" y="679"/>
                </a:lnTo>
                <a:lnTo>
                  <a:pt x="391" y="679"/>
                </a:lnTo>
                <a:lnTo>
                  <a:pt x="390" y="679"/>
                </a:lnTo>
                <a:lnTo>
                  <a:pt x="388" y="679"/>
                </a:lnTo>
                <a:lnTo>
                  <a:pt x="387" y="679"/>
                </a:lnTo>
                <a:lnTo>
                  <a:pt x="386" y="679"/>
                </a:lnTo>
                <a:lnTo>
                  <a:pt x="384" y="679"/>
                </a:lnTo>
                <a:lnTo>
                  <a:pt x="383" y="678"/>
                </a:lnTo>
                <a:lnTo>
                  <a:pt x="382" y="678"/>
                </a:lnTo>
                <a:lnTo>
                  <a:pt x="379" y="677"/>
                </a:lnTo>
                <a:lnTo>
                  <a:pt x="378" y="677"/>
                </a:lnTo>
                <a:lnTo>
                  <a:pt x="377" y="676"/>
                </a:lnTo>
                <a:lnTo>
                  <a:pt x="376" y="676"/>
                </a:lnTo>
                <a:lnTo>
                  <a:pt x="374" y="676"/>
                </a:lnTo>
                <a:lnTo>
                  <a:pt x="372" y="676"/>
                </a:lnTo>
                <a:lnTo>
                  <a:pt x="370" y="676"/>
                </a:lnTo>
                <a:lnTo>
                  <a:pt x="368" y="676"/>
                </a:lnTo>
                <a:lnTo>
                  <a:pt x="364" y="676"/>
                </a:lnTo>
                <a:lnTo>
                  <a:pt x="362" y="677"/>
                </a:lnTo>
                <a:lnTo>
                  <a:pt x="361" y="677"/>
                </a:lnTo>
                <a:lnTo>
                  <a:pt x="358" y="678"/>
                </a:lnTo>
                <a:lnTo>
                  <a:pt x="355" y="679"/>
                </a:lnTo>
                <a:lnTo>
                  <a:pt x="352" y="680"/>
                </a:lnTo>
                <a:lnTo>
                  <a:pt x="350" y="680"/>
                </a:lnTo>
                <a:lnTo>
                  <a:pt x="349" y="680"/>
                </a:lnTo>
                <a:lnTo>
                  <a:pt x="349" y="681"/>
                </a:lnTo>
                <a:lnTo>
                  <a:pt x="348" y="681"/>
                </a:lnTo>
                <a:lnTo>
                  <a:pt x="348" y="682"/>
                </a:lnTo>
                <a:lnTo>
                  <a:pt x="348" y="682"/>
                </a:lnTo>
                <a:lnTo>
                  <a:pt x="348" y="684"/>
                </a:lnTo>
                <a:lnTo>
                  <a:pt x="348" y="685"/>
                </a:lnTo>
                <a:lnTo>
                  <a:pt x="347" y="688"/>
                </a:lnTo>
                <a:lnTo>
                  <a:pt x="347" y="690"/>
                </a:lnTo>
                <a:lnTo>
                  <a:pt x="346" y="691"/>
                </a:lnTo>
                <a:lnTo>
                  <a:pt x="346" y="692"/>
                </a:lnTo>
                <a:lnTo>
                  <a:pt x="345" y="694"/>
                </a:lnTo>
                <a:lnTo>
                  <a:pt x="344" y="695"/>
                </a:lnTo>
                <a:lnTo>
                  <a:pt x="343" y="697"/>
                </a:lnTo>
                <a:lnTo>
                  <a:pt x="342" y="698"/>
                </a:lnTo>
                <a:lnTo>
                  <a:pt x="341" y="700"/>
                </a:lnTo>
                <a:lnTo>
                  <a:pt x="340" y="701"/>
                </a:lnTo>
                <a:lnTo>
                  <a:pt x="339" y="702"/>
                </a:lnTo>
                <a:lnTo>
                  <a:pt x="338" y="703"/>
                </a:lnTo>
                <a:lnTo>
                  <a:pt x="336" y="704"/>
                </a:lnTo>
                <a:lnTo>
                  <a:pt x="335" y="704"/>
                </a:lnTo>
                <a:lnTo>
                  <a:pt x="334" y="705"/>
                </a:lnTo>
                <a:lnTo>
                  <a:pt x="333" y="705"/>
                </a:lnTo>
                <a:lnTo>
                  <a:pt x="333" y="705"/>
                </a:lnTo>
                <a:lnTo>
                  <a:pt x="332" y="704"/>
                </a:lnTo>
                <a:lnTo>
                  <a:pt x="330" y="703"/>
                </a:lnTo>
                <a:lnTo>
                  <a:pt x="326" y="700"/>
                </a:lnTo>
                <a:lnTo>
                  <a:pt x="324" y="699"/>
                </a:lnTo>
                <a:lnTo>
                  <a:pt x="323" y="698"/>
                </a:lnTo>
                <a:lnTo>
                  <a:pt x="321" y="697"/>
                </a:lnTo>
                <a:lnTo>
                  <a:pt x="320" y="697"/>
                </a:lnTo>
                <a:lnTo>
                  <a:pt x="319" y="696"/>
                </a:lnTo>
                <a:lnTo>
                  <a:pt x="318" y="696"/>
                </a:lnTo>
                <a:lnTo>
                  <a:pt x="316" y="696"/>
                </a:lnTo>
                <a:lnTo>
                  <a:pt x="315" y="695"/>
                </a:lnTo>
                <a:lnTo>
                  <a:pt x="312" y="695"/>
                </a:lnTo>
                <a:lnTo>
                  <a:pt x="309" y="695"/>
                </a:lnTo>
                <a:lnTo>
                  <a:pt x="307" y="694"/>
                </a:lnTo>
                <a:lnTo>
                  <a:pt x="304" y="693"/>
                </a:lnTo>
                <a:lnTo>
                  <a:pt x="301" y="692"/>
                </a:lnTo>
                <a:lnTo>
                  <a:pt x="300" y="692"/>
                </a:lnTo>
                <a:lnTo>
                  <a:pt x="298" y="692"/>
                </a:lnTo>
                <a:lnTo>
                  <a:pt x="295" y="692"/>
                </a:lnTo>
                <a:lnTo>
                  <a:pt x="293" y="691"/>
                </a:lnTo>
                <a:lnTo>
                  <a:pt x="293" y="691"/>
                </a:lnTo>
                <a:lnTo>
                  <a:pt x="292" y="691"/>
                </a:lnTo>
                <a:lnTo>
                  <a:pt x="292" y="690"/>
                </a:lnTo>
                <a:lnTo>
                  <a:pt x="291" y="689"/>
                </a:lnTo>
                <a:lnTo>
                  <a:pt x="291" y="688"/>
                </a:lnTo>
                <a:lnTo>
                  <a:pt x="290" y="687"/>
                </a:lnTo>
                <a:lnTo>
                  <a:pt x="290" y="686"/>
                </a:lnTo>
                <a:lnTo>
                  <a:pt x="289" y="682"/>
                </a:lnTo>
                <a:lnTo>
                  <a:pt x="289" y="681"/>
                </a:lnTo>
                <a:lnTo>
                  <a:pt x="289" y="680"/>
                </a:lnTo>
                <a:lnTo>
                  <a:pt x="289" y="679"/>
                </a:lnTo>
                <a:lnTo>
                  <a:pt x="288" y="678"/>
                </a:lnTo>
                <a:lnTo>
                  <a:pt x="287" y="677"/>
                </a:lnTo>
                <a:lnTo>
                  <a:pt x="287" y="677"/>
                </a:lnTo>
                <a:lnTo>
                  <a:pt x="286" y="676"/>
                </a:lnTo>
                <a:lnTo>
                  <a:pt x="285" y="676"/>
                </a:lnTo>
                <a:lnTo>
                  <a:pt x="285" y="676"/>
                </a:lnTo>
                <a:lnTo>
                  <a:pt x="284" y="676"/>
                </a:lnTo>
                <a:lnTo>
                  <a:pt x="283" y="677"/>
                </a:lnTo>
                <a:lnTo>
                  <a:pt x="282" y="677"/>
                </a:lnTo>
                <a:lnTo>
                  <a:pt x="281" y="677"/>
                </a:lnTo>
                <a:lnTo>
                  <a:pt x="281" y="678"/>
                </a:lnTo>
                <a:lnTo>
                  <a:pt x="280" y="679"/>
                </a:lnTo>
                <a:lnTo>
                  <a:pt x="280" y="679"/>
                </a:lnTo>
                <a:lnTo>
                  <a:pt x="278" y="681"/>
                </a:lnTo>
                <a:lnTo>
                  <a:pt x="275" y="686"/>
                </a:lnTo>
                <a:lnTo>
                  <a:pt x="274" y="688"/>
                </a:lnTo>
                <a:lnTo>
                  <a:pt x="273" y="690"/>
                </a:lnTo>
                <a:lnTo>
                  <a:pt x="273" y="691"/>
                </a:lnTo>
                <a:lnTo>
                  <a:pt x="273" y="693"/>
                </a:lnTo>
                <a:lnTo>
                  <a:pt x="273" y="695"/>
                </a:lnTo>
                <a:lnTo>
                  <a:pt x="273" y="697"/>
                </a:lnTo>
                <a:lnTo>
                  <a:pt x="273" y="698"/>
                </a:lnTo>
                <a:lnTo>
                  <a:pt x="274" y="701"/>
                </a:lnTo>
                <a:lnTo>
                  <a:pt x="274" y="702"/>
                </a:lnTo>
                <a:lnTo>
                  <a:pt x="275" y="704"/>
                </a:lnTo>
                <a:lnTo>
                  <a:pt x="276" y="708"/>
                </a:lnTo>
                <a:lnTo>
                  <a:pt x="278" y="711"/>
                </a:lnTo>
                <a:lnTo>
                  <a:pt x="278" y="712"/>
                </a:lnTo>
                <a:lnTo>
                  <a:pt x="279" y="713"/>
                </a:lnTo>
                <a:lnTo>
                  <a:pt x="279" y="714"/>
                </a:lnTo>
                <a:lnTo>
                  <a:pt x="279" y="715"/>
                </a:lnTo>
                <a:lnTo>
                  <a:pt x="279" y="717"/>
                </a:lnTo>
                <a:lnTo>
                  <a:pt x="279" y="718"/>
                </a:lnTo>
                <a:lnTo>
                  <a:pt x="278" y="718"/>
                </a:lnTo>
                <a:lnTo>
                  <a:pt x="278" y="719"/>
                </a:lnTo>
                <a:lnTo>
                  <a:pt x="277" y="720"/>
                </a:lnTo>
                <a:lnTo>
                  <a:pt x="276" y="721"/>
                </a:lnTo>
                <a:lnTo>
                  <a:pt x="273" y="724"/>
                </a:lnTo>
                <a:lnTo>
                  <a:pt x="270" y="726"/>
                </a:lnTo>
                <a:lnTo>
                  <a:pt x="269" y="728"/>
                </a:lnTo>
                <a:lnTo>
                  <a:pt x="268" y="729"/>
                </a:lnTo>
                <a:lnTo>
                  <a:pt x="267" y="730"/>
                </a:lnTo>
                <a:lnTo>
                  <a:pt x="265" y="731"/>
                </a:lnTo>
                <a:lnTo>
                  <a:pt x="263" y="736"/>
                </a:lnTo>
                <a:lnTo>
                  <a:pt x="260" y="739"/>
                </a:lnTo>
                <a:lnTo>
                  <a:pt x="258" y="742"/>
                </a:lnTo>
                <a:lnTo>
                  <a:pt x="256" y="745"/>
                </a:lnTo>
                <a:lnTo>
                  <a:pt x="254" y="746"/>
                </a:lnTo>
                <a:lnTo>
                  <a:pt x="254" y="746"/>
                </a:lnTo>
                <a:lnTo>
                  <a:pt x="253" y="747"/>
                </a:lnTo>
                <a:lnTo>
                  <a:pt x="252" y="748"/>
                </a:lnTo>
                <a:lnTo>
                  <a:pt x="251" y="748"/>
                </a:lnTo>
                <a:lnTo>
                  <a:pt x="250" y="749"/>
                </a:lnTo>
                <a:lnTo>
                  <a:pt x="249" y="749"/>
                </a:lnTo>
                <a:lnTo>
                  <a:pt x="248" y="750"/>
                </a:lnTo>
                <a:lnTo>
                  <a:pt x="247" y="750"/>
                </a:lnTo>
                <a:lnTo>
                  <a:pt x="245" y="750"/>
                </a:lnTo>
                <a:lnTo>
                  <a:pt x="241" y="750"/>
                </a:lnTo>
                <a:lnTo>
                  <a:pt x="239" y="750"/>
                </a:lnTo>
                <a:lnTo>
                  <a:pt x="234" y="751"/>
                </a:lnTo>
                <a:lnTo>
                  <a:pt x="230" y="752"/>
                </a:lnTo>
                <a:lnTo>
                  <a:pt x="229" y="752"/>
                </a:lnTo>
                <a:lnTo>
                  <a:pt x="221" y="754"/>
                </a:lnTo>
                <a:lnTo>
                  <a:pt x="219" y="754"/>
                </a:lnTo>
                <a:lnTo>
                  <a:pt x="216" y="754"/>
                </a:lnTo>
                <a:lnTo>
                  <a:pt x="215" y="754"/>
                </a:lnTo>
                <a:lnTo>
                  <a:pt x="214" y="755"/>
                </a:lnTo>
                <a:lnTo>
                  <a:pt x="213" y="755"/>
                </a:lnTo>
                <a:lnTo>
                  <a:pt x="212" y="756"/>
                </a:lnTo>
                <a:lnTo>
                  <a:pt x="211" y="757"/>
                </a:lnTo>
                <a:lnTo>
                  <a:pt x="209" y="758"/>
                </a:lnTo>
                <a:lnTo>
                  <a:pt x="209" y="759"/>
                </a:lnTo>
                <a:lnTo>
                  <a:pt x="208" y="760"/>
                </a:lnTo>
                <a:lnTo>
                  <a:pt x="206" y="763"/>
                </a:lnTo>
                <a:lnTo>
                  <a:pt x="205" y="764"/>
                </a:lnTo>
                <a:lnTo>
                  <a:pt x="204" y="765"/>
                </a:lnTo>
                <a:lnTo>
                  <a:pt x="203" y="766"/>
                </a:lnTo>
                <a:lnTo>
                  <a:pt x="203" y="767"/>
                </a:lnTo>
                <a:lnTo>
                  <a:pt x="202" y="767"/>
                </a:lnTo>
                <a:lnTo>
                  <a:pt x="201" y="767"/>
                </a:lnTo>
                <a:lnTo>
                  <a:pt x="201" y="767"/>
                </a:lnTo>
                <a:lnTo>
                  <a:pt x="200" y="767"/>
                </a:lnTo>
                <a:lnTo>
                  <a:pt x="200" y="767"/>
                </a:lnTo>
                <a:lnTo>
                  <a:pt x="199" y="767"/>
                </a:lnTo>
                <a:lnTo>
                  <a:pt x="199" y="766"/>
                </a:lnTo>
                <a:lnTo>
                  <a:pt x="199" y="766"/>
                </a:lnTo>
                <a:lnTo>
                  <a:pt x="198" y="764"/>
                </a:lnTo>
                <a:lnTo>
                  <a:pt x="196" y="758"/>
                </a:lnTo>
                <a:lnTo>
                  <a:pt x="194" y="753"/>
                </a:lnTo>
                <a:lnTo>
                  <a:pt x="193" y="751"/>
                </a:lnTo>
                <a:lnTo>
                  <a:pt x="192" y="747"/>
                </a:lnTo>
                <a:lnTo>
                  <a:pt x="190" y="740"/>
                </a:lnTo>
                <a:lnTo>
                  <a:pt x="189" y="738"/>
                </a:lnTo>
                <a:lnTo>
                  <a:pt x="189" y="737"/>
                </a:lnTo>
                <a:lnTo>
                  <a:pt x="188" y="736"/>
                </a:lnTo>
                <a:lnTo>
                  <a:pt x="187" y="735"/>
                </a:lnTo>
                <a:lnTo>
                  <a:pt x="187" y="734"/>
                </a:lnTo>
                <a:lnTo>
                  <a:pt x="185" y="733"/>
                </a:lnTo>
                <a:lnTo>
                  <a:pt x="181" y="730"/>
                </a:lnTo>
                <a:lnTo>
                  <a:pt x="179" y="728"/>
                </a:lnTo>
                <a:lnTo>
                  <a:pt x="178" y="727"/>
                </a:lnTo>
                <a:lnTo>
                  <a:pt x="175" y="726"/>
                </a:lnTo>
                <a:lnTo>
                  <a:pt x="173" y="725"/>
                </a:lnTo>
                <a:lnTo>
                  <a:pt x="171" y="724"/>
                </a:lnTo>
                <a:lnTo>
                  <a:pt x="167" y="723"/>
                </a:lnTo>
                <a:lnTo>
                  <a:pt x="163" y="722"/>
                </a:lnTo>
                <a:lnTo>
                  <a:pt x="161" y="721"/>
                </a:lnTo>
                <a:lnTo>
                  <a:pt x="158" y="720"/>
                </a:lnTo>
                <a:lnTo>
                  <a:pt x="156" y="718"/>
                </a:lnTo>
                <a:lnTo>
                  <a:pt x="153" y="717"/>
                </a:lnTo>
                <a:lnTo>
                  <a:pt x="152" y="716"/>
                </a:lnTo>
                <a:lnTo>
                  <a:pt x="151" y="715"/>
                </a:lnTo>
                <a:lnTo>
                  <a:pt x="150" y="715"/>
                </a:lnTo>
                <a:lnTo>
                  <a:pt x="150" y="714"/>
                </a:lnTo>
                <a:lnTo>
                  <a:pt x="149" y="713"/>
                </a:lnTo>
                <a:lnTo>
                  <a:pt x="149" y="713"/>
                </a:lnTo>
                <a:lnTo>
                  <a:pt x="149" y="712"/>
                </a:lnTo>
                <a:lnTo>
                  <a:pt x="149" y="712"/>
                </a:lnTo>
                <a:lnTo>
                  <a:pt x="149" y="711"/>
                </a:lnTo>
                <a:lnTo>
                  <a:pt x="149" y="708"/>
                </a:lnTo>
                <a:lnTo>
                  <a:pt x="150" y="704"/>
                </a:lnTo>
                <a:lnTo>
                  <a:pt x="151" y="699"/>
                </a:lnTo>
                <a:lnTo>
                  <a:pt x="151" y="698"/>
                </a:lnTo>
                <a:lnTo>
                  <a:pt x="151" y="695"/>
                </a:lnTo>
                <a:lnTo>
                  <a:pt x="152" y="693"/>
                </a:lnTo>
                <a:lnTo>
                  <a:pt x="152" y="691"/>
                </a:lnTo>
                <a:lnTo>
                  <a:pt x="152" y="689"/>
                </a:lnTo>
                <a:lnTo>
                  <a:pt x="151" y="688"/>
                </a:lnTo>
                <a:lnTo>
                  <a:pt x="151" y="687"/>
                </a:lnTo>
                <a:lnTo>
                  <a:pt x="151" y="686"/>
                </a:lnTo>
                <a:lnTo>
                  <a:pt x="151" y="686"/>
                </a:lnTo>
                <a:lnTo>
                  <a:pt x="150" y="686"/>
                </a:lnTo>
                <a:lnTo>
                  <a:pt x="150" y="686"/>
                </a:lnTo>
                <a:lnTo>
                  <a:pt x="149" y="686"/>
                </a:lnTo>
                <a:lnTo>
                  <a:pt x="149" y="686"/>
                </a:lnTo>
                <a:lnTo>
                  <a:pt x="148" y="687"/>
                </a:lnTo>
                <a:lnTo>
                  <a:pt x="147" y="689"/>
                </a:lnTo>
                <a:lnTo>
                  <a:pt x="147" y="690"/>
                </a:lnTo>
                <a:lnTo>
                  <a:pt x="146" y="690"/>
                </a:lnTo>
                <a:lnTo>
                  <a:pt x="146" y="690"/>
                </a:lnTo>
                <a:lnTo>
                  <a:pt x="145" y="691"/>
                </a:lnTo>
                <a:lnTo>
                  <a:pt x="144" y="691"/>
                </a:lnTo>
                <a:lnTo>
                  <a:pt x="144" y="691"/>
                </a:lnTo>
                <a:lnTo>
                  <a:pt x="143" y="690"/>
                </a:lnTo>
                <a:lnTo>
                  <a:pt x="143" y="690"/>
                </a:lnTo>
                <a:lnTo>
                  <a:pt x="142" y="690"/>
                </a:lnTo>
                <a:lnTo>
                  <a:pt x="141" y="689"/>
                </a:lnTo>
                <a:lnTo>
                  <a:pt x="141" y="689"/>
                </a:lnTo>
                <a:lnTo>
                  <a:pt x="140" y="688"/>
                </a:lnTo>
                <a:lnTo>
                  <a:pt x="139" y="687"/>
                </a:lnTo>
                <a:lnTo>
                  <a:pt x="138" y="685"/>
                </a:lnTo>
                <a:lnTo>
                  <a:pt x="136" y="684"/>
                </a:lnTo>
                <a:lnTo>
                  <a:pt x="136" y="683"/>
                </a:lnTo>
                <a:lnTo>
                  <a:pt x="135" y="681"/>
                </a:lnTo>
                <a:lnTo>
                  <a:pt x="133" y="678"/>
                </a:lnTo>
                <a:lnTo>
                  <a:pt x="133" y="677"/>
                </a:lnTo>
                <a:lnTo>
                  <a:pt x="132" y="676"/>
                </a:lnTo>
                <a:lnTo>
                  <a:pt x="132" y="675"/>
                </a:lnTo>
                <a:lnTo>
                  <a:pt x="131" y="675"/>
                </a:lnTo>
                <a:lnTo>
                  <a:pt x="128" y="672"/>
                </a:lnTo>
                <a:lnTo>
                  <a:pt x="127" y="671"/>
                </a:lnTo>
                <a:lnTo>
                  <a:pt x="127" y="670"/>
                </a:lnTo>
                <a:lnTo>
                  <a:pt x="126" y="669"/>
                </a:lnTo>
                <a:lnTo>
                  <a:pt x="125" y="668"/>
                </a:lnTo>
                <a:lnTo>
                  <a:pt x="125" y="667"/>
                </a:lnTo>
                <a:lnTo>
                  <a:pt x="124" y="663"/>
                </a:lnTo>
                <a:lnTo>
                  <a:pt x="122" y="658"/>
                </a:lnTo>
                <a:lnTo>
                  <a:pt x="121" y="654"/>
                </a:lnTo>
                <a:lnTo>
                  <a:pt x="120" y="653"/>
                </a:lnTo>
                <a:lnTo>
                  <a:pt x="120" y="651"/>
                </a:lnTo>
                <a:lnTo>
                  <a:pt x="119" y="650"/>
                </a:lnTo>
                <a:lnTo>
                  <a:pt x="118" y="648"/>
                </a:lnTo>
                <a:lnTo>
                  <a:pt x="117" y="647"/>
                </a:lnTo>
                <a:lnTo>
                  <a:pt x="116" y="647"/>
                </a:lnTo>
                <a:lnTo>
                  <a:pt x="115" y="645"/>
                </a:lnTo>
                <a:lnTo>
                  <a:pt x="115" y="644"/>
                </a:lnTo>
                <a:lnTo>
                  <a:pt x="114" y="643"/>
                </a:lnTo>
                <a:lnTo>
                  <a:pt x="112" y="640"/>
                </a:lnTo>
                <a:lnTo>
                  <a:pt x="111" y="639"/>
                </a:lnTo>
                <a:lnTo>
                  <a:pt x="109" y="637"/>
                </a:lnTo>
                <a:lnTo>
                  <a:pt x="108" y="634"/>
                </a:lnTo>
                <a:lnTo>
                  <a:pt x="108" y="634"/>
                </a:lnTo>
                <a:lnTo>
                  <a:pt x="107" y="632"/>
                </a:lnTo>
                <a:lnTo>
                  <a:pt x="105" y="630"/>
                </a:lnTo>
                <a:lnTo>
                  <a:pt x="104" y="629"/>
                </a:lnTo>
                <a:lnTo>
                  <a:pt x="103" y="628"/>
                </a:lnTo>
                <a:lnTo>
                  <a:pt x="102" y="627"/>
                </a:lnTo>
                <a:lnTo>
                  <a:pt x="101" y="627"/>
                </a:lnTo>
                <a:lnTo>
                  <a:pt x="100" y="627"/>
                </a:lnTo>
                <a:lnTo>
                  <a:pt x="98" y="626"/>
                </a:lnTo>
                <a:lnTo>
                  <a:pt x="94" y="625"/>
                </a:lnTo>
                <a:lnTo>
                  <a:pt x="92" y="624"/>
                </a:lnTo>
                <a:lnTo>
                  <a:pt x="90" y="624"/>
                </a:lnTo>
                <a:lnTo>
                  <a:pt x="89" y="624"/>
                </a:lnTo>
                <a:lnTo>
                  <a:pt x="87" y="624"/>
                </a:lnTo>
                <a:lnTo>
                  <a:pt x="86" y="625"/>
                </a:lnTo>
                <a:lnTo>
                  <a:pt x="84" y="625"/>
                </a:lnTo>
                <a:lnTo>
                  <a:pt x="82" y="626"/>
                </a:lnTo>
                <a:lnTo>
                  <a:pt x="79" y="628"/>
                </a:lnTo>
                <a:lnTo>
                  <a:pt x="77" y="629"/>
                </a:lnTo>
                <a:lnTo>
                  <a:pt x="75" y="630"/>
                </a:lnTo>
                <a:lnTo>
                  <a:pt x="73" y="632"/>
                </a:lnTo>
                <a:lnTo>
                  <a:pt x="71" y="634"/>
                </a:lnTo>
                <a:lnTo>
                  <a:pt x="71" y="635"/>
                </a:lnTo>
                <a:lnTo>
                  <a:pt x="71" y="635"/>
                </a:lnTo>
                <a:lnTo>
                  <a:pt x="70" y="636"/>
                </a:lnTo>
                <a:lnTo>
                  <a:pt x="70" y="636"/>
                </a:lnTo>
                <a:lnTo>
                  <a:pt x="70" y="636"/>
                </a:lnTo>
                <a:lnTo>
                  <a:pt x="71" y="637"/>
                </a:lnTo>
                <a:lnTo>
                  <a:pt x="71" y="638"/>
                </a:lnTo>
                <a:lnTo>
                  <a:pt x="72" y="639"/>
                </a:lnTo>
                <a:lnTo>
                  <a:pt x="72" y="640"/>
                </a:lnTo>
                <a:lnTo>
                  <a:pt x="73" y="641"/>
                </a:lnTo>
                <a:lnTo>
                  <a:pt x="73" y="641"/>
                </a:lnTo>
                <a:lnTo>
                  <a:pt x="74" y="642"/>
                </a:lnTo>
                <a:lnTo>
                  <a:pt x="81" y="649"/>
                </a:lnTo>
                <a:lnTo>
                  <a:pt x="82" y="650"/>
                </a:lnTo>
                <a:lnTo>
                  <a:pt x="83" y="651"/>
                </a:lnTo>
                <a:lnTo>
                  <a:pt x="83" y="652"/>
                </a:lnTo>
                <a:lnTo>
                  <a:pt x="83" y="653"/>
                </a:lnTo>
                <a:lnTo>
                  <a:pt x="84" y="655"/>
                </a:lnTo>
                <a:lnTo>
                  <a:pt x="85" y="657"/>
                </a:lnTo>
                <a:lnTo>
                  <a:pt x="85" y="657"/>
                </a:lnTo>
                <a:lnTo>
                  <a:pt x="87" y="660"/>
                </a:lnTo>
                <a:lnTo>
                  <a:pt x="88" y="662"/>
                </a:lnTo>
                <a:lnTo>
                  <a:pt x="88" y="663"/>
                </a:lnTo>
                <a:lnTo>
                  <a:pt x="88" y="664"/>
                </a:lnTo>
                <a:lnTo>
                  <a:pt x="89" y="665"/>
                </a:lnTo>
                <a:lnTo>
                  <a:pt x="89" y="666"/>
                </a:lnTo>
                <a:lnTo>
                  <a:pt x="89" y="667"/>
                </a:lnTo>
                <a:lnTo>
                  <a:pt x="89" y="668"/>
                </a:lnTo>
                <a:lnTo>
                  <a:pt x="89" y="669"/>
                </a:lnTo>
                <a:lnTo>
                  <a:pt x="88" y="669"/>
                </a:lnTo>
                <a:lnTo>
                  <a:pt x="88" y="671"/>
                </a:lnTo>
                <a:lnTo>
                  <a:pt x="86" y="673"/>
                </a:lnTo>
                <a:lnTo>
                  <a:pt x="85" y="675"/>
                </a:lnTo>
                <a:lnTo>
                  <a:pt x="83" y="678"/>
                </a:lnTo>
                <a:lnTo>
                  <a:pt x="82" y="682"/>
                </a:lnTo>
                <a:lnTo>
                  <a:pt x="81" y="684"/>
                </a:lnTo>
                <a:lnTo>
                  <a:pt x="80" y="686"/>
                </a:lnTo>
                <a:lnTo>
                  <a:pt x="79" y="687"/>
                </a:lnTo>
                <a:lnTo>
                  <a:pt x="78" y="688"/>
                </a:lnTo>
                <a:lnTo>
                  <a:pt x="77" y="690"/>
                </a:lnTo>
                <a:lnTo>
                  <a:pt x="75" y="692"/>
                </a:lnTo>
                <a:lnTo>
                  <a:pt x="73" y="693"/>
                </a:lnTo>
                <a:lnTo>
                  <a:pt x="71" y="694"/>
                </a:lnTo>
                <a:lnTo>
                  <a:pt x="70" y="695"/>
                </a:lnTo>
                <a:lnTo>
                  <a:pt x="69" y="695"/>
                </a:lnTo>
                <a:lnTo>
                  <a:pt x="68" y="696"/>
                </a:lnTo>
                <a:lnTo>
                  <a:pt x="66" y="696"/>
                </a:lnTo>
                <a:lnTo>
                  <a:pt x="65" y="695"/>
                </a:lnTo>
                <a:lnTo>
                  <a:pt x="63" y="695"/>
                </a:lnTo>
                <a:lnTo>
                  <a:pt x="60" y="694"/>
                </a:lnTo>
                <a:lnTo>
                  <a:pt x="58" y="693"/>
                </a:lnTo>
                <a:lnTo>
                  <a:pt x="56" y="691"/>
                </a:lnTo>
                <a:lnTo>
                  <a:pt x="51" y="688"/>
                </a:lnTo>
                <a:lnTo>
                  <a:pt x="49" y="686"/>
                </a:lnTo>
                <a:lnTo>
                  <a:pt x="48" y="685"/>
                </a:lnTo>
                <a:lnTo>
                  <a:pt x="47" y="684"/>
                </a:lnTo>
                <a:lnTo>
                  <a:pt x="45" y="682"/>
                </a:lnTo>
                <a:lnTo>
                  <a:pt x="45" y="681"/>
                </a:lnTo>
                <a:lnTo>
                  <a:pt x="44" y="680"/>
                </a:lnTo>
                <a:lnTo>
                  <a:pt x="44" y="680"/>
                </a:lnTo>
                <a:lnTo>
                  <a:pt x="43" y="679"/>
                </a:lnTo>
                <a:lnTo>
                  <a:pt x="43" y="678"/>
                </a:lnTo>
                <a:lnTo>
                  <a:pt x="43" y="677"/>
                </a:lnTo>
                <a:lnTo>
                  <a:pt x="44" y="676"/>
                </a:ln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5" name="Freeform 288">
            <a:extLst>
              <a:ext uri="{FF2B5EF4-FFF2-40B4-BE49-F238E27FC236}">
                <a16:creationId xmlns:a16="http://schemas.microsoft.com/office/drawing/2014/main" id="{F5124FB5-1020-4708-90B7-B38F35C8A667}"/>
              </a:ext>
            </a:extLst>
          </p:cNvPr>
          <p:cNvSpPr>
            <a:spLocks/>
          </p:cNvSpPr>
          <p:nvPr/>
        </p:nvSpPr>
        <p:spPr bwMode="auto">
          <a:xfrm>
            <a:off x="10184458" y="3955448"/>
            <a:ext cx="900943" cy="1434889"/>
          </a:xfrm>
          <a:custGeom>
            <a:avLst/>
            <a:gdLst>
              <a:gd name="T0" fmla="*/ 215 w 474"/>
              <a:gd name="T1" fmla="*/ 10 h 690"/>
              <a:gd name="T2" fmla="*/ 220 w 474"/>
              <a:gd name="T3" fmla="*/ 35 h 690"/>
              <a:gd name="T4" fmla="*/ 242 w 474"/>
              <a:gd name="T5" fmla="*/ 32 h 690"/>
              <a:gd name="T6" fmla="*/ 249 w 474"/>
              <a:gd name="T7" fmla="*/ 66 h 690"/>
              <a:gd name="T8" fmla="*/ 231 w 474"/>
              <a:gd name="T9" fmla="*/ 71 h 690"/>
              <a:gd name="T10" fmla="*/ 202 w 474"/>
              <a:gd name="T11" fmla="*/ 94 h 690"/>
              <a:gd name="T12" fmla="*/ 174 w 474"/>
              <a:gd name="T13" fmla="*/ 135 h 690"/>
              <a:gd name="T14" fmla="*/ 168 w 474"/>
              <a:gd name="T15" fmla="*/ 178 h 690"/>
              <a:gd name="T16" fmla="*/ 145 w 474"/>
              <a:gd name="T17" fmla="*/ 223 h 690"/>
              <a:gd name="T18" fmla="*/ 159 w 474"/>
              <a:gd name="T19" fmla="*/ 245 h 690"/>
              <a:gd name="T20" fmla="*/ 147 w 474"/>
              <a:gd name="T21" fmla="*/ 271 h 690"/>
              <a:gd name="T22" fmla="*/ 144 w 474"/>
              <a:gd name="T23" fmla="*/ 298 h 690"/>
              <a:gd name="T24" fmla="*/ 167 w 474"/>
              <a:gd name="T25" fmla="*/ 311 h 690"/>
              <a:gd name="T26" fmla="*/ 171 w 474"/>
              <a:gd name="T27" fmla="*/ 328 h 690"/>
              <a:gd name="T28" fmla="*/ 194 w 474"/>
              <a:gd name="T29" fmla="*/ 322 h 690"/>
              <a:gd name="T30" fmla="*/ 228 w 474"/>
              <a:gd name="T31" fmla="*/ 305 h 690"/>
              <a:gd name="T32" fmla="*/ 233 w 474"/>
              <a:gd name="T33" fmla="*/ 331 h 690"/>
              <a:gd name="T34" fmla="*/ 244 w 474"/>
              <a:gd name="T35" fmla="*/ 341 h 690"/>
              <a:gd name="T36" fmla="*/ 261 w 474"/>
              <a:gd name="T37" fmla="*/ 323 h 690"/>
              <a:gd name="T38" fmla="*/ 272 w 474"/>
              <a:gd name="T39" fmla="*/ 316 h 690"/>
              <a:gd name="T40" fmla="*/ 276 w 474"/>
              <a:gd name="T41" fmla="*/ 297 h 690"/>
              <a:gd name="T42" fmla="*/ 289 w 474"/>
              <a:gd name="T43" fmla="*/ 331 h 690"/>
              <a:gd name="T44" fmla="*/ 303 w 474"/>
              <a:gd name="T45" fmla="*/ 356 h 690"/>
              <a:gd name="T46" fmla="*/ 336 w 474"/>
              <a:gd name="T47" fmla="*/ 372 h 690"/>
              <a:gd name="T48" fmla="*/ 367 w 474"/>
              <a:gd name="T49" fmla="*/ 365 h 690"/>
              <a:gd name="T50" fmla="*/ 372 w 474"/>
              <a:gd name="T51" fmla="*/ 394 h 690"/>
              <a:gd name="T52" fmla="*/ 380 w 474"/>
              <a:gd name="T53" fmla="*/ 421 h 690"/>
              <a:gd name="T54" fmla="*/ 397 w 474"/>
              <a:gd name="T55" fmla="*/ 421 h 690"/>
              <a:gd name="T56" fmla="*/ 425 w 474"/>
              <a:gd name="T57" fmla="*/ 452 h 690"/>
              <a:gd name="T58" fmla="*/ 447 w 474"/>
              <a:gd name="T59" fmla="*/ 487 h 690"/>
              <a:gd name="T60" fmla="*/ 457 w 474"/>
              <a:gd name="T61" fmla="*/ 493 h 690"/>
              <a:gd name="T62" fmla="*/ 474 w 474"/>
              <a:gd name="T63" fmla="*/ 506 h 690"/>
              <a:gd name="T64" fmla="*/ 462 w 474"/>
              <a:gd name="T65" fmla="*/ 522 h 690"/>
              <a:gd name="T66" fmla="*/ 439 w 474"/>
              <a:gd name="T67" fmla="*/ 527 h 690"/>
              <a:gd name="T68" fmla="*/ 423 w 474"/>
              <a:gd name="T69" fmla="*/ 552 h 690"/>
              <a:gd name="T70" fmla="*/ 399 w 474"/>
              <a:gd name="T71" fmla="*/ 575 h 690"/>
              <a:gd name="T72" fmla="*/ 375 w 474"/>
              <a:gd name="T73" fmla="*/ 562 h 690"/>
              <a:gd name="T74" fmla="*/ 359 w 474"/>
              <a:gd name="T75" fmla="*/ 570 h 690"/>
              <a:gd name="T76" fmla="*/ 359 w 474"/>
              <a:gd name="T77" fmla="*/ 586 h 690"/>
              <a:gd name="T78" fmla="*/ 348 w 474"/>
              <a:gd name="T79" fmla="*/ 602 h 690"/>
              <a:gd name="T80" fmla="*/ 319 w 474"/>
              <a:gd name="T81" fmla="*/ 600 h 690"/>
              <a:gd name="T82" fmla="*/ 302 w 474"/>
              <a:gd name="T83" fmla="*/ 617 h 690"/>
              <a:gd name="T84" fmla="*/ 280 w 474"/>
              <a:gd name="T85" fmla="*/ 621 h 690"/>
              <a:gd name="T86" fmla="*/ 249 w 474"/>
              <a:gd name="T87" fmla="*/ 614 h 690"/>
              <a:gd name="T88" fmla="*/ 240 w 474"/>
              <a:gd name="T89" fmla="*/ 600 h 690"/>
              <a:gd name="T90" fmla="*/ 232 w 474"/>
              <a:gd name="T91" fmla="*/ 627 h 690"/>
              <a:gd name="T92" fmla="*/ 224 w 474"/>
              <a:gd name="T93" fmla="*/ 653 h 690"/>
              <a:gd name="T94" fmla="*/ 196 w 474"/>
              <a:gd name="T95" fmla="*/ 673 h 690"/>
              <a:gd name="T96" fmla="*/ 161 w 474"/>
              <a:gd name="T97" fmla="*/ 688 h 690"/>
              <a:gd name="T98" fmla="*/ 146 w 474"/>
              <a:gd name="T99" fmla="*/ 661 h 690"/>
              <a:gd name="T100" fmla="*/ 110 w 474"/>
              <a:gd name="T101" fmla="*/ 640 h 690"/>
              <a:gd name="T102" fmla="*/ 109 w 474"/>
              <a:gd name="T103" fmla="*/ 612 h 690"/>
              <a:gd name="T104" fmla="*/ 100 w 474"/>
              <a:gd name="T105" fmla="*/ 613 h 690"/>
              <a:gd name="T106" fmla="*/ 84 w 474"/>
              <a:gd name="T107" fmla="*/ 594 h 690"/>
              <a:gd name="T108" fmla="*/ 69 w 474"/>
              <a:gd name="T109" fmla="*/ 563 h 690"/>
              <a:gd name="T110" fmla="*/ 44 w 474"/>
              <a:gd name="T111" fmla="*/ 547 h 690"/>
              <a:gd name="T112" fmla="*/ 29 w 474"/>
              <a:gd name="T113" fmla="*/ 563 h 690"/>
              <a:gd name="T114" fmla="*/ 46 w 474"/>
              <a:gd name="T115" fmla="*/ 589 h 690"/>
              <a:gd name="T116" fmla="*/ 28 w 474"/>
              <a:gd name="T117" fmla="*/ 617 h 690"/>
              <a:gd name="T118" fmla="*/ 1 w 474"/>
              <a:gd name="T119" fmla="*/ 60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74" h="690">
                <a:moveTo>
                  <a:pt x="195" y="2"/>
                </a:moveTo>
                <a:lnTo>
                  <a:pt x="197" y="2"/>
                </a:lnTo>
                <a:lnTo>
                  <a:pt x="198" y="2"/>
                </a:lnTo>
                <a:lnTo>
                  <a:pt x="200" y="1"/>
                </a:lnTo>
                <a:lnTo>
                  <a:pt x="206" y="0"/>
                </a:lnTo>
                <a:lnTo>
                  <a:pt x="207" y="0"/>
                </a:lnTo>
                <a:lnTo>
                  <a:pt x="208" y="0"/>
                </a:lnTo>
                <a:lnTo>
                  <a:pt x="209" y="0"/>
                </a:lnTo>
                <a:lnTo>
                  <a:pt x="210" y="0"/>
                </a:lnTo>
                <a:lnTo>
                  <a:pt x="211" y="0"/>
                </a:lnTo>
                <a:lnTo>
                  <a:pt x="211" y="0"/>
                </a:lnTo>
                <a:lnTo>
                  <a:pt x="212" y="0"/>
                </a:lnTo>
                <a:lnTo>
                  <a:pt x="212" y="1"/>
                </a:lnTo>
                <a:lnTo>
                  <a:pt x="212" y="1"/>
                </a:lnTo>
                <a:lnTo>
                  <a:pt x="213" y="2"/>
                </a:lnTo>
                <a:lnTo>
                  <a:pt x="214" y="6"/>
                </a:lnTo>
                <a:lnTo>
                  <a:pt x="215" y="10"/>
                </a:lnTo>
                <a:lnTo>
                  <a:pt x="215" y="10"/>
                </a:lnTo>
                <a:lnTo>
                  <a:pt x="215" y="12"/>
                </a:lnTo>
                <a:lnTo>
                  <a:pt x="215" y="13"/>
                </a:lnTo>
                <a:lnTo>
                  <a:pt x="215" y="15"/>
                </a:lnTo>
                <a:lnTo>
                  <a:pt x="215" y="26"/>
                </a:lnTo>
                <a:lnTo>
                  <a:pt x="215" y="27"/>
                </a:lnTo>
                <a:lnTo>
                  <a:pt x="215" y="28"/>
                </a:lnTo>
                <a:lnTo>
                  <a:pt x="215" y="30"/>
                </a:lnTo>
                <a:lnTo>
                  <a:pt x="216" y="32"/>
                </a:lnTo>
                <a:lnTo>
                  <a:pt x="216" y="33"/>
                </a:lnTo>
                <a:lnTo>
                  <a:pt x="217" y="33"/>
                </a:lnTo>
                <a:lnTo>
                  <a:pt x="217" y="34"/>
                </a:lnTo>
                <a:lnTo>
                  <a:pt x="217" y="34"/>
                </a:lnTo>
                <a:lnTo>
                  <a:pt x="218" y="35"/>
                </a:lnTo>
                <a:lnTo>
                  <a:pt x="219" y="35"/>
                </a:lnTo>
                <a:lnTo>
                  <a:pt x="220" y="35"/>
                </a:lnTo>
                <a:lnTo>
                  <a:pt x="220" y="35"/>
                </a:lnTo>
                <a:lnTo>
                  <a:pt x="221" y="34"/>
                </a:lnTo>
                <a:lnTo>
                  <a:pt x="221" y="34"/>
                </a:lnTo>
                <a:lnTo>
                  <a:pt x="224" y="32"/>
                </a:lnTo>
                <a:lnTo>
                  <a:pt x="225" y="31"/>
                </a:lnTo>
                <a:lnTo>
                  <a:pt x="226" y="30"/>
                </a:lnTo>
                <a:lnTo>
                  <a:pt x="227" y="30"/>
                </a:lnTo>
                <a:lnTo>
                  <a:pt x="228" y="30"/>
                </a:lnTo>
                <a:lnTo>
                  <a:pt x="229" y="29"/>
                </a:lnTo>
                <a:lnTo>
                  <a:pt x="231" y="29"/>
                </a:lnTo>
                <a:lnTo>
                  <a:pt x="232" y="29"/>
                </a:lnTo>
                <a:lnTo>
                  <a:pt x="233" y="29"/>
                </a:lnTo>
                <a:lnTo>
                  <a:pt x="235" y="29"/>
                </a:lnTo>
                <a:lnTo>
                  <a:pt x="236" y="29"/>
                </a:lnTo>
                <a:lnTo>
                  <a:pt x="238" y="30"/>
                </a:lnTo>
                <a:lnTo>
                  <a:pt x="239" y="30"/>
                </a:lnTo>
                <a:lnTo>
                  <a:pt x="241" y="31"/>
                </a:lnTo>
                <a:lnTo>
                  <a:pt x="242" y="32"/>
                </a:lnTo>
                <a:lnTo>
                  <a:pt x="244" y="33"/>
                </a:lnTo>
                <a:lnTo>
                  <a:pt x="245" y="34"/>
                </a:lnTo>
                <a:lnTo>
                  <a:pt x="246" y="35"/>
                </a:lnTo>
                <a:lnTo>
                  <a:pt x="247" y="35"/>
                </a:lnTo>
                <a:lnTo>
                  <a:pt x="248" y="36"/>
                </a:lnTo>
                <a:lnTo>
                  <a:pt x="249" y="38"/>
                </a:lnTo>
                <a:lnTo>
                  <a:pt x="249" y="39"/>
                </a:lnTo>
                <a:lnTo>
                  <a:pt x="250" y="40"/>
                </a:lnTo>
                <a:lnTo>
                  <a:pt x="251" y="42"/>
                </a:lnTo>
                <a:lnTo>
                  <a:pt x="251" y="43"/>
                </a:lnTo>
                <a:lnTo>
                  <a:pt x="251" y="44"/>
                </a:lnTo>
                <a:lnTo>
                  <a:pt x="251" y="44"/>
                </a:lnTo>
                <a:lnTo>
                  <a:pt x="251" y="45"/>
                </a:lnTo>
                <a:lnTo>
                  <a:pt x="250" y="57"/>
                </a:lnTo>
                <a:lnTo>
                  <a:pt x="250" y="60"/>
                </a:lnTo>
                <a:lnTo>
                  <a:pt x="250" y="63"/>
                </a:lnTo>
                <a:lnTo>
                  <a:pt x="249" y="66"/>
                </a:lnTo>
                <a:lnTo>
                  <a:pt x="249" y="67"/>
                </a:lnTo>
                <a:lnTo>
                  <a:pt x="248" y="68"/>
                </a:lnTo>
                <a:lnTo>
                  <a:pt x="248" y="70"/>
                </a:lnTo>
                <a:lnTo>
                  <a:pt x="247" y="70"/>
                </a:lnTo>
                <a:lnTo>
                  <a:pt x="247" y="71"/>
                </a:lnTo>
                <a:lnTo>
                  <a:pt x="246" y="71"/>
                </a:lnTo>
                <a:lnTo>
                  <a:pt x="245" y="72"/>
                </a:lnTo>
                <a:lnTo>
                  <a:pt x="244" y="72"/>
                </a:lnTo>
                <a:lnTo>
                  <a:pt x="243" y="72"/>
                </a:lnTo>
                <a:lnTo>
                  <a:pt x="242" y="72"/>
                </a:lnTo>
                <a:lnTo>
                  <a:pt x="241" y="72"/>
                </a:lnTo>
                <a:lnTo>
                  <a:pt x="239" y="72"/>
                </a:lnTo>
                <a:lnTo>
                  <a:pt x="237" y="72"/>
                </a:lnTo>
                <a:lnTo>
                  <a:pt x="235" y="71"/>
                </a:lnTo>
                <a:lnTo>
                  <a:pt x="233" y="71"/>
                </a:lnTo>
                <a:lnTo>
                  <a:pt x="232" y="71"/>
                </a:lnTo>
                <a:lnTo>
                  <a:pt x="231" y="71"/>
                </a:lnTo>
                <a:lnTo>
                  <a:pt x="230" y="72"/>
                </a:lnTo>
                <a:lnTo>
                  <a:pt x="229" y="72"/>
                </a:lnTo>
                <a:lnTo>
                  <a:pt x="228" y="73"/>
                </a:lnTo>
                <a:lnTo>
                  <a:pt x="226" y="75"/>
                </a:lnTo>
                <a:lnTo>
                  <a:pt x="223" y="78"/>
                </a:lnTo>
                <a:lnTo>
                  <a:pt x="219" y="83"/>
                </a:lnTo>
                <a:lnTo>
                  <a:pt x="217" y="84"/>
                </a:lnTo>
                <a:lnTo>
                  <a:pt x="216" y="85"/>
                </a:lnTo>
                <a:lnTo>
                  <a:pt x="214" y="87"/>
                </a:lnTo>
                <a:lnTo>
                  <a:pt x="213" y="88"/>
                </a:lnTo>
                <a:lnTo>
                  <a:pt x="211" y="88"/>
                </a:lnTo>
                <a:lnTo>
                  <a:pt x="208" y="89"/>
                </a:lnTo>
                <a:lnTo>
                  <a:pt x="207" y="90"/>
                </a:lnTo>
                <a:lnTo>
                  <a:pt x="205" y="91"/>
                </a:lnTo>
                <a:lnTo>
                  <a:pt x="204" y="92"/>
                </a:lnTo>
                <a:lnTo>
                  <a:pt x="203" y="93"/>
                </a:lnTo>
                <a:lnTo>
                  <a:pt x="202" y="94"/>
                </a:lnTo>
                <a:lnTo>
                  <a:pt x="198" y="97"/>
                </a:lnTo>
                <a:lnTo>
                  <a:pt x="197" y="98"/>
                </a:lnTo>
                <a:lnTo>
                  <a:pt x="196" y="99"/>
                </a:lnTo>
                <a:lnTo>
                  <a:pt x="193" y="101"/>
                </a:lnTo>
                <a:lnTo>
                  <a:pt x="192" y="102"/>
                </a:lnTo>
                <a:lnTo>
                  <a:pt x="190" y="104"/>
                </a:lnTo>
                <a:lnTo>
                  <a:pt x="187" y="108"/>
                </a:lnTo>
                <a:lnTo>
                  <a:pt x="180" y="116"/>
                </a:lnTo>
                <a:lnTo>
                  <a:pt x="178" y="119"/>
                </a:lnTo>
                <a:lnTo>
                  <a:pt x="177" y="121"/>
                </a:lnTo>
                <a:lnTo>
                  <a:pt x="177" y="122"/>
                </a:lnTo>
                <a:lnTo>
                  <a:pt x="176" y="123"/>
                </a:lnTo>
                <a:lnTo>
                  <a:pt x="176" y="125"/>
                </a:lnTo>
                <a:lnTo>
                  <a:pt x="175" y="128"/>
                </a:lnTo>
                <a:lnTo>
                  <a:pt x="175" y="132"/>
                </a:lnTo>
                <a:lnTo>
                  <a:pt x="175" y="134"/>
                </a:lnTo>
                <a:lnTo>
                  <a:pt x="174" y="135"/>
                </a:lnTo>
                <a:lnTo>
                  <a:pt x="174" y="136"/>
                </a:lnTo>
                <a:lnTo>
                  <a:pt x="173" y="138"/>
                </a:lnTo>
                <a:lnTo>
                  <a:pt x="171" y="143"/>
                </a:lnTo>
                <a:lnTo>
                  <a:pt x="171" y="145"/>
                </a:lnTo>
                <a:lnTo>
                  <a:pt x="170" y="146"/>
                </a:lnTo>
                <a:lnTo>
                  <a:pt x="170" y="148"/>
                </a:lnTo>
                <a:lnTo>
                  <a:pt x="170" y="150"/>
                </a:lnTo>
                <a:lnTo>
                  <a:pt x="170" y="152"/>
                </a:lnTo>
                <a:lnTo>
                  <a:pt x="170" y="159"/>
                </a:lnTo>
                <a:lnTo>
                  <a:pt x="170" y="165"/>
                </a:lnTo>
                <a:lnTo>
                  <a:pt x="170" y="168"/>
                </a:lnTo>
                <a:lnTo>
                  <a:pt x="170" y="170"/>
                </a:lnTo>
                <a:lnTo>
                  <a:pt x="170" y="172"/>
                </a:lnTo>
                <a:lnTo>
                  <a:pt x="170" y="173"/>
                </a:lnTo>
                <a:lnTo>
                  <a:pt x="169" y="175"/>
                </a:lnTo>
                <a:lnTo>
                  <a:pt x="168" y="177"/>
                </a:lnTo>
                <a:lnTo>
                  <a:pt x="168" y="178"/>
                </a:lnTo>
                <a:lnTo>
                  <a:pt x="167" y="180"/>
                </a:lnTo>
                <a:lnTo>
                  <a:pt x="166" y="182"/>
                </a:lnTo>
                <a:lnTo>
                  <a:pt x="165" y="183"/>
                </a:lnTo>
                <a:lnTo>
                  <a:pt x="164" y="184"/>
                </a:lnTo>
                <a:lnTo>
                  <a:pt x="156" y="193"/>
                </a:lnTo>
                <a:lnTo>
                  <a:pt x="154" y="196"/>
                </a:lnTo>
                <a:lnTo>
                  <a:pt x="153" y="198"/>
                </a:lnTo>
                <a:lnTo>
                  <a:pt x="151" y="200"/>
                </a:lnTo>
                <a:lnTo>
                  <a:pt x="150" y="202"/>
                </a:lnTo>
                <a:lnTo>
                  <a:pt x="149" y="206"/>
                </a:lnTo>
                <a:lnTo>
                  <a:pt x="148" y="207"/>
                </a:lnTo>
                <a:lnTo>
                  <a:pt x="148" y="208"/>
                </a:lnTo>
                <a:lnTo>
                  <a:pt x="147" y="210"/>
                </a:lnTo>
                <a:lnTo>
                  <a:pt x="147" y="211"/>
                </a:lnTo>
                <a:lnTo>
                  <a:pt x="147" y="213"/>
                </a:lnTo>
                <a:lnTo>
                  <a:pt x="146" y="218"/>
                </a:lnTo>
                <a:lnTo>
                  <a:pt x="145" y="223"/>
                </a:lnTo>
                <a:lnTo>
                  <a:pt x="145" y="224"/>
                </a:lnTo>
                <a:lnTo>
                  <a:pt x="145" y="225"/>
                </a:lnTo>
                <a:lnTo>
                  <a:pt x="146" y="226"/>
                </a:lnTo>
                <a:lnTo>
                  <a:pt x="146" y="227"/>
                </a:lnTo>
                <a:lnTo>
                  <a:pt x="146" y="227"/>
                </a:lnTo>
                <a:lnTo>
                  <a:pt x="146" y="228"/>
                </a:lnTo>
                <a:lnTo>
                  <a:pt x="147" y="229"/>
                </a:lnTo>
                <a:lnTo>
                  <a:pt x="148" y="230"/>
                </a:lnTo>
                <a:lnTo>
                  <a:pt x="149" y="232"/>
                </a:lnTo>
                <a:lnTo>
                  <a:pt x="155" y="238"/>
                </a:lnTo>
                <a:lnTo>
                  <a:pt x="156" y="239"/>
                </a:lnTo>
                <a:lnTo>
                  <a:pt x="157" y="241"/>
                </a:lnTo>
                <a:lnTo>
                  <a:pt x="157" y="241"/>
                </a:lnTo>
                <a:lnTo>
                  <a:pt x="158" y="242"/>
                </a:lnTo>
                <a:lnTo>
                  <a:pt x="158" y="243"/>
                </a:lnTo>
                <a:lnTo>
                  <a:pt x="158" y="244"/>
                </a:lnTo>
                <a:lnTo>
                  <a:pt x="159" y="245"/>
                </a:lnTo>
                <a:lnTo>
                  <a:pt x="159" y="246"/>
                </a:lnTo>
                <a:lnTo>
                  <a:pt x="159" y="247"/>
                </a:lnTo>
                <a:lnTo>
                  <a:pt x="159" y="248"/>
                </a:lnTo>
                <a:lnTo>
                  <a:pt x="159" y="249"/>
                </a:lnTo>
                <a:lnTo>
                  <a:pt x="158" y="251"/>
                </a:lnTo>
                <a:lnTo>
                  <a:pt x="158" y="252"/>
                </a:lnTo>
                <a:lnTo>
                  <a:pt x="157" y="254"/>
                </a:lnTo>
                <a:lnTo>
                  <a:pt x="156" y="256"/>
                </a:lnTo>
                <a:lnTo>
                  <a:pt x="155" y="257"/>
                </a:lnTo>
                <a:lnTo>
                  <a:pt x="152" y="261"/>
                </a:lnTo>
                <a:lnTo>
                  <a:pt x="150" y="263"/>
                </a:lnTo>
                <a:lnTo>
                  <a:pt x="148" y="265"/>
                </a:lnTo>
                <a:lnTo>
                  <a:pt x="148" y="266"/>
                </a:lnTo>
                <a:lnTo>
                  <a:pt x="148" y="267"/>
                </a:lnTo>
                <a:lnTo>
                  <a:pt x="147" y="268"/>
                </a:lnTo>
                <a:lnTo>
                  <a:pt x="147" y="270"/>
                </a:lnTo>
                <a:lnTo>
                  <a:pt x="147" y="271"/>
                </a:lnTo>
                <a:lnTo>
                  <a:pt x="147" y="273"/>
                </a:lnTo>
                <a:lnTo>
                  <a:pt x="147" y="274"/>
                </a:lnTo>
                <a:lnTo>
                  <a:pt x="147" y="276"/>
                </a:lnTo>
                <a:lnTo>
                  <a:pt x="147" y="277"/>
                </a:lnTo>
                <a:lnTo>
                  <a:pt x="146" y="279"/>
                </a:lnTo>
                <a:lnTo>
                  <a:pt x="145" y="281"/>
                </a:lnTo>
                <a:lnTo>
                  <a:pt x="143" y="286"/>
                </a:lnTo>
                <a:lnTo>
                  <a:pt x="142" y="288"/>
                </a:lnTo>
                <a:lnTo>
                  <a:pt x="142" y="289"/>
                </a:lnTo>
                <a:lnTo>
                  <a:pt x="142" y="290"/>
                </a:lnTo>
                <a:lnTo>
                  <a:pt x="142" y="292"/>
                </a:lnTo>
                <a:lnTo>
                  <a:pt x="142" y="292"/>
                </a:lnTo>
                <a:lnTo>
                  <a:pt x="142" y="293"/>
                </a:lnTo>
                <a:lnTo>
                  <a:pt x="142" y="294"/>
                </a:lnTo>
                <a:lnTo>
                  <a:pt x="142" y="295"/>
                </a:lnTo>
                <a:lnTo>
                  <a:pt x="143" y="296"/>
                </a:lnTo>
                <a:lnTo>
                  <a:pt x="144" y="298"/>
                </a:lnTo>
                <a:lnTo>
                  <a:pt x="145" y="300"/>
                </a:lnTo>
                <a:lnTo>
                  <a:pt x="146" y="301"/>
                </a:lnTo>
                <a:lnTo>
                  <a:pt x="146" y="302"/>
                </a:lnTo>
                <a:lnTo>
                  <a:pt x="149" y="305"/>
                </a:lnTo>
                <a:lnTo>
                  <a:pt x="151" y="308"/>
                </a:lnTo>
                <a:lnTo>
                  <a:pt x="152" y="309"/>
                </a:lnTo>
                <a:lnTo>
                  <a:pt x="154" y="311"/>
                </a:lnTo>
                <a:lnTo>
                  <a:pt x="154" y="311"/>
                </a:lnTo>
                <a:lnTo>
                  <a:pt x="155" y="312"/>
                </a:lnTo>
                <a:lnTo>
                  <a:pt x="156" y="312"/>
                </a:lnTo>
                <a:lnTo>
                  <a:pt x="157" y="312"/>
                </a:lnTo>
                <a:lnTo>
                  <a:pt x="158" y="312"/>
                </a:lnTo>
                <a:lnTo>
                  <a:pt x="159" y="312"/>
                </a:lnTo>
                <a:lnTo>
                  <a:pt x="160" y="312"/>
                </a:lnTo>
                <a:lnTo>
                  <a:pt x="164" y="312"/>
                </a:lnTo>
                <a:lnTo>
                  <a:pt x="165" y="311"/>
                </a:lnTo>
                <a:lnTo>
                  <a:pt x="167" y="311"/>
                </a:lnTo>
                <a:lnTo>
                  <a:pt x="168" y="310"/>
                </a:lnTo>
                <a:lnTo>
                  <a:pt x="169" y="310"/>
                </a:lnTo>
                <a:lnTo>
                  <a:pt x="169" y="310"/>
                </a:lnTo>
                <a:lnTo>
                  <a:pt x="170" y="310"/>
                </a:lnTo>
                <a:lnTo>
                  <a:pt x="170" y="311"/>
                </a:lnTo>
                <a:lnTo>
                  <a:pt x="170" y="311"/>
                </a:lnTo>
                <a:lnTo>
                  <a:pt x="170" y="312"/>
                </a:lnTo>
                <a:lnTo>
                  <a:pt x="171" y="313"/>
                </a:lnTo>
                <a:lnTo>
                  <a:pt x="171" y="314"/>
                </a:lnTo>
                <a:lnTo>
                  <a:pt x="170" y="317"/>
                </a:lnTo>
                <a:lnTo>
                  <a:pt x="170" y="321"/>
                </a:lnTo>
                <a:lnTo>
                  <a:pt x="170" y="323"/>
                </a:lnTo>
                <a:lnTo>
                  <a:pt x="169" y="324"/>
                </a:lnTo>
                <a:lnTo>
                  <a:pt x="170" y="326"/>
                </a:lnTo>
                <a:lnTo>
                  <a:pt x="170" y="326"/>
                </a:lnTo>
                <a:lnTo>
                  <a:pt x="170" y="327"/>
                </a:lnTo>
                <a:lnTo>
                  <a:pt x="171" y="328"/>
                </a:lnTo>
                <a:lnTo>
                  <a:pt x="171" y="329"/>
                </a:lnTo>
                <a:lnTo>
                  <a:pt x="172" y="329"/>
                </a:lnTo>
                <a:lnTo>
                  <a:pt x="172" y="329"/>
                </a:lnTo>
                <a:lnTo>
                  <a:pt x="173" y="329"/>
                </a:lnTo>
                <a:lnTo>
                  <a:pt x="174" y="330"/>
                </a:lnTo>
                <a:lnTo>
                  <a:pt x="175" y="330"/>
                </a:lnTo>
                <a:lnTo>
                  <a:pt x="180" y="329"/>
                </a:lnTo>
                <a:lnTo>
                  <a:pt x="185" y="329"/>
                </a:lnTo>
                <a:lnTo>
                  <a:pt x="186" y="329"/>
                </a:lnTo>
                <a:lnTo>
                  <a:pt x="187" y="329"/>
                </a:lnTo>
                <a:lnTo>
                  <a:pt x="188" y="329"/>
                </a:lnTo>
                <a:lnTo>
                  <a:pt x="189" y="328"/>
                </a:lnTo>
                <a:lnTo>
                  <a:pt x="189" y="327"/>
                </a:lnTo>
                <a:lnTo>
                  <a:pt x="191" y="325"/>
                </a:lnTo>
                <a:lnTo>
                  <a:pt x="192" y="324"/>
                </a:lnTo>
                <a:lnTo>
                  <a:pt x="193" y="323"/>
                </a:lnTo>
                <a:lnTo>
                  <a:pt x="194" y="322"/>
                </a:lnTo>
                <a:lnTo>
                  <a:pt x="195" y="320"/>
                </a:lnTo>
                <a:lnTo>
                  <a:pt x="200" y="317"/>
                </a:lnTo>
                <a:lnTo>
                  <a:pt x="204" y="314"/>
                </a:lnTo>
                <a:lnTo>
                  <a:pt x="206" y="312"/>
                </a:lnTo>
                <a:lnTo>
                  <a:pt x="209" y="310"/>
                </a:lnTo>
                <a:lnTo>
                  <a:pt x="210" y="309"/>
                </a:lnTo>
                <a:lnTo>
                  <a:pt x="211" y="309"/>
                </a:lnTo>
                <a:lnTo>
                  <a:pt x="212" y="308"/>
                </a:lnTo>
                <a:lnTo>
                  <a:pt x="215" y="307"/>
                </a:lnTo>
                <a:lnTo>
                  <a:pt x="217" y="306"/>
                </a:lnTo>
                <a:lnTo>
                  <a:pt x="218" y="306"/>
                </a:lnTo>
                <a:lnTo>
                  <a:pt x="219" y="305"/>
                </a:lnTo>
                <a:lnTo>
                  <a:pt x="221" y="305"/>
                </a:lnTo>
                <a:lnTo>
                  <a:pt x="224" y="305"/>
                </a:lnTo>
                <a:lnTo>
                  <a:pt x="226" y="304"/>
                </a:lnTo>
                <a:lnTo>
                  <a:pt x="227" y="304"/>
                </a:lnTo>
                <a:lnTo>
                  <a:pt x="228" y="305"/>
                </a:lnTo>
                <a:lnTo>
                  <a:pt x="229" y="305"/>
                </a:lnTo>
                <a:lnTo>
                  <a:pt x="230" y="305"/>
                </a:lnTo>
                <a:lnTo>
                  <a:pt x="231" y="306"/>
                </a:lnTo>
                <a:lnTo>
                  <a:pt x="232" y="307"/>
                </a:lnTo>
                <a:lnTo>
                  <a:pt x="233" y="307"/>
                </a:lnTo>
                <a:lnTo>
                  <a:pt x="234" y="308"/>
                </a:lnTo>
                <a:lnTo>
                  <a:pt x="234" y="309"/>
                </a:lnTo>
                <a:lnTo>
                  <a:pt x="235" y="310"/>
                </a:lnTo>
                <a:lnTo>
                  <a:pt x="235" y="312"/>
                </a:lnTo>
                <a:lnTo>
                  <a:pt x="235" y="313"/>
                </a:lnTo>
                <a:lnTo>
                  <a:pt x="235" y="313"/>
                </a:lnTo>
                <a:lnTo>
                  <a:pt x="235" y="314"/>
                </a:lnTo>
                <a:lnTo>
                  <a:pt x="235" y="317"/>
                </a:lnTo>
                <a:lnTo>
                  <a:pt x="234" y="320"/>
                </a:lnTo>
                <a:lnTo>
                  <a:pt x="233" y="326"/>
                </a:lnTo>
                <a:lnTo>
                  <a:pt x="233" y="329"/>
                </a:lnTo>
                <a:lnTo>
                  <a:pt x="233" y="331"/>
                </a:lnTo>
                <a:lnTo>
                  <a:pt x="233" y="332"/>
                </a:lnTo>
                <a:lnTo>
                  <a:pt x="233" y="333"/>
                </a:lnTo>
                <a:lnTo>
                  <a:pt x="233" y="335"/>
                </a:lnTo>
                <a:lnTo>
                  <a:pt x="234" y="336"/>
                </a:lnTo>
                <a:lnTo>
                  <a:pt x="235" y="338"/>
                </a:lnTo>
                <a:lnTo>
                  <a:pt x="236" y="340"/>
                </a:lnTo>
                <a:lnTo>
                  <a:pt x="237" y="341"/>
                </a:lnTo>
                <a:lnTo>
                  <a:pt x="238" y="342"/>
                </a:lnTo>
                <a:lnTo>
                  <a:pt x="239" y="343"/>
                </a:lnTo>
                <a:lnTo>
                  <a:pt x="240" y="343"/>
                </a:lnTo>
                <a:lnTo>
                  <a:pt x="240" y="344"/>
                </a:lnTo>
                <a:lnTo>
                  <a:pt x="241" y="344"/>
                </a:lnTo>
                <a:lnTo>
                  <a:pt x="241" y="343"/>
                </a:lnTo>
                <a:lnTo>
                  <a:pt x="242" y="343"/>
                </a:lnTo>
                <a:lnTo>
                  <a:pt x="242" y="343"/>
                </a:lnTo>
                <a:lnTo>
                  <a:pt x="243" y="343"/>
                </a:lnTo>
                <a:lnTo>
                  <a:pt x="244" y="341"/>
                </a:lnTo>
                <a:lnTo>
                  <a:pt x="245" y="338"/>
                </a:lnTo>
                <a:lnTo>
                  <a:pt x="246" y="337"/>
                </a:lnTo>
                <a:lnTo>
                  <a:pt x="247" y="337"/>
                </a:lnTo>
                <a:lnTo>
                  <a:pt x="250" y="333"/>
                </a:lnTo>
                <a:lnTo>
                  <a:pt x="251" y="333"/>
                </a:lnTo>
                <a:lnTo>
                  <a:pt x="251" y="332"/>
                </a:lnTo>
                <a:lnTo>
                  <a:pt x="252" y="331"/>
                </a:lnTo>
                <a:lnTo>
                  <a:pt x="253" y="329"/>
                </a:lnTo>
                <a:lnTo>
                  <a:pt x="253" y="328"/>
                </a:lnTo>
                <a:lnTo>
                  <a:pt x="254" y="327"/>
                </a:lnTo>
                <a:lnTo>
                  <a:pt x="254" y="327"/>
                </a:lnTo>
                <a:lnTo>
                  <a:pt x="255" y="326"/>
                </a:lnTo>
                <a:lnTo>
                  <a:pt x="256" y="326"/>
                </a:lnTo>
                <a:lnTo>
                  <a:pt x="258" y="324"/>
                </a:lnTo>
                <a:lnTo>
                  <a:pt x="259" y="324"/>
                </a:lnTo>
                <a:lnTo>
                  <a:pt x="260" y="323"/>
                </a:lnTo>
                <a:lnTo>
                  <a:pt x="261" y="323"/>
                </a:lnTo>
                <a:lnTo>
                  <a:pt x="261" y="322"/>
                </a:lnTo>
                <a:lnTo>
                  <a:pt x="262" y="322"/>
                </a:lnTo>
                <a:lnTo>
                  <a:pt x="262" y="322"/>
                </a:lnTo>
                <a:lnTo>
                  <a:pt x="263" y="323"/>
                </a:lnTo>
                <a:lnTo>
                  <a:pt x="264" y="323"/>
                </a:lnTo>
                <a:lnTo>
                  <a:pt x="265" y="323"/>
                </a:lnTo>
                <a:lnTo>
                  <a:pt x="265" y="323"/>
                </a:lnTo>
                <a:lnTo>
                  <a:pt x="266" y="323"/>
                </a:lnTo>
                <a:lnTo>
                  <a:pt x="267" y="323"/>
                </a:lnTo>
                <a:lnTo>
                  <a:pt x="268" y="322"/>
                </a:lnTo>
                <a:lnTo>
                  <a:pt x="268" y="321"/>
                </a:lnTo>
                <a:lnTo>
                  <a:pt x="270" y="320"/>
                </a:lnTo>
                <a:lnTo>
                  <a:pt x="271" y="319"/>
                </a:lnTo>
                <a:lnTo>
                  <a:pt x="271" y="318"/>
                </a:lnTo>
                <a:lnTo>
                  <a:pt x="271" y="318"/>
                </a:lnTo>
                <a:lnTo>
                  <a:pt x="272" y="317"/>
                </a:lnTo>
                <a:lnTo>
                  <a:pt x="272" y="316"/>
                </a:lnTo>
                <a:lnTo>
                  <a:pt x="272" y="314"/>
                </a:lnTo>
                <a:lnTo>
                  <a:pt x="272" y="313"/>
                </a:lnTo>
                <a:lnTo>
                  <a:pt x="271" y="312"/>
                </a:lnTo>
                <a:lnTo>
                  <a:pt x="269" y="302"/>
                </a:lnTo>
                <a:lnTo>
                  <a:pt x="269" y="300"/>
                </a:lnTo>
                <a:lnTo>
                  <a:pt x="269" y="299"/>
                </a:lnTo>
                <a:lnTo>
                  <a:pt x="269" y="298"/>
                </a:lnTo>
                <a:lnTo>
                  <a:pt x="269" y="297"/>
                </a:lnTo>
                <a:lnTo>
                  <a:pt x="270" y="297"/>
                </a:lnTo>
                <a:lnTo>
                  <a:pt x="270" y="296"/>
                </a:lnTo>
                <a:lnTo>
                  <a:pt x="271" y="296"/>
                </a:lnTo>
                <a:lnTo>
                  <a:pt x="272" y="296"/>
                </a:lnTo>
                <a:lnTo>
                  <a:pt x="273" y="296"/>
                </a:lnTo>
                <a:lnTo>
                  <a:pt x="275" y="296"/>
                </a:lnTo>
                <a:lnTo>
                  <a:pt x="276" y="296"/>
                </a:lnTo>
                <a:lnTo>
                  <a:pt x="276" y="297"/>
                </a:lnTo>
                <a:lnTo>
                  <a:pt x="276" y="297"/>
                </a:lnTo>
                <a:lnTo>
                  <a:pt x="277" y="298"/>
                </a:lnTo>
                <a:lnTo>
                  <a:pt x="277" y="299"/>
                </a:lnTo>
                <a:lnTo>
                  <a:pt x="279" y="302"/>
                </a:lnTo>
                <a:lnTo>
                  <a:pt x="281" y="306"/>
                </a:lnTo>
                <a:lnTo>
                  <a:pt x="282" y="308"/>
                </a:lnTo>
                <a:lnTo>
                  <a:pt x="283" y="310"/>
                </a:lnTo>
                <a:lnTo>
                  <a:pt x="283" y="312"/>
                </a:lnTo>
                <a:lnTo>
                  <a:pt x="283" y="314"/>
                </a:lnTo>
                <a:lnTo>
                  <a:pt x="283" y="317"/>
                </a:lnTo>
                <a:lnTo>
                  <a:pt x="283" y="318"/>
                </a:lnTo>
                <a:lnTo>
                  <a:pt x="284" y="320"/>
                </a:lnTo>
                <a:lnTo>
                  <a:pt x="284" y="321"/>
                </a:lnTo>
                <a:lnTo>
                  <a:pt x="285" y="324"/>
                </a:lnTo>
                <a:lnTo>
                  <a:pt x="286" y="325"/>
                </a:lnTo>
                <a:lnTo>
                  <a:pt x="288" y="329"/>
                </a:lnTo>
                <a:lnTo>
                  <a:pt x="288" y="330"/>
                </a:lnTo>
                <a:lnTo>
                  <a:pt x="289" y="331"/>
                </a:lnTo>
                <a:lnTo>
                  <a:pt x="290" y="332"/>
                </a:lnTo>
                <a:lnTo>
                  <a:pt x="290" y="333"/>
                </a:lnTo>
                <a:lnTo>
                  <a:pt x="290" y="334"/>
                </a:lnTo>
                <a:lnTo>
                  <a:pt x="290" y="335"/>
                </a:lnTo>
                <a:lnTo>
                  <a:pt x="291" y="337"/>
                </a:lnTo>
                <a:lnTo>
                  <a:pt x="291" y="339"/>
                </a:lnTo>
                <a:lnTo>
                  <a:pt x="291" y="340"/>
                </a:lnTo>
                <a:lnTo>
                  <a:pt x="292" y="341"/>
                </a:lnTo>
                <a:lnTo>
                  <a:pt x="292" y="342"/>
                </a:lnTo>
                <a:lnTo>
                  <a:pt x="293" y="343"/>
                </a:lnTo>
                <a:lnTo>
                  <a:pt x="297" y="347"/>
                </a:lnTo>
                <a:lnTo>
                  <a:pt x="298" y="348"/>
                </a:lnTo>
                <a:lnTo>
                  <a:pt x="299" y="350"/>
                </a:lnTo>
                <a:lnTo>
                  <a:pt x="300" y="352"/>
                </a:lnTo>
                <a:lnTo>
                  <a:pt x="301" y="354"/>
                </a:lnTo>
                <a:lnTo>
                  <a:pt x="302" y="355"/>
                </a:lnTo>
                <a:lnTo>
                  <a:pt x="303" y="356"/>
                </a:lnTo>
                <a:lnTo>
                  <a:pt x="304" y="357"/>
                </a:lnTo>
                <a:lnTo>
                  <a:pt x="306" y="358"/>
                </a:lnTo>
                <a:lnTo>
                  <a:pt x="306" y="358"/>
                </a:lnTo>
                <a:lnTo>
                  <a:pt x="309" y="359"/>
                </a:lnTo>
                <a:lnTo>
                  <a:pt x="310" y="360"/>
                </a:lnTo>
                <a:lnTo>
                  <a:pt x="311" y="361"/>
                </a:lnTo>
                <a:lnTo>
                  <a:pt x="313" y="362"/>
                </a:lnTo>
                <a:lnTo>
                  <a:pt x="315" y="364"/>
                </a:lnTo>
                <a:lnTo>
                  <a:pt x="316" y="365"/>
                </a:lnTo>
                <a:lnTo>
                  <a:pt x="318" y="366"/>
                </a:lnTo>
                <a:lnTo>
                  <a:pt x="319" y="367"/>
                </a:lnTo>
                <a:lnTo>
                  <a:pt x="325" y="370"/>
                </a:lnTo>
                <a:lnTo>
                  <a:pt x="328" y="371"/>
                </a:lnTo>
                <a:lnTo>
                  <a:pt x="329" y="371"/>
                </a:lnTo>
                <a:lnTo>
                  <a:pt x="330" y="371"/>
                </a:lnTo>
                <a:lnTo>
                  <a:pt x="335" y="372"/>
                </a:lnTo>
                <a:lnTo>
                  <a:pt x="336" y="372"/>
                </a:lnTo>
                <a:lnTo>
                  <a:pt x="337" y="372"/>
                </a:lnTo>
                <a:lnTo>
                  <a:pt x="338" y="372"/>
                </a:lnTo>
                <a:lnTo>
                  <a:pt x="339" y="372"/>
                </a:lnTo>
                <a:lnTo>
                  <a:pt x="340" y="372"/>
                </a:lnTo>
                <a:lnTo>
                  <a:pt x="343" y="370"/>
                </a:lnTo>
                <a:lnTo>
                  <a:pt x="346" y="369"/>
                </a:lnTo>
                <a:lnTo>
                  <a:pt x="348" y="368"/>
                </a:lnTo>
                <a:lnTo>
                  <a:pt x="350" y="368"/>
                </a:lnTo>
                <a:lnTo>
                  <a:pt x="357" y="365"/>
                </a:lnTo>
                <a:lnTo>
                  <a:pt x="359" y="365"/>
                </a:lnTo>
                <a:lnTo>
                  <a:pt x="363" y="364"/>
                </a:lnTo>
                <a:lnTo>
                  <a:pt x="364" y="364"/>
                </a:lnTo>
                <a:lnTo>
                  <a:pt x="364" y="364"/>
                </a:lnTo>
                <a:lnTo>
                  <a:pt x="365" y="364"/>
                </a:lnTo>
                <a:lnTo>
                  <a:pt x="366" y="364"/>
                </a:lnTo>
                <a:lnTo>
                  <a:pt x="367" y="364"/>
                </a:lnTo>
                <a:lnTo>
                  <a:pt x="367" y="365"/>
                </a:lnTo>
                <a:lnTo>
                  <a:pt x="368" y="365"/>
                </a:lnTo>
                <a:lnTo>
                  <a:pt x="369" y="365"/>
                </a:lnTo>
                <a:lnTo>
                  <a:pt x="370" y="366"/>
                </a:lnTo>
                <a:lnTo>
                  <a:pt x="371" y="368"/>
                </a:lnTo>
                <a:lnTo>
                  <a:pt x="371" y="369"/>
                </a:lnTo>
                <a:lnTo>
                  <a:pt x="372" y="370"/>
                </a:lnTo>
                <a:lnTo>
                  <a:pt x="373" y="372"/>
                </a:lnTo>
                <a:lnTo>
                  <a:pt x="373" y="374"/>
                </a:lnTo>
                <a:lnTo>
                  <a:pt x="374" y="377"/>
                </a:lnTo>
                <a:lnTo>
                  <a:pt x="374" y="379"/>
                </a:lnTo>
                <a:lnTo>
                  <a:pt x="374" y="380"/>
                </a:lnTo>
                <a:lnTo>
                  <a:pt x="375" y="382"/>
                </a:lnTo>
                <a:lnTo>
                  <a:pt x="374" y="384"/>
                </a:lnTo>
                <a:lnTo>
                  <a:pt x="374" y="385"/>
                </a:lnTo>
                <a:lnTo>
                  <a:pt x="374" y="387"/>
                </a:lnTo>
                <a:lnTo>
                  <a:pt x="374" y="388"/>
                </a:lnTo>
                <a:lnTo>
                  <a:pt x="372" y="394"/>
                </a:lnTo>
                <a:lnTo>
                  <a:pt x="372" y="397"/>
                </a:lnTo>
                <a:lnTo>
                  <a:pt x="372" y="398"/>
                </a:lnTo>
                <a:lnTo>
                  <a:pt x="372" y="400"/>
                </a:lnTo>
                <a:lnTo>
                  <a:pt x="371" y="401"/>
                </a:lnTo>
                <a:lnTo>
                  <a:pt x="371" y="403"/>
                </a:lnTo>
                <a:lnTo>
                  <a:pt x="372" y="405"/>
                </a:lnTo>
                <a:lnTo>
                  <a:pt x="372" y="407"/>
                </a:lnTo>
                <a:lnTo>
                  <a:pt x="372" y="409"/>
                </a:lnTo>
                <a:lnTo>
                  <a:pt x="373" y="411"/>
                </a:lnTo>
                <a:lnTo>
                  <a:pt x="373" y="413"/>
                </a:lnTo>
                <a:lnTo>
                  <a:pt x="374" y="415"/>
                </a:lnTo>
                <a:lnTo>
                  <a:pt x="375" y="416"/>
                </a:lnTo>
                <a:lnTo>
                  <a:pt x="376" y="417"/>
                </a:lnTo>
                <a:lnTo>
                  <a:pt x="376" y="418"/>
                </a:lnTo>
                <a:lnTo>
                  <a:pt x="377" y="419"/>
                </a:lnTo>
                <a:lnTo>
                  <a:pt x="379" y="420"/>
                </a:lnTo>
                <a:lnTo>
                  <a:pt x="380" y="421"/>
                </a:lnTo>
                <a:lnTo>
                  <a:pt x="382" y="422"/>
                </a:lnTo>
                <a:lnTo>
                  <a:pt x="383" y="423"/>
                </a:lnTo>
                <a:lnTo>
                  <a:pt x="385" y="424"/>
                </a:lnTo>
                <a:lnTo>
                  <a:pt x="386" y="424"/>
                </a:lnTo>
                <a:lnTo>
                  <a:pt x="387" y="424"/>
                </a:lnTo>
                <a:lnTo>
                  <a:pt x="388" y="424"/>
                </a:lnTo>
                <a:lnTo>
                  <a:pt x="389" y="424"/>
                </a:lnTo>
                <a:lnTo>
                  <a:pt x="390" y="424"/>
                </a:lnTo>
                <a:lnTo>
                  <a:pt x="391" y="424"/>
                </a:lnTo>
                <a:lnTo>
                  <a:pt x="391" y="423"/>
                </a:lnTo>
                <a:lnTo>
                  <a:pt x="393" y="422"/>
                </a:lnTo>
                <a:lnTo>
                  <a:pt x="394" y="422"/>
                </a:lnTo>
                <a:lnTo>
                  <a:pt x="394" y="421"/>
                </a:lnTo>
                <a:lnTo>
                  <a:pt x="395" y="421"/>
                </a:lnTo>
                <a:lnTo>
                  <a:pt x="396" y="421"/>
                </a:lnTo>
                <a:lnTo>
                  <a:pt x="396" y="421"/>
                </a:lnTo>
                <a:lnTo>
                  <a:pt x="397" y="421"/>
                </a:lnTo>
                <a:lnTo>
                  <a:pt x="397" y="422"/>
                </a:lnTo>
                <a:lnTo>
                  <a:pt x="398" y="422"/>
                </a:lnTo>
                <a:lnTo>
                  <a:pt x="400" y="423"/>
                </a:lnTo>
                <a:lnTo>
                  <a:pt x="401" y="424"/>
                </a:lnTo>
                <a:lnTo>
                  <a:pt x="402" y="426"/>
                </a:lnTo>
                <a:lnTo>
                  <a:pt x="404" y="428"/>
                </a:lnTo>
                <a:lnTo>
                  <a:pt x="405" y="430"/>
                </a:lnTo>
                <a:lnTo>
                  <a:pt x="406" y="431"/>
                </a:lnTo>
                <a:lnTo>
                  <a:pt x="407" y="433"/>
                </a:lnTo>
                <a:lnTo>
                  <a:pt x="409" y="437"/>
                </a:lnTo>
                <a:lnTo>
                  <a:pt x="410" y="438"/>
                </a:lnTo>
                <a:lnTo>
                  <a:pt x="411" y="441"/>
                </a:lnTo>
                <a:lnTo>
                  <a:pt x="412" y="442"/>
                </a:lnTo>
                <a:lnTo>
                  <a:pt x="413" y="443"/>
                </a:lnTo>
                <a:lnTo>
                  <a:pt x="414" y="444"/>
                </a:lnTo>
                <a:lnTo>
                  <a:pt x="415" y="444"/>
                </a:lnTo>
                <a:lnTo>
                  <a:pt x="425" y="452"/>
                </a:lnTo>
                <a:lnTo>
                  <a:pt x="427" y="454"/>
                </a:lnTo>
                <a:lnTo>
                  <a:pt x="429" y="455"/>
                </a:lnTo>
                <a:lnTo>
                  <a:pt x="434" y="460"/>
                </a:lnTo>
                <a:lnTo>
                  <a:pt x="437" y="463"/>
                </a:lnTo>
                <a:lnTo>
                  <a:pt x="438" y="465"/>
                </a:lnTo>
                <a:lnTo>
                  <a:pt x="441" y="468"/>
                </a:lnTo>
                <a:lnTo>
                  <a:pt x="443" y="471"/>
                </a:lnTo>
                <a:lnTo>
                  <a:pt x="445" y="474"/>
                </a:lnTo>
                <a:lnTo>
                  <a:pt x="447" y="478"/>
                </a:lnTo>
                <a:lnTo>
                  <a:pt x="448" y="479"/>
                </a:lnTo>
                <a:lnTo>
                  <a:pt x="448" y="481"/>
                </a:lnTo>
                <a:lnTo>
                  <a:pt x="448" y="482"/>
                </a:lnTo>
                <a:lnTo>
                  <a:pt x="448" y="482"/>
                </a:lnTo>
                <a:lnTo>
                  <a:pt x="448" y="483"/>
                </a:lnTo>
                <a:lnTo>
                  <a:pt x="448" y="484"/>
                </a:lnTo>
                <a:lnTo>
                  <a:pt x="448" y="485"/>
                </a:lnTo>
                <a:lnTo>
                  <a:pt x="447" y="487"/>
                </a:lnTo>
                <a:lnTo>
                  <a:pt x="446" y="488"/>
                </a:lnTo>
                <a:lnTo>
                  <a:pt x="446" y="490"/>
                </a:lnTo>
                <a:lnTo>
                  <a:pt x="446" y="491"/>
                </a:lnTo>
                <a:lnTo>
                  <a:pt x="446" y="491"/>
                </a:lnTo>
                <a:lnTo>
                  <a:pt x="446" y="492"/>
                </a:lnTo>
                <a:lnTo>
                  <a:pt x="446" y="494"/>
                </a:lnTo>
                <a:lnTo>
                  <a:pt x="447" y="495"/>
                </a:lnTo>
                <a:lnTo>
                  <a:pt x="447" y="496"/>
                </a:lnTo>
                <a:lnTo>
                  <a:pt x="448" y="497"/>
                </a:lnTo>
                <a:lnTo>
                  <a:pt x="449" y="497"/>
                </a:lnTo>
                <a:lnTo>
                  <a:pt x="449" y="498"/>
                </a:lnTo>
                <a:lnTo>
                  <a:pt x="450" y="498"/>
                </a:lnTo>
                <a:lnTo>
                  <a:pt x="451" y="498"/>
                </a:lnTo>
                <a:lnTo>
                  <a:pt x="451" y="497"/>
                </a:lnTo>
                <a:lnTo>
                  <a:pt x="452" y="497"/>
                </a:lnTo>
                <a:lnTo>
                  <a:pt x="455" y="494"/>
                </a:lnTo>
                <a:lnTo>
                  <a:pt x="457" y="493"/>
                </a:lnTo>
                <a:lnTo>
                  <a:pt x="458" y="492"/>
                </a:lnTo>
                <a:lnTo>
                  <a:pt x="459" y="491"/>
                </a:lnTo>
                <a:lnTo>
                  <a:pt x="460" y="491"/>
                </a:lnTo>
                <a:lnTo>
                  <a:pt x="462" y="491"/>
                </a:lnTo>
                <a:lnTo>
                  <a:pt x="463" y="491"/>
                </a:lnTo>
                <a:lnTo>
                  <a:pt x="464" y="491"/>
                </a:lnTo>
                <a:lnTo>
                  <a:pt x="464" y="491"/>
                </a:lnTo>
                <a:lnTo>
                  <a:pt x="465" y="491"/>
                </a:lnTo>
                <a:lnTo>
                  <a:pt x="465" y="491"/>
                </a:lnTo>
                <a:lnTo>
                  <a:pt x="466" y="491"/>
                </a:lnTo>
                <a:lnTo>
                  <a:pt x="466" y="492"/>
                </a:lnTo>
                <a:lnTo>
                  <a:pt x="468" y="493"/>
                </a:lnTo>
                <a:lnTo>
                  <a:pt x="469" y="495"/>
                </a:lnTo>
                <a:lnTo>
                  <a:pt x="470" y="497"/>
                </a:lnTo>
                <a:lnTo>
                  <a:pt x="472" y="502"/>
                </a:lnTo>
                <a:lnTo>
                  <a:pt x="473" y="505"/>
                </a:lnTo>
                <a:lnTo>
                  <a:pt x="474" y="506"/>
                </a:lnTo>
                <a:lnTo>
                  <a:pt x="474" y="506"/>
                </a:lnTo>
                <a:lnTo>
                  <a:pt x="474" y="507"/>
                </a:lnTo>
                <a:lnTo>
                  <a:pt x="474" y="508"/>
                </a:lnTo>
                <a:lnTo>
                  <a:pt x="473" y="509"/>
                </a:lnTo>
                <a:lnTo>
                  <a:pt x="473" y="510"/>
                </a:lnTo>
                <a:lnTo>
                  <a:pt x="472" y="511"/>
                </a:lnTo>
                <a:lnTo>
                  <a:pt x="471" y="513"/>
                </a:lnTo>
                <a:lnTo>
                  <a:pt x="470" y="516"/>
                </a:lnTo>
                <a:lnTo>
                  <a:pt x="468" y="518"/>
                </a:lnTo>
                <a:lnTo>
                  <a:pt x="467" y="519"/>
                </a:lnTo>
                <a:lnTo>
                  <a:pt x="467" y="519"/>
                </a:lnTo>
                <a:lnTo>
                  <a:pt x="466" y="520"/>
                </a:lnTo>
                <a:lnTo>
                  <a:pt x="465" y="521"/>
                </a:lnTo>
                <a:lnTo>
                  <a:pt x="464" y="521"/>
                </a:lnTo>
                <a:lnTo>
                  <a:pt x="463" y="522"/>
                </a:lnTo>
                <a:lnTo>
                  <a:pt x="462" y="522"/>
                </a:lnTo>
                <a:lnTo>
                  <a:pt x="462" y="522"/>
                </a:lnTo>
                <a:lnTo>
                  <a:pt x="461" y="522"/>
                </a:lnTo>
                <a:lnTo>
                  <a:pt x="460" y="522"/>
                </a:lnTo>
                <a:lnTo>
                  <a:pt x="459" y="522"/>
                </a:lnTo>
                <a:lnTo>
                  <a:pt x="458" y="522"/>
                </a:lnTo>
                <a:lnTo>
                  <a:pt x="456" y="522"/>
                </a:lnTo>
                <a:lnTo>
                  <a:pt x="454" y="521"/>
                </a:lnTo>
                <a:lnTo>
                  <a:pt x="450" y="520"/>
                </a:lnTo>
                <a:lnTo>
                  <a:pt x="448" y="520"/>
                </a:lnTo>
                <a:lnTo>
                  <a:pt x="446" y="520"/>
                </a:lnTo>
                <a:lnTo>
                  <a:pt x="445" y="520"/>
                </a:lnTo>
                <a:lnTo>
                  <a:pt x="445" y="520"/>
                </a:lnTo>
                <a:lnTo>
                  <a:pt x="444" y="520"/>
                </a:lnTo>
                <a:lnTo>
                  <a:pt x="443" y="521"/>
                </a:lnTo>
                <a:lnTo>
                  <a:pt x="442" y="522"/>
                </a:lnTo>
                <a:lnTo>
                  <a:pt x="441" y="525"/>
                </a:lnTo>
                <a:lnTo>
                  <a:pt x="440" y="526"/>
                </a:lnTo>
                <a:lnTo>
                  <a:pt x="439" y="527"/>
                </a:lnTo>
                <a:lnTo>
                  <a:pt x="439" y="528"/>
                </a:lnTo>
                <a:lnTo>
                  <a:pt x="438" y="529"/>
                </a:lnTo>
                <a:lnTo>
                  <a:pt x="437" y="530"/>
                </a:lnTo>
                <a:lnTo>
                  <a:pt x="436" y="531"/>
                </a:lnTo>
                <a:lnTo>
                  <a:pt x="433" y="533"/>
                </a:lnTo>
                <a:lnTo>
                  <a:pt x="431" y="534"/>
                </a:lnTo>
                <a:lnTo>
                  <a:pt x="430" y="535"/>
                </a:lnTo>
                <a:lnTo>
                  <a:pt x="428" y="538"/>
                </a:lnTo>
                <a:lnTo>
                  <a:pt x="425" y="540"/>
                </a:lnTo>
                <a:lnTo>
                  <a:pt x="425" y="541"/>
                </a:lnTo>
                <a:lnTo>
                  <a:pt x="424" y="542"/>
                </a:lnTo>
                <a:lnTo>
                  <a:pt x="424" y="543"/>
                </a:lnTo>
                <a:lnTo>
                  <a:pt x="423" y="544"/>
                </a:lnTo>
                <a:lnTo>
                  <a:pt x="423" y="545"/>
                </a:lnTo>
                <a:lnTo>
                  <a:pt x="423" y="549"/>
                </a:lnTo>
                <a:lnTo>
                  <a:pt x="423" y="551"/>
                </a:lnTo>
                <a:lnTo>
                  <a:pt x="423" y="552"/>
                </a:lnTo>
                <a:lnTo>
                  <a:pt x="422" y="555"/>
                </a:lnTo>
                <a:lnTo>
                  <a:pt x="421" y="557"/>
                </a:lnTo>
                <a:lnTo>
                  <a:pt x="419" y="561"/>
                </a:lnTo>
                <a:lnTo>
                  <a:pt x="418" y="565"/>
                </a:lnTo>
                <a:lnTo>
                  <a:pt x="416" y="569"/>
                </a:lnTo>
                <a:lnTo>
                  <a:pt x="416" y="570"/>
                </a:lnTo>
                <a:lnTo>
                  <a:pt x="415" y="570"/>
                </a:lnTo>
                <a:lnTo>
                  <a:pt x="414" y="571"/>
                </a:lnTo>
                <a:lnTo>
                  <a:pt x="413" y="572"/>
                </a:lnTo>
                <a:lnTo>
                  <a:pt x="413" y="572"/>
                </a:lnTo>
                <a:lnTo>
                  <a:pt x="413" y="573"/>
                </a:lnTo>
                <a:lnTo>
                  <a:pt x="411" y="573"/>
                </a:lnTo>
                <a:lnTo>
                  <a:pt x="407" y="574"/>
                </a:lnTo>
                <a:lnTo>
                  <a:pt x="404" y="575"/>
                </a:lnTo>
                <a:lnTo>
                  <a:pt x="402" y="575"/>
                </a:lnTo>
                <a:lnTo>
                  <a:pt x="401" y="575"/>
                </a:lnTo>
                <a:lnTo>
                  <a:pt x="399" y="575"/>
                </a:lnTo>
                <a:lnTo>
                  <a:pt x="397" y="574"/>
                </a:lnTo>
                <a:lnTo>
                  <a:pt x="396" y="574"/>
                </a:lnTo>
                <a:lnTo>
                  <a:pt x="394" y="573"/>
                </a:lnTo>
                <a:lnTo>
                  <a:pt x="393" y="573"/>
                </a:lnTo>
                <a:lnTo>
                  <a:pt x="392" y="572"/>
                </a:lnTo>
                <a:lnTo>
                  <a:pt x="391" y="571"/>
                </a:lnTo>
                <a:lnTo>
                  <a:pt x="390" y="570"/>
                </a:lnTo>
                <a:lnTo>
                  <a:pt x="387" y="568"/>
                </a:lnTo>
                <a:lnTo>
                  <a:pt x="386" y="566"/>
                </a:lnTo>
                <a:lnTo>
                  <a:pt x="384" y="565"/>
                </a:lnTo>
                <a:lnTo>
                  <a:pt x="382" y="564"/>
                </a:lnTo>
                <a:lnTo>
                  <a:pt x="381" y="563"/>
                </a:lnTo>
                <a:lnTo>
                  <a:pt x="380" y="563"/>
                </a:lnTo>
                <a:lnTo>
                  <a:pt x="379" y="562"/>
                </a:lnTo>
                <a:lnTo>
                  <a:pt x="378" y="562"/>
                </a:lnTo>
                <a:lnTo>
                  <a:pt x="376" y="562"/>
                </a:lnTo>
                <a:lnTo>
                  <a:pt x="375" y="562"/>
                </a:lnTo>
                <a:lnTo>
                  <a:pt x="374" y="563"/>
                </a:lnTo>
                <a:lnTo>
                  <a:pt x="374" y="563"/>
                </a:lnTo>
                <a:lnTo>
                  <a:pt x="373" y="564"/>
                </a:lnTo>
                <a:lnTo>
                  <a:pt x="372" y="565"/>
                </a:lnTo>
                <a:lnTo>
                  <a:pt x="370" y="568"/>
                </a:lnTo>
                <a:lnTo>
                  <a:pt x="369" y="569"/>
                </a:lnTo>
                <a:lnTo>
                  <a:pt x="369" y="569"/>
                </a:lnTo>
                <a:lnTo>
                  <a:pt x="368" y="570"/>
                </a:lnTo>
                <a:lnTo>
                  <a:pt x="368" y="570"/>
                </a:lnTo>
                <a:lnTo>
                  <a:pt x="367" y="571"/>
                </a:lnTo>
                <a:lnTo>
                  <a:pt x="367" y="571"/>
                </a:lnTo>
                <a:lnTo>
                  <a:pt x="366" y="571"/>
                </a:lnTo>
                <a:lnTo>
                  <a:pt x="365" y="571"/>
                </a:lnTo>
                <a:lnTo>
                  <a:pt x="364" y="570"/>
                </a:lnTo>
                <a:lnTo>
                  <a:pt x="361" y="570"/>
                </a:lnTo>
                <a:lnTo>
                  <a:pt x="360" y="570"/>
                </a:lnTo>
                <a:lnTo>
                  <a:pt x="359" y="570"/>
                </a:lnTo>
                <a:lnTo>
                  <a:pt x="358" y="570"/>
                </a:lnTo>
                <a:lnTo>
                  <a:pt x="357" y="570"/>
                </a:lnTo>
                <a:lnTo>
                  <a:pt x="356" y="570"/>
                </a:lnTo>
                <a:lnTo>
                  <a:pt x="356" y="570"/>
                </a:lnTo>
                <a:lnTo>
                  <a:pt x="355" y="571"/>
                </a:lnTo>
                <a:lnTo>
                  <a:pt x="355" y="571"/>
                </a:lnTo>
                <a:lnTo>
                  <a:pt x="354" y="571"/>
                </a:lnTo>
                <a:lnTo>
                  <a:pt x="354" y="572"/>
                </a:lnTo>
                <a:lnTo>
                  <a:pt x="354" y="572"/>
                </a:lnTo>
                <a:lnTo>
                  <a:pt x="354" y="573"/>
                </a:lnTo>
                <a:lnTo>
                  <a:pt x="354" y="573"/>
                </a:lnTo>
                <a:lnTo>
                  <a:pt x="354" y="574"/>
                </a:lnTo>
                <a:lnTo>
                  <a:pt x="354" y="575"/>
                </a:lnTo>
                <a:lnTo>
                  <a:pt x="355" y="576"/>
                </a:lnTo>
                <a:lnTo>
                  <a:pt x="358" y="582"/>
                </a:lnTo>
                <a:lnTo>
                  <a:pt x="359" y="585"/>
                </a:lnTo>
                <a:lnTo>
                  <a:pt x="359" y="586"/>
                </a:lnTo>
                <a:lnTo>
                  <a:pt x="359" y="587"/>
                </a:lnTo>
                <a:lnTo>
                  <a:pt x="360" y="589"/>
                </a:lnTo>
                <a:lnTo>
                  <a:pt x="360" y="590"/>
                </a:lnTo>
                <a:lnTo>
                  <a:pt x="359" y="591"/>
                </a:lnTo>
                <a:lnTo>
                  <a:pt x="359" y="592"/>
                </a:lnTo>
                <a:lnTo>
                  <a:pt x="359" y="593"/>
                </a:lnTo>
                <a:lnTo>
                  <a:pt x="358" y="594"/>
                </a:lnTo>
                <a:lnTo>
                  <a:pt x="358" y="596"/>
                </a:lnTo>
                <a:lnTo>
                  <a:pt x="357" y="597"/>
                </a:lnTo>
                <a:lnTo>
                  <a:pt x="355" y="598"/>
                </a:lnTo>
                <a:lnTo>
                  <a:pt x="355" y="599"/>
                </a:lnTo>
                <a:lnTo>
                  <a:pt x="354" y="600"/>
                </a:lnTo>
                <a:lnTo>
                  <a:pt x="353" y="600"/>
                </a:lnTo>
                <a:lnTo>
                  <a:pt x="352" y="601"/>
                </a:lnTo>
                <a:lnTo>
                  <a:pt x="351" y="601"/>
                </a:lnTo>
                <a:lnTo>
                  <a:pt x="349" y="602"/>
                </a:lnTo>
                <a:lnTo>
                  <a:pt x="348" y="602"/>
                </a:lnTo>
                <a:lnTo>
                  <a:pt x="347" y="602"/>
                </a:lnTo>
                <a:lnTo>
                  <a:pt x="345" y="602"/>
                </a:lnTo>
                <a:lnTo>
                  <a:pt x="344" y="602"/>
                </a:lnTo>
                <a:lnTo>
                  <a:pt x="343" y="602"/>
                </a:lnTo>
                <a:lnTo>
                  <a:pt x="341" y="602"/>
                </a:lnTo>
                <a:lnTo>
                  <a:pt x="340" y="601"/>
                </a:lnTo>
                <a:lnTo>
                  <a:pt x="339" y="601"/>
                </a:lnTo>
                <a:lnTo>
                  <a:pt x="336" y="600"/>
                </a:lnTo>
                <a:lnTo>
                  <a:pt x="335" y="600"/>
                </a:lnTo>
                <a:lnTo>
                  <a:pt x="334" y="599"/>
                </a:lnTo>
                <a:lnTo>
                  <a:pt x="333" y="599"/>
                </a:lnTo>
                <a:lnTo>
                  <a:pt x="331" y="599"/>
                </a:lnTo>
                <a:lnTo>
                  <a:pt x="329" y="599"/>
                </a:lnTo>
                <a:lnTo>
                  <a:pt x="327" y="599"/>
                </a:lnTo>
                <a:lnTo>
                  <a:pt x="325" y="599"/>
                </a:lnTo>
                <a:lnTo>
                  <a:pt x="321" y="599"/>
                </a:lnTo>
                <a:lnTo>
                  <a:pt x="319" y="600"/>
                </a:lnTo>
                <a:lnTo>
                  <a:pt x="318" y="600"/>
                </a:lnTo>
                <a:lnTo>
                  <a:pt x="315" y="601"/>
                </a:lnTo>
                <a:lnTo>
                  <a:pt x="312" y="602"/>
                </a:lnTo>
                <a:lnTo>
                  <a:pt x="309" y="603"/>
                </a:lnTo>
                <a:lnTo>
                  <a:pt x="307" y="603"/>
                </a:lnTo>
                <a:lnTo>
                  <a:pt x="306" y="603"/>
                </a:lnTo>
                <a:lnTo>
                  <a:pt x="306" y="604"/>
                </a:lnTo>
                <a:lnTo>
                  <a:pt x="305" y="604"/>
                </a:lnTo>
                <a:lnTo>
                  <a:pt x="305" y="605"/>
                </a:lnTo>
                <a:lnTo>
                  <a:pt x="305" y="605"/>
                </a:lnTo>
                <a:lnTo>
                  <a:pt x="305" y="607"/>
                </a:lnTo>
                <a:lnTo>
                  <a:pt x="305" y="608"/>
                </a:lnTo>
                <a:lnTo>
                  <a:pt x="304" y="611"/>
                </a:lnTo>
                <a:lnTo>
                  <a:pt x="304" y="613"/>
                </a:lnTo>
                <a:lnTo>
                  <a:pt x="303" y="614"/>
                </a:lnTo>
                <a:lnTo>
                  <a:pt x="303" y="615"/>
                </a:lnTo>
                <a:lnTo>
                  <a:pt x="302" y="617"/>
                </a:lnTo>
                <a:lnTo>
                  <a:pt x="301" y="618"/>
                </a:lnTo>
                <a:lnTo>
                  <a:pt x="300" y="620"/>
                </a:lnTo>
                <a:lnTo>
                  <a:pt x="299" y="621"/>
                </a:lnTo>
                <a:lnTo>
                  <a:pt x="298" y="623"/>
                </a:lnTo>
                <a:lnTo>
                  <a:pt x="297" y="624"/>
                </a:lnTo>
                <a:lnTo>
                  <a:pt x="296" y="625"/>
                </a:lnTo>
                <a:lnTo>
                  <a:pt x="295" y="626"/>
                </a:lnTo>
                <a:lnTo>
                  <a:pt x="293" y="627"/>
                </a:lnTo>
                <a:lnTo>
                  <a:pt x="292" y="627"/>
                </a:lnTo>
                <a:lnTo>
                  <a:pt x="291" y="628"/>
                </a:lnTo>
                <a:lnTo>
                  <a:pt x="290" y="628"/>
                </a:lnTo>
                <a:lnTo>
                  <a:pt x="290" y="628"/>
                </a:lnTo>
                <a:lnTo>
                  <a:pt x="289" y="627"/>
                </a:lnTo>
                <a:lnTo>
                  <a:pt x="287" y="626"/>
                </a:lnTo>
                <a:lnTo>
                  <a:pt x="283" y="623"/>
                </a:lnTo>
                <a:lnTo>
                  <a:pt x="281" y="622"/>
                </a:lnTo>
                <a:lnTo>
                  <a:pt x="280" y="621"/>
                </a:lnTo>
                <a:lnTo>
                  <a:pt x="278" y="620"/>
                </a:lnTo>
                <a:lnTo>
                  <a:pt x="277" y="620"/>
                </a:lnTo>
                <a:lnTo>
                  <a:pt x="276" y="619"/>
                </a:lnTo>
                <a:lnTo>
                  <a:pt x="275" y="619"/>
                </a:lnTo>
                <a:lnTo>
                  <a:pt x="273" y="619"/>
                </a:lnTo>
                <a:lnTo>
                  <a:pt x="272" y="618"/>
                </a:lnTo>
                <a:lnTo>
                  <a:pt x="269" y="618"/>
                </a:lnTo>
                <a:lnTo>
                  <a:pt x="266" y="618"/>
                </a:lnTo>
                <a:lnTo>
                  <a:pt x="264" y="617"/>
                </a:lnTo>
                <a:lnTo>
                  <a:pt x="261" y="616"/>
                </a:lnTo>
                <a:lnTo>
                  <a:pt x="258" y="615"/>
                </a:lnTo>
                <a:lnTo>
                  <a:pt x="257" y="615"/>
                </a:lnTo>
                <a:lnTo>
                  <a:pt x="255" y="615"/>
                </a:lnTo>
                <a:lnTo>
                  <a:pt x="252" y="615"/>
                </a:lnTo>
                <a:lnTo>
                  <a:pt x="250" y="614"/>
                </a:lnTo>
                <a:lnTo>
                  <a:pt x="250" y="614"/>
                </a:lnTo>
                <a:lnTo>
                  <a:pt x="249" y="614"/>
                </a:lnTo>
                <a:lnTo>
                  <a:pt x="249" y="613"/>
                </a:lnTo>
                <a:lnTo>
                  <a:pt x="248" y="612"/>
                </a:lnTo>
                <a:lnTo>
                  <a:pt x="248" y="611"/>
                </a:lnTo>
                <a:lnTo>
                  <a:pt x="247" y="610"/>
                </a:lnTo>
                <a:lnTo>
                  <a:pt x="247" y="609"/>
                </a:lnTo>
                <a:lnTo>
                  <a:pt x="246" y="605"/>
                </a:lnTo>
                <a:lnTo>
                  <a:pt x="246" y="604"/>
                </a:lnTo>
                <a:lnTo>
                  <a:pt x="246" y="603"/>
                </a:lnTo>
                <a:lnTo>
                  <a:pt x="246" y="602"/>
                </a:lnTo>
                <a:lnTo>
                  <a:pt x="245" y="601"/>
                </a:lnTo>
                <a:lnTo>
                  <a:pt x="244" y="600"/>
                </a:lnTo>
                <a:lnTo>
                  <a:pt x="244" y="600"/>
                </a:lnTo>
                <a:lnTo>
                  <a:pt x="243" y="599"/>
                </a:lnTo>
                <a:lnTo>
                  <a:pt x="242" y="599"/>
                </a:lnTo>
                <a:lnTo>
                  <a:pt x="242" y="599"/>
                </a:lnTo>
                <a:lnTo>
                  <a:pt x="241" y="599"/>
                </a:lnTo>
                <a:lnTo>
                  <a:pt x="240" y="600"/>
                </a:lnTo>
                <a:lnTo>
                  <a:pt x="239" y="600"/>
                </a:lnTo>
                <a:lnTo>
                  <a:pt x="238" y="600"/>
                </a:lnTo>
                <a:lnTo>
                  <a:pt x="238" y="601"/>
                </a:lnTo>
                <a:lnTo>
                  <a:pt x="237" y="602"/>
                </a:lnTo>
                <a:lnTo>
                  <a:pt x="237" y="602"/>
                </a:lnTo>
                <a:lnTo>
                  <a:pt x="235" y="604"/>
                </a:lnTo>
                <a:lnTo>
                  <a:pt x="232" y="609"/>
                </a:lnTo>
                <a:lnTo>
                  <a:pt x="231" y="611"/>
                </a:lnTo>
                <a:lnTo>
                  <a:pt x="230" y="613"/>
                </a:lnTo>
                <a:lnTo>
                  <a:pt x="230" y="614"/>
                </a:lnTo>
                <a:lnTo>
                  <a:pt x="230" y="616"/>
                </a:lnTo>
                <a:lnTo>
                  <a:pt x="230" y="618"/>
                </a:lnTo>
                <a:lnTo>
                  <a:pt x="230" y="620"/>
                </a:lnTo>
                <a:lnTo>
                  <a:pt x="230" y="621"/>
                </a:lnTo>
                <a:lnTo>
                  <a:pt x="231" y="624"/>
                </a:lnTo>
                <a:lnTo>
                  <a:pt x="231" y="625"/>
                </a:lnTo>
                <a:lnTo>
                  <a:pt x="232" y="627"/>
                </a:lnTo>
                <a:lnTo>
                  <a:pt x="233" y="631"/>
                </a:lnTo>
                <a:lnTo>
                  <a:pt x="235" y="634"/>
                </a:lnTo>
                <a:lnTo>
                  <a:pt x="235" y="635"/>
                </a:lnTo>
                <a:lnTo>
                  <a:pt x="236" y="636"/>
                </a:lnTo>
                <a:lnTo>
                  <a:pt x="236" y="637"/>
                </a:lnTo>
                <a:lnTo>
                  <a:pt x="236" y="638"/>
                </a:lnTo>
                <a:lnTo>
                  <a:pt x="236" y="640"/>
                </a:lnTo>
                <a:lnTo>
                  <a:pt x="236" y="641"/>
                </a:lnTo>
                <a:lnTo>
                  <a:pt x="235" y="641"/>
                </a:lnTo>
                <a:lnTo>
                  <a:pt x="235" y="642"/>
                </a:lnTo>
                <a:lnTo>
                  <a:pt x="234" y="643"/>
                </a:lnTo>
                <a:lnTo>
                  <a:pt x="233" y="644"/>
                </a:lnTo>
                <a:lnTo>
                  <a:pt x="230" y="647"/>
                </a:lnTo>
                <a:lnTo>
                  <a:pt x="227" y="649"/>
                </a:lnTo>
                <a:lnTo>
                  <a:pt x="226" y="651"/>
                </a:lnTo>
                <a:lnTo>
                  <a:pt x="225" y="652"/>
                </a:lnTo>
                <a:lnTo>
                  <a:pt x="224" y="653"/>
                </a:lnTo>
                <a:lnTo>
                  <a:pt x="222" y="654"/>
                </a:lnTo>
                <a:lnTo>
                  <a:pt x="220" y="659"/>
                </a:lnTo>
                <a:lnTo>
                  <a:pt x="217" y="662"/>
                </a:lnTo>
                <a:lnTo>
                  <a:pt x="215" y="665"/>
                </a:lnTo>
                <a:lnTo>
                  <a:pt x="213" y="668"/>
                </a:lnTo>
                <a:lnTo>
                  <a:pt x="211" y="669"/>
                </a:lnTo>
                <a:lnTo>
                  <a:pt x="211" y="669"/>
                </a:lnTo>
                <a:lnTo>
                  <a:pt x="210" y="670"/>
                </a:lnTo>
                <a:lnTo>
                  <a:pt x="209" y="671"/>
                </a:lnTo>
                <a:lnTo>
                  <a:pt x="208" y="671"/>
                </a:lnTo>
                <a:lnTo>
                  <a:pt x="207" y="672"/>
                </a:lnTo>
                <a:lnTo>
                  <a:pt x="206" y="672"/>
                </a:lnTo>
                <a:lnTo>
                  <a:pt x="205" y="673"/>
                </a:lnTo>
                <a:lnTo>
                  <a:pt x="204" y="673"/>
                </a:lnTo>
                <a:lnTo>
                  <a:pt x="202" y="673"/>
                </a:lnTo>
                <a:lnTo>
                  <a:pt x="198" y="673"/>
                </a:lnTo>
                <a:lnTo>
                  <a:pt x="196" y="673"/>
                </a:lnTo>
                <a:lnTo>
                  <a:pt x="191" y="674"/>
                </a:lnTo>
                <a:lnTo>
                  <a:pt x="187" y="675"/>
                </a:lnTo>
                <a:lnTo>
                  <a:pt x="186" y="675"/>
                </a:lnTo>
                <a:lnTo>
                  <a:pt x="178" y="677"/>
                </a:lnTo>
                <a:lnTo>
                  <a:pt x="176" y="677"/>
                </a:lnTo>
                <a:lnTo>
                  <a:pt x="173" y="677"/>
                </a:lnTo>
                <a:lnTo>
                  <a:pt x="172" y="677"/>
                </a:lnTo>
                <a:lnTo>
                  <a:pt x="171" y="678"/>
                </a:lnTo>
                <a:lnTo>
                  <a:pt x="170" y="678"/>
                </a:lnTo>
                <a:lnTo>
                  <a:pt x="169" y="679"/>
                </a:lnTo>
                <a:lnTo>
                  <a:pt x="168" y="680"/>
                </a:lnTo>
                <a:lnTo>
                  <a:pt x="166" y="681"/>
                </a:lnTo>
                <a:lnTo>
                  <a:pt x="166" y="682"/>
                </a:lnTo>
                <a:lnTo>
                  <a:pt x="165" y="683"/>
                </a:lnTo>
                <a:lnTo>
                  <a:pt x="163" y="686"/>
                </a:lnTo>
                <a:lnTo>
                  <a:pt x="162" y="687"/>
                </a:lnTo>
                <a:lnTo>
                  <a:pt x="161" y="688"/>
                </a:lnTo>
                <a:lnTo>
                  <a:pt x="160" y="689"/>
                </a:lnTo>
                <a:lnTo>
                  <a:pt x="160" y="690"/>
                </a:lnTo>
                <a:lnTo>
                  <a:pt x="159" y="690"/>
                </a:lnTo>
                <a:lnTo>
                  <a:pt x="158" y="690"/>
                </a:lnTo>
                <a:lnTo>
                  <a:pt x="158" y="690"/>
                </a:lnTo>
                <a:lnTo>
                  <a:pt x="157" y="690"/>
                </a:lnTo>
                <a:lnTo>
                  <a:pt x="157" y="690"/>
                </a:lnTo>
                <a:lnTo>
                  <a:pt x="156" y="690"/>
                </a:lnTo>
                <a:lnTo>
                  <a:pt x="156" y="689"/>
                </a:lnTo>
                <a:lnTo>
                  <a:pt x="156" y="689"/>
                </a:lnTo>
                <a:lnTo>
                  <a:pt x="155" y="687"/>
                </a:lnTo>
                <a:lnTo>
                  <a:pt x="153" y="681"/>
                </a:lnTo>
                <a:lnTo>
                  <a:pt x="151" y="676"/>
                </a:lnTo>
                <a:lnTo>
                  <a:pt x="150" y="674"/>
                </a:lnTo>
                <a:lnTo>
                  <a:pt x="149" y="670"/>
                </a:lnTo>
                <a:lnTo>
                  <a:pt x="147" y="663"/>
                </a:lnTo>
                <a:lnTo>
                  <a:pt x="146" y="661"/>
                </a:lnTo>
                <a:lnTo>
                  <a:pt x="146" y="660"/>
                </a:lnTo>
                <a:lnTo>
                  <a:pt x="145" y="659"/>
                </a:lnTo>
                <a:lnTo>
                  <a:pt x="144" y="658"/>
                </a:lnTo>
                <a:lnTo>
                  <a:pt x="144" y="657"/>
                </a:lnTo>
                <a:lnTo>
                  <a:pt x="142" y="656"/>
                </a:lnTo>
                <a:lnTo>
                  <a:pt x="138" y="653"/>
                </a:lnTo>
                <a:lnTo>
                  <a:pt x="136" y="651"/>
                </a:lnTo>
                <a:lnTo>
                  <a:pt x="135" y="650"/>
                </a:lnTo>
                <a:lnTo>
                  <a:pt x="132" y="649"/>
                </a:lnTo>
                <a:lnTo>
                  <a:pt x="130" y="648"/>
                </a:lnTo>
                <a:lnTo>
                  <a:pt x="128" y="647"/>
                </a:lnTo>
                <a:lnTo>
                  <a:pt x="124" y="646"/>
                </a:lnTo>
                <a:lnTo>
                  <a:pt x="120" y="645"/>
                </a:lnTo>
                <a:lnTo>
                  <a:pt x="118" y="644"/>
                </a:lnTo>
                <a:lnTo>
                  <a:pt x="115" y="643"/>
                </a:lnTo>
                <a:lnTo>
                  <a:pt x="113" y="641"/>
                </a:lnTo>
                <a:lnTo>
                  <a:pt x="110" y="640"/>
                </a:lnTo>
                <a:lnTo>
                  <a:pt x="109" y="639"/>
                </a:lnTo>
                <a:lnTo>
                  <a:pt x="108" y="638"/>
                </a:lnTo>
                <a:lnTo>
                  <a:pt x="107" y="638"/>
                </a:lnTo>
                <a:lnTo>
                  <a:pt x="107" y="637"/>
                </a:lnTo>
                <a:lnTo>
                  <a:pt x="106" y="636"/>
                </a:lnTo>
                <a:lnTo>
                  <a:pt x="106" y="636"/>
                </a:lnTo>
                <a:lnTo>
                  <a:pt x="106" y="635"/>
                </a:lnTo>
                <a:lnTo>
                  <a:pt x="106" y="635"/>
                </a:lnTo>
                <a:lnTo>
                  <a:pt x="106" y="634"/>
                </a:lnTo>
                <a:lnTo>
                  <a:pt x="106" y="631"/>
                </a:lnTo>
                <a:lnTo>
                  <a:pt x="107" y="627"/>
                </a:lnTo>
                <a:lnTo>
                  <a:pt x="108" y="622"/>
                </a:lnTo>
                <a:lnTo>
                  <a:pt x="108" y="621"/>
                </a:lnTo>
                <a:lnTo>
                  <a:pt x="108" y="618"/>
                </a:lnTo>
                <a:lnTo>
                  <a:pt x="109" y="616"/>
                </a:lnTo>
                <a:lnTo>
                  <a:pt x="109" y="614"/>
                </a:lnTo>
                <a:lnTo>
                  <a:pt x="109" y="612"/>
                </a:lnTo>
                <a:lnTo>
                  <a:pt x="108" y="611"/>
                </a:lnTo>
                <a:lnTo>
                  <a:pt x="108" y="610"/>
                </a:lnTo>
                <a:lnTo>
                  <a:pt x="108" y="609"/>
                </a:lnTo>
                <a:lnTo>
                  <a:pt x="108" y="609"/>
                </a:lnTo>
                <a:lnTo>
                  <a:pt x="107" y="609"/>
                </a:lnTo>
                <a:lnTo>
                  <a:pt x="107" y="609"/>
                </a:lnTo>
                <a:lnTo>
                  <a:pt x="106" y="609"/>
                </a:lnTo>
                <a:lnTo>
                  <a:pt x="106" y="609"/>
                </a:lnTo>
                <a:lnTo>
                  <a:pt x="105" y="610"/>
                </a:lnTo>
                <a:lnTo>
                  <a:pt x="104" y="612"/>
                </a:lnTo>
                <a:lnTo>
                  <a:pt x="104" y="613"/>
                </a:lnTo>
                <a:lnTo>
                  <a:pt x="103" y="613"/>
                </a:lnTo>
                <a:lnTo>
                  <a:pt x="103" y="613"/>
                </a:lnTo>
                <a:lnTo>
                  <a:pt x="102" y="614"/>
                </a:lnTo>
                <a:lnTo>
                  <a:pt x="101" y="614"/>
                </a:lnTo>
                <a:lnTo>
                  <a:pt x="101" y="614"/>
                </a:lnTo>
                <a:lnTo>
                  <a:pt x="100" y="613"/>
                </a:lnTo>
                <a:lnTo>
                  <a:pt x="100" y="613"/>
                </a:lnTo>
                <a:lnTo>
                  <a:pt x="99" y="613"/>
                </a:lnTo>
                <a:lnTo>
                  <a:pt x="98" y="612"/>
                </a:lnTo>
                <a:lnTo>
                  <a:pt x="98" y="612"/>
                </a:lnTo>
                <a:lnTo>
                  <a:pt x="97" y="611"/>
                </a:lnTo>
                <a:lnTo>
                  <a:pt x="96" y="610"/>
                </a:lnTo>
                <a:lnTo>
                  <a:pt x="95" y="608"/>
                </a:lnTo>
                <a:lnTo>
                  <a:pt x="93" y="607"/>
                </a:lnTo>
                <a:lnTo>
                  <a:pt x="93" y="606"/>
                </a:lnTo>
                <a:lnTo>
                  <a:pt x="92" y="604"/>
                </a:lnTo>
                <a:lnTo>
                  <a:pt x="90" y="601"/>
                </a:lnTo>
                <a:lnTo>
                  <a:pt x="90" y="600"/>
                </a:lnTo>
                <a:lnTo>
                  <a:pt x="89" y="599"/>
                </a:lnTo>
                <a:lnTo>
                  <a:pt x="89" y="598"/>
                </a:lnTo>
                <a:lnTo>
                  <a:pt x="88" y="598"/>
                </a:lnTo>
                <a:lnTo>
                  <a:pt x="85" y="595"/>
                </a:lnTo>
                <a:lnTo>
                  <a:pt x="84" y="594"/>
                </a:lnTo>
                <a:lnTo>
                  <a:pt x="84" y="593"/>
                </a:lnTo>
                <a:lnTo>
                  <a:pt x="83" y="592"/>
                </a:lnTo>
                <a:lnTo>
                  <a:pt x="82" y="591"/>
                </a:lnTo>
                <a:lnTo>
                  <a:pt x="82" y="590"/>
                </a:lnTo>
                <a:lnTo>
                  <a:pt x="81" y="586"/>
                </a:lnTo>
                <a:lnTo>
                  <a:pt x="79" y="581"/>
                </a:lnTo>
                <a:lnTo>
                  <a:pt x="78" y="577"/>
                </a:lnTo>
                <a:lnTo>
                  <a:pt x="77" y="576"/>
                </a:lnTo>
                <a:lnTo>
                  <a:pt x="77" y="574"/>
                </a:lnTo>
                <a:lnTo>
                  <a:pt x="76" y="573"/>
                </a:lnTo>
                <a:lnTo>
                  <a:pt x="75" y="571"/>
                </a:lnTo>
                <a:lnTo>
                  <a:pt x="74" y="570"/>
                </a:lnTo>
                <a:lnTo>
                  <a:pt x="73" y="570"/>
                </a:lnTo>
                <a:lnTo>
                  <a:pt x="72" y="568"/>
                </a:lnTo>
                <a:lnTo>
                  <a:pt x="72" y="567"/>
                </a:lnTo>
                <a:lnTo>
                  <a:pt x="71" y="566"/>
                </a:lnTo>
                <a:lnTo>
                  <a:pt x="69" y="563"/>
                </a:lnTo>
                <a:lnTo>
                  <a:pt x="68" y="562"/>
                </a:lnTo>
                <a:lnTo>
                  <a:pt x="66" y="560"/>
                </a:lnTo>
                <a:lnTo>
                  <a:pt x="65" y="557"/>
                </a:lnTo>
                <a:lnTo>
                  <a:pt x="65" y="557"/>
                </a:lnTo>
                <a:lnTo>
                  <a:pt x="64" y="555"/>
                </a:lnTo>
                <a:lnTo>
                  <a:pt x="62" y="553"/>
                </a:lnTo>
                <a:lnTo>
                  <a:pt x="61" y="552"/>
                </a:lnTo>
                <a:lnTo>
                  <a:pt x="60" y="551"/>
                </a:lnTo>
                <a:lnTo>
                  <a:pt x="59" y="550"/>
                </a:lnTo>
                <a:lnTo>
                  <a:pt x="58" y="550"/>
                </a:lnTo>
                <a:lnTo>
                  <a:pt x="57" y="550"/>
                </a:lnTo>
                <a:lnTo>
                  <a:pt x="55" y="549"/>
                </a:lnTo>
                <a:lnTo>
                  <a:pt x="51" y="548"/>
                </a:lnTo>
                <a:lnTo>
                  <a:pt x="49" y="547"/>
                </a:lnTo>
                <a:lnTo>
                  <a:pt x="47" y="547"/>
                </a:lnTo>
                <a:lnTo>
                  <a:pt x="46" y="547"/>
                </a:lnTo>
                <a:lnTo>
                  <a:pt x="44" y="547"/>
                </a:lnTo>
                <a:lnTo>
                  <a:pt x="43" y="548"/>
                </a:lnTo>
                <a:lnTo>
                  <a:pt x="41" y="548"/>
                </a:lnTo>
                <a:lnTo>
                  <a:pt x="39" y="549"/>
                </a:lnTo>
                <a:lnTo>
                  <a:pt x="36" y="551"/>
                </a:lnTo>
                <a:lnTo>
                  <a:pt x="34" y="552"/>
                </a:lnTo>
                <a:lnTo>
                  <a:pt x="32" y="553"/>
                </a:lnTo>
                <a:lnTo>
                  <a:pt x="30" y="555"/>
                </a:lnTo>
                <a:lnTo>
                  <a:pt x="28" y="557"/>
                </a:lnTo>
                <a:lnTo>
                  <a:pt x="28" y="558"/>
                </a:lnTo>
                <a:lnTo>
                  <a:pt x="28" y="558"/>
                </a:lnTo>
                <a:lnTo>
                  <a:pt x="27" y="559"/>
                </a:lnTo>
                <a:lnTo>
                  <a:pt x="27" y="559"/>
                </a:lnTo>
                <a:lnTo>
                  <a:pt x="27" y="559"/>
                </a:lnTo>
                <a:lnTo>
                  <a:pt x="28" y="560"/>
                </a:lnTo>
                <a:lnTo>
                  <a:pt x="28" y="561"/>
                </a:lnTo>
                <a:lnTo>
                  <a:pt x="29" y="562"/>
                </a:lnTo>
                <a:lnTo>
                  <a:pt x="29" y="563"/>
                </a:lnTo>
                <a:lnTo>
                  <a:pt x="30" y="564"/>
                </a:lnTo>
                <a:lnTo>
                  <a:pt x="30" y="564"/>
                </a:lnTo>
                <a:lnTo>
                  <a:pt x="31" y="565"/>
                </a:lnTo>
                <a:lnTo>
                  <a:pt x="38" y="572"/>
                </a:lnTo>
                <a:lnTo>
                  <a:pt x="39" y="573"/>
                </a:lnTo>
                <a:lnTo>
                  <a:pt x="40" y="574"/>
                </a:lnTo>
                <a:lnTo>
                  <a:pt x="40" y="575"/>
                </a:lnTo>
                <a:lnTo>
                  <a:pt x="40" y="576"/>
                </a:lnTo>
                <a:lnTo>
                  <a:pt x="41" y="578"/>
                </a:lnTo>
                <a:lnTo>
                  <a:pt x="42" y="580"/>
                </a:lnTo>
                <a:lnTo>
                  <a:pt x="42" y="580"/>
                </a:lnTo>
                <a:lnTo>
                  <a:pt x="44" y="583"/>
                </a:lnTo>
                <a:lnTo>
                  <a:pt x="45" y="585"/>
                </a:lnTo>
                <a:lnTo>
                  <a:pt x="45" y="586"/>
                </a:lnTo>
                <a:lnTo>
                  <a:pt x="45" y="587"/>
                </a:lnTo>
                <a:lnTo>
                  <a:pt x="46" y="588"/>
                </a:lnTo>
                <a:lnTo>
                  <a:pt x="46" y="589"/>
                </a:lnTo>
                <a:lnTo>
                  <a:pt x="46" y="590"/>
                </a:lnTo>
                <a:lnTo>
                  <a:pt x="46" y="591"/>
                </a:lnTo>
                <a:lnTo>
                  <a:pt x="46" y="592"/>
                </a:lnTo>
                <a:lnTo>
                  <a:pt x="45" y="592"/>
                </a:lnTo>
                <a:lnTo>
                  <a:pt x="45" y="594"/>
                </a:lnTo>
                <a:lnTo>
                  <a:pt x="43" y="596"/>
                </a:lnTo>
                <a:lnTo>
                  <a:pt x="42" y="598"/>
                </a:lnTo>
                <a:lnTo>
                  <a:pt x="40" y="601"/>
                </a:lnTo>
                <a:lnTo>
                  <a:pt x="39" y="605"/>
                </a:lnTo>
                <a:lnTo>
                  <a:pt x="38" y="607"/>
                </a:lnTo>
                <a:lnTo>
                  <a:pt x="37" y="609"/>
                </a:lnTo>
                <a:lnTo>
                  <a:pt x="36" y="610"/>
                </a:lnTo>
                <a:lnTo>
                  <a:pt x="35" y="611"/>
                </a:lnTo>
                <a:lnTo>
                  <a:pt x="34" y="613"/>
                </a:lnTo>
                <a:lnTo>
                  <a:pt x="32" y="615"/>
                </a:lnTo>
                <a:lnTo>
                  <a:pt x="30" y="616"/>
                </a:lnTo>
                <a:lnTo>
                  <a:pt x="28" y="617"/>
                </a:lnTo>
                <a:lnTo>
                  <a:pt x="27" y="618"/>
                </a:lnTo>
                <a:lnTo>
                  <a:pt x="26" y="618"/>
                </a:lnTo>
                <a:lnTo>
                  <a:pt x="25" y="619"/>
                </a:lnTo>
                <a:lnTo>
                  <a:pt x="23" y="619"/>
                </a:lnTo>
                <a:lnTo>
                  <a:pt x="22" y="618"/>
                </a:lnTo>
                <a:lnTo>
                  <a:pt x="20" y="618"/>
                </a:lnTo>
                <a:lnTo>
                  <a:pt x="17" y="617"/>
                </a:lnTo>
                <a:lnTo>
                  <a:pt x="15" y="616"/>
                </a:lnTo>
                <a:lnTo>
                  <a:pt x="13" y="614"/>
                </a:lnTo>
                <a:lnTo>
                  <a:pt x="8" y="611"/>
                </a:lnTo>
                <a:lnTo>
                  <a:pt x="6" y="609"/>
                </a:lnTo>
                <a:lnTo>
                  <a:pt x="5" y="608"/>
                </a:lnTo>
                <a:lnTo>
                  <a:pt x="4" y="607"/>
                </a:lnTo>
                <a:lnTo>
                  <a:pt x="2" y="605"/>
                </a:lnTo>
                <a:lnTo>
                  <a:pt x="2" y="604"/>
                </a:lnTo>
                <a:lnTo>
                  <a:pt x="1" y="603"/>
                </a:lnTo>
                <a:lnTo>
                  <a:pt x="1" y="603"/>
                </a:lnTo>
                <a:lnTo>
                  <a:pt x="0" y="602"/>
                </a:lnTo>
                <a:lnTo>
                  <a:pt x="0" y="601"/>
                </a:lnTo>
                <a:lnTo>
                  <a:pt x="0" y="600"/>
                </a:lnTo>
                <a:lnTo>
                  <a:pt x="1" y="59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6" name="Freeform 289">
            <a:extLst>
              <a:ext uri="{FF2B5EF4-FFF2-40B4-BE49-F238E27FC236}">
                <a16:creationId xmlns:a16="http://schemas.microsoft.com/office/drawing/2014/main" id="{463EE6D5-0306-436E-9E9F-1BE32A367BFC}"/>
              </a:ext>
            </a:extLst>
          </p:cNvPr>
          <p:cNvSpPr>
            <a:spLocks/>
          </p:cNvSpPr>
          <p:nvPr/>
        </p:nvSpPr>
        <p:spPr bwMode="auto">
          <a:xfrm>
            <a:off x="10102727" y="3795322"/>
            <a:ext cx="452372" cy="1405775"/>
          </a:xfrm>
          <a:custGeom>
            <a:avLst/>
            <a:gdLst>
              <a:gd name="T0" fmla="*/ 49 w 238"/>
              <a:gd name="T1" fmla="*/ 668 h 676"/>
              <a:gd name="T2" fmla="*/ 50 w 238"/>
              <a:gd name="T3" fmla="*/ 660 h 676"/>
              <a:gd name="T4" fmla="*/ 42 w 238"/>
              <a:gd name="T5" fmla="*/ 646 h 676"/>
              <a:gd name="T6" fmla="*/ 37 w 238"/>
              <a:gd name="T7" fmla="*/ 622 h 676"/>
              <a:gd name="T8" fmla="*/ 46 w 238"/>
              <a:gd name="T9" fmla="*/ 606 h 676"/>
              <a:gd name="T10" fmla="*/ 49 w 238"/>
              <a:gd name="T11" fmla="*/ 601 h 676"/>
              <a:gd name="T12" fmla="*/ 29 w 238"/>
              <a:gd name="T13" fmla="*/ 597 h 676"/>
              <a:gd name="T14" fmla="*/ 18 w 238"/>
              <a:gd name="T15" fmla="*/ 591 h 676"/>
              <a:gd name="T16" fmla="*/ 17 w 238"/>
              <a:gd name="T17" fmla="*/ 577 h 676"/>
              <a:gd name="T18" fmla="*/ 20 w 238"/>
              <a:gd name="T19" fmla="*/ 570 h 676"/>
              <a:gd name="T20" fmla="*/ 36 w 238"/>
              <a:gd name="T21" fmla="*/ 572 h 676"/>
              <a:gd name="T22" fmla="*/ 40 w 238"/>
              <a:gd name="T23" fmla="*/ 562 h 676"/>
              <a:gd name="T24" fmla="*/ 42 w 238"/>
              <a:gd name="T25" fmla="*/ 554 h 676"/>
              <a:gd name="T26" fmla="*/ 43 w 238"/>
              <a:gd name="T27" fmla="*/ 534 h 676"/>
              <a:gd name="T28" fmla="*/ 43 w 238"/>
              <a:gd name="T29" fmla="*/ 522 h 676"/>
              <a:gd name="T30" fmla="*/ 55 w 238"/>
              <a:gd name="T31" fmla="*/ 505 h 676"/>
              <a:gd name="T32" fmla="*/ 57 w 238"/>
              <a:gd name="T33" fmla="*/ 490 h 676"/>
              <a:gd name="T34" fmla="*/ 52 w 238"/>
              <a:gd name="T35" fmla="*/ 477 h 676"/>
              <a:gd name="T36" fmla="*/ 40 w 238"/>
              <a:gd name="T37" fmla="*/ 472 h 676"/>
              <a:gd name="T38" fmla="*/ 37 w 238"/>
              <a:gd name="T39" fmla="*/ 469 h 676"/>
              <a:gd name="T40" fmla="*/ 37 w 238"/>
              <a:gd name="T41" fmla="*/ 455 h 676"/>
              <a:gd name="T42" fmla="*/ 33 w 238"/>
              <a:gd name="T43" fmla="*/ 443 h 676"/>
              <a:gd name="T44" fmla="*/ 19 w 238"/>
              <a:gd name="T45" fmla="*/ 423 h 676"/>
              <a:gd name="T46" fmla="*/ 11 w 238"/>
              <a:gd name="T47" fmla="*/ 405 h 676"/>
              <a:gd name="T48" fmla="*/ 11 w 238"/>
              <a:gd name="T49" fmla="*/ 393 h 676"/>
              <a:gd name="T50" fmla="*/ 17 w 238"/>
              <a:gd name="T51" fmla="*/ 380 h 676"/>
              <a:gd name="T52" fmla="*/ 16 w 238"/>
              <a:gd name="T53" fmla="*/ 364 h 676"/>
              <a:gd name="T54" fmla="*/ 8 w 238"/>
              <a:gd name="T55" fmla="*/ 331 h 676"/>
              <a:gd name="T56" fmla="*/ 0 w 238"/>
              <a:gd name="T57" fmla="*/ 303 h 676"/>
              <a:gd name="T58" fmla="*/ 2 w 238"/>
              <a:gd name="T59" fmla="*/ 298 h 676"/>
              <a:gd name="T60" fmla="*/ 14 w 238"/>
              <a:gd name="T61" fmla="*/ 294 h 676"/>
              <a:gd name="T62" fmla="*/ 25 w 238"/>
              <a:gd name="T63" fmla="*/ 283 h 676"/>
              <a:gd name="T64" fmla="*/ 36 w 238"/>
              <a:gd name="T65" fmla="*/ 271 h 676"/>
              <a:gd name="T66" fmla="*/ 36 w 238"/>
              <a:gd name="T67" fmla="*/ 253 h 676"/>
              <a:gd name="T68" fmla="*/ 38 w 238"/>
              <a:gd name="T69" fmla="*/ 240 h 676"/>
              <a:gd name="T70" fmla="*/ 38 w 238"/>
              <a:gd name="T71" fmla="*/ 225 h 676"/>
              <a:gd name="T72" fmla="*/ 47 w 238"/>
              <a:gd name="T73" fmla="*/ 203 h 676"/>
              <a:gd name="T74" fmla="*/ 57 w 238"/>
              <a:gd name="T75" fmla="*/ 171 h 676"/>
              <a:gd name="T76" fmla="*/ 60 w 238"/>
              <a:gd name="T77" fmla="*/ 163 h 676"/>
              <a:gd name="T78" fmla="*/ 72 w 238"/>
              <a:gd name="T79" fmla="*/ 151 h 676"/>
              <a:gd name="T80" fmla="*/ 88 w 238"/>
              <a:gd name="T81" fmla="*/ 147 h 676"/>
              <a:gd name="T82" fmla="*/ 101 w 238"/>
              <a:gd name="T83" fmla="*/ 140 h 676"/>
              <a:gd name="T84" fmla="*/ 111 w 238"/>
              <a:gd name="T85" fmla="*/ 145 h 676"/>
              <a:gd name="T86" fmla="*/ 119 w 238"/>
              <a:gd name="T87" fmla="*/ 147 h 676"/>
              <a:gd name="T88" fmla="*/ 121 w 238"/>
              <a:gd name="T89" fmla="*/ 138 h 676"/>
              <a:gd name="T90" fmla="*/ 119 w 238"/>
              <a:gd name="T91" fmla="*/ 116 h 676"/>
              <a:gd name="T92" fmla="*/ 114 w 238"/>
              <a:gd name="T93" fmla="*/ 99 h 676"/>
              <a:gd name="T94" fmla="*/ 94 w 238"/>
              <a:gd name="T95" fmla="*/ 87 h 676"/>
              <a:gd name="T96" fmla="*/ 86 w 238"/>
              <a:gd name="T97" fmla="*/ 77 h 676"/>
              <a:gd name="T98" fmla="*/ 73 w 238"/>
              <a:gd name="T99" fmla="*/ 44 h 676"/>
              <a:gd name="T100" fmla="*/ 59 w 238"/>
              <a:gd name="T101" fmla="*/ 31 h 676"/>
              <a:gd name="T102" fmla="*/ 55 w 238"/>
              <a:gd name="T103" fmla="*/ 23 h 676"/>
              <a:gd name="T104" fmla="*/ 61 w 238"/>
              <a:gd name="T105" fmla="*/ 9 h 676"/>
              <a:gd name="T106" fmla="*/ 72 w 238"/>
              <a:gd name="T107" fmla="*/ 0 h 676"/>
              <a:gd name="T108" fmla="*/ 92 w 238"/>
              <a:gd name="T109" fmla="*/ 13 h 676"/>
              <a:gd name="T110" fmla="*/ 109 w 238"/>
              <a:gd name="T111" fmla="*/ 16 h 676"/>
              <a:gd name="T112" fmla="*/ 135 w 238"/>
              <a:gd name="T113" fmla="*/ 25 h 676"/>
              <a:gd name="T114" fmla="*/ 155 w 238"/>
              <a:gd name="T115" fmla="*/ 30 h 676"/>
              <a:gd name="T116" fmla="*/ 174 w 238"/>
              <a:gd name="T117" fmla="*/ 39 h 676"/>
              <a:gd name="T118" fmla="*/ 191 w 238"/>
              <a:gd name="T119" fmla="*/ 40 h 676"/>
              <a:gd name="T120" fmla="*/ 198 w 238"/>
              <a:gd name="T121" fmla="*/ 52 h 676"/>
              <a:gd name="T122" fmla="*/ 211 w 238"/>
              <a:gd name="T123" fmla="*/ 67 h 676"/>
              <a:gd name="T124" fmla="*/ 227 w 238"/>
              <a:gd name="T125" fmla="*/ 77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8" h="676">
                <a:moveTo>
                  <a:pt x="44" y="676"/>
                </a:moveTo>
                <a:lnTo>
                  <a:pt x="44" y="675"/>
                </a:lnTo>
                <a:lnTo>
                  <a:pt x="44" y="674"/>
                </a:lnTo>
                <a:lnTo>
                  <a:pt x="45" y="673"/>
                </a:lnTo>
                <a:lnTo>
                  <a:pt x="45" y="672"/>
                </a:lnTo>
                <a:lnTo>
                  <a:pt x="46" y="671"/>
                </a:lnTo>
                <a:lnTo>
                  <a:pt x="47" y="670"/>
                </a:lnTo>
                <a:lnTo>
                  <a:pt x="49" y="668"/>
                </a:lnTo>
                <a:lnTo>
                  <a:pt x="50" y="667"/>
                </a:lnTo>
                <a:lnTo>
                  <a:pt x="50" y="666"/>
                </a:lnTo>
                <a:lnTo>
                  <a:pt x="51" y="666"/>
                </a:lnTo>
                <a:lnTo>
                  <a:pt x="51" y="665"/>
                </a:lnTo>
                <a:lnTo>
                  <a:pt x="51" y="664"/>
                </a:lnTo>
                <a:lnTo>
                  <a:pt x="51" y="663"/>
                </a:lnTo>
                <a:lnTo>
                  <a:pt x="51" y="662"/>
                </a:lnTo>
                <a:lnTo>
                  <a:pt x="50" y="660"/>
                </a:lnTo>
                <a:lnTo>
                  <a:pt x="49" y="659"/>
                </a:lnTo>
                <a:lnTo>
                  <a:pt x="49" y="657"/>
                </a:lnTo>
                <a:lnTo>
                  <a:pt x="48" y="656"/>
                </a:lnTo>
                <a:lnTo>
                  <a:pt x="45" y="652"/>
                </a:lnTo>
                <a:lnTo>
                  <a:pt x="44" y="650"/>
                </a:lnTo>
                <a:lnTo>
                  <a:pt x="43" y="649"/>
                </a:lnTo>
                <a:lnTo>
                  <a:pt x="43" y="648"/>
                </a:lnTo>
                <a:lnTo>
                  <a:pt x="42" y="646"/>
                </a:lnTo>
                <a:lnTo>
                  <a:pt x="41" y="642"/>
                </a:lnTo>
                <a:lnTo>
                  <a:pt x="39" y="637"/>
                </a:lnTo>
                <a:lnTo>
                  <a:pt x="38" y="632"/>
                </a:lnTo>
                <a:lnTo>
                  <a:pt x="38" y="630"/>
                </a:lnTo>
                <a:lnTo>
                  <a:pt x="37" y="628"/>
                </a:lnTo>
                <a:lnTo>
                  <a:pt x="37" y="626"/>
                </a:lnTo>
                <a:lnTo>
                  <a:pt x="37" y="624"/>
                </a:lnTo>
                <a:lnTo>
                  <a:pt x="37" y="622"/>
                </a:lnTo>
                <a:lnTo>
                  <a:pt x="38" y="620"/>
                </a:lnTo>
                <a:lnTo>
                  <a:pt x="38" y="618"/>
                </a:lnTo>
                <a:lnTo>
                  <a:pt x="39" y="617"/>
                </a:lnTo>
                <a:lnTo>
                  <a:pt x="42" y="613"/>
                </a:lnTo>
                <a:lnTo>
                  <a:pt x="43" y="611"/>
                </a:lnTo>
                <a:lnTo>
                  <a:pt x="44" y="608"/>
                </a:lnTo>
                <a:lnTo>
                  <a:pt x="45" y="607"/>
                </a:lnTo>
                <a:lnTo>
                  <a:pt x="46" y="606"/>
                </a:lnTo>
                <a:lnTo>
                  <a:pt x="47" y="605"/>
                </a:lnTo>
                <a:lnTo>
                  <a:pt x="48" y="604"/>
                </a:lnTo>
                <a:lnTo>
                  <a:pt x="49" y="603"/>
                </a:lnTo>
                <a:lnTo>
                  <a:pt x="50" y="603"/>
                </a:lnTo>
                <a:lnTo>
                  <a:pt x="50" y="602"/>
                </a:lnTo>
                <a:lnTo>
                  <a:pt x="50" y="602"/>
                </a:lnTo>
                <a:lnTo>
                  <a:pt x="50" y="602"/>
                </a:lnTo>
                <a:lnTo>
                  <a:pt x="49" y="601"/>
                </a:lnTo>
                <a:lnTo>
                  <a:pt x="49" y="601"/>
                </a:lnTo>
                <a:lnTo>
                  <a:pt x="48" y="601"/>
                </a:lnTo>
                <a:lnTo>
                  <a:pt x="45" y="600"/>
                </a:lnTo>
                <a:lnTo>
                  <a:pt x="42" y="600"/>
                </a:lnTo>
                <a:lnTo>
                  <a:pt x="40" y="600"/>
                </a:lnTo>
                <a:lnTo>
                  <a:pt x="38" y="599"/>
                </a:lnTo>
                <a:lnTo>
                  <a:pt x="35" y="598"/>
                </a:lnTo>
                <a:lnTo>
                  <a:pt x="29" y="597"/>
                </a:lnTo>
                <a:lnTo>
                  <a:pt x="25" y="596"/>
                </a:lnTo>
                <a:lnTo>
                  <a:pt x="21" y="594"/>
                </a:lnTo>
                <a:lnTo>
                  <a:pt x="20" y="594"/>
                </a:lnTo>
                <a:lnTo>
                  <a:pt x="19" y="594"/>
                </a:lnTo>
                <a:lnTo>
                  <a:pt x="19" y="593"/>
                </a:lnTo>
                <a:lnTo>
                  <a:pt x="18" y="593"/>
                </a:lnTo>
                <a:lnTo>
                  <a:pt x="18" y="592"/>
                </a:lnTo>
                <a:lnTo>
                  <a:pt x="18" y="591"/>
                </a:lnTo>
                <a:lnTo>
                  <a:pt x="17" y="591"/>
                </a:lnTo>
                <a:lnTo>
                  <a:pt x="17" y="590"/>
                </a:lnTo>
                <a:lnTo>
                  <a:pt x="17" y="588"/>
                </a:lnTo>
                <a:lnTo>
                  <a:pt x="17" y="585"/>
                </a:lnTo>
                <a:lnTo>
                  <a:pt x="17" y="583"/>
                </a:lnTo>
                <a:lnTo>
                  <a:pt x="17" y="582"/>
                </a:lnTo>
                <a:lnTo>
                  <a:pt x="17" y="578"/>
                </a:lnTo>
                <a:lnTo>
                  <a:pt x="17" y="577"/>
                </a:lnTo>
                <a:lnTo>
                  <a:pt x="17" y="576"/>
                </a:lnTo>
                <a:lnTo>
                  <a:pt x="17" y="574"/>
                </a:lnTo>
                <a:lnTo>
                  <a:pt x="18" y="573"/>
                </a:lnTo>
                <a:lnTo>
                  <a:pt x="18" y="572"/>
                </a:lnTo>
                <a:lnTo>
                  <a:pt x="18" y="571"/>
                </a:lnTo>
                <a:lnTo>
                  <a:pt x="19" y="571"/>
                </a:lnTo>
                <a:lnTo>
                  <a:pt x="19" y="570"/>
                </a:lnTo>
                <a:lnTo>
                  <a:pt x="20" y="570"/>
                </a:lnTo>
                <a:lnTo>
                  <a:pt x="21" y="570"/>
                </a:lnTo>
                <a:lnTo>
                  <a:pt x="25" y="571"/>
                </a:lnTo>
                <a:lnTo>
                  <a:pt x="31" y="572"/>
                </a:lnTo>
                <a:lnTo>
                  <a:pt x="32" y="572"/>
                </a:lnTo>
                <a:lnTo>
                  <a:pt x="33" y="572"/>
                </a:lnTo>
                <a:lnTo>
                  <a:pt x="34" y="572"/>
                </a:lnTo>
                <a:lnTo>
                  <a:pt x="35" y="572"/>
                </a:lnTo>
                <a:lnTo>
                  <a:pt x="36" y="572"/>
                </a:lnTo>
                <a:lnTo>
                  <a:pt x="36" y="571"/>
                </a:lnTo>
                <a:lnTo>
                  <a:pt x="37" y="571"/>
                </a:lnTo>
                <a:lnTo>
                  <a:pt x="37" y="570"/>
                </a:lnTo>
                <a:lnTo>
                  <a:pt x="38" y="569"/>
                </a:lnTo>
                <a:lnTo>
                  <a:pt x="38" y="569"/>
                </a:lnTo>
                <a:lnTo>
                  <a:pt x="38" y="568"/>
                </a:lnTo>
                <a:lnTo>
                  <a:pt x="39" y="564"/>
                </a:lnTo>
                <a:lnTo>
                  <a:pt x="40" y="562"/>
                </a:lnTo>
                <a:lnTo>
                  <a:pt x="40" y="561"/>
                </a:lnTo>
                <a:lnTo>
                  <a:pt x="41" y="560"/>
                </a:lnTo>
                <a:lnTo>
                  <a:pt x="41" y="559"/>
                </a:lnTo>
                <a:lnTo>
                  <a:pt x="42" y="558"/>
                </a:lnTo>
                <a:lnTo>
                  <a:pt x="42" y="558"/>
                </a:lnTo>
                <a:lnTo>
                  <a:pt x="42" y="558"/>
                </a:lnTo>
                <a:lnTo>
                  <a:pt x="42" y="557"/>
                </a:lnTo>
                <a:lnTo>
                  <a:pt x="42" y="554"/>
                </a:lnTo>
                <a:lnTo>
                  <a:pt x="42" y="551"/>
                </a:lnTo>
                <a:lnTo>
                  <a:pt x="43" y="548"/>
                </a:lnTo>
                <a:lnTo>
                  <a:pt x="44" y="544"/>
                </a:lnTo>
                <a:lnTo>
                  <a:pt x="45" y="542"/>
                </a:lnTo>
                <a:lnTo>
                  <a:pt x="45" y="540"/>
                </a:lnTo>
                <a:lnTo>
                  <a:pt x="45" y="540"/>
                </a:lnTo>
                <a:lnTo>
                  <a:pt x="45" y="539"/>
                </a:lnTo>
                <a:lnTo>
                  <a:pt x="43" y="534"/>
                </a:lnTo>
                <a:lnTo>
                  <a:pt x="42" y="532"/>
                </a:lnTo>
                <a:lnTo>
                  <a:pt x="42" y="531"/>
                </a:lnTo>
                <a:lnTo>
                  <a:pt x="42" y="529"/>
                </a:lnTo>
                <a:lnTo>
                  <a:pt x="42" y="528"/>
                </a:lnTo>
                <a:lnTo>
                  <a:pt x="42" y="526"/>
                </a:lnTo>
                <a:lnTo>
                  <a:pt x="42" y="525"/>
                </a:lnTo>
                <a:lnTo>
                  <a:pt x="43" y="523"/>
                </a:lnTo>
                <a:lnTo>
                  <a:pt x="43" y="522"/>
                </a:lnTo>
                <a:lnTo>
                  <a:pt x="44" y="520"/>
                </a:lnTo>
                <a:lnTo>
                  <a:pt x="45" y="519"/>
                </a:lnTo>
                <a:lnTo>
                  <a:pt x="46" y="518"/>
                </a:lnTo>
                <a:lnTo>
                  <a:pt x="46" y="517"/>
                </a:lnTo>
                <a:lnTo>
                  <a:pt x="50" y="512"/>
                </a:lnTo>
                <a:lnTo>
                  <a:pt x="53" y="508"/>
                </a:lnTo>
                <a:lnTo>
                  <a:pt x="54" y="507"/>
                </a:lnTo>
                <a:lnTo>
                  <a:pt x="55" y="505"/>
                </a:lnTo>
                <a:lnTo>
                  <a:pt x="55" y="504"/>
                </a:lnTo>
                <a:lnTo>
                  <a:pt x="56" y="503"/>
                </a:lnTo>
                <a:lnTo>
                  <a:pt x="56" y="501"/>
                </a:lnTo>
                <a:lnTo>
                  <a:pt x="57" y="498"/>
                </a:lnTo>
                <a:lnTo>
                  <a:pt x="57" y="496"/>
                </a:lnTo>
                <a:lnTo>
                  <a:pt x="57" y="493"/>
                </a:lnTo>
                <a:lnTo>
                  <a:pt x="57" y="492"/>
                </a:lnTo>
                <a:lnTo>
                  <a:pt x="57" y="490"/>
                </a:lnTo>
                <a:lnTo>
                  <a:pt x="57" y="485"/>
                </a:lnTo>
                <a:lnTo>
                  <a:pt x="56" y="483"/>
                </a:lnTo>
                <a:lnTo>
                  <a:pt x="56" y="482"/>
                </a:lnTo>
                <a:lnTo>
                  <a:pt x="55" y="481"/>
                </a:lnTo>
                <a:lnTo>
                  <a:pt x="55" y="479"/>
                </a:lnTo>
                <a:lnTo>
                  <a:pt x="54" y="478"/>
                </a:lnTo>
                <a:lnTo>
                  <a:pt x="53" y="478"/>
                </a:lnTo>
                <a:lnTo>
                  <a:pt x="52" y="477"/>
                </a:lnTo>
                <a:lnTo>
                  <a:pt x="51" y="476"/>
                </a:lnTo>
                <a:lnTo>
                  <a:pt x="50" y="475"/>
                </a:lnTo>
                <a:lnTo>
                  <a:pt x="49" y="475"/>
                </a:lnTo>
                <a:lnTo>
                  <a:pt x="49" y="474"/>
                </a:lnTo>
                <a:lnTo>
                  <a:pt x="47" y="474"/>
                </a:lnTo>
                <a:lnTo>
                  <a:pt x="43" y="473"/>
                </a:lnTo>
                <a:lnTo>
                  <a:pt x="42" y="473"/>
                </a:lnTo>
                <a:lnTo>
                  <a:pt x="40" y="472"/>
                </a:lnTo>
                <a:lnTo>
                  <a:pt x="39" y="472"/>
                </a:lnTo>
                <a:lnTo>
                  <a:pt x="39" y="472"/>
                </a:lnTo>
                <a:lnTo>
                  <a:pt x="38" y="472"/>
                </a:lnTo>
                <a:lnTo>
                  <a:pt x="38" y="471"/>
                </a:lnTo>
                <a:lnTo>
                  <a:pt x="38" y="471"/>
                </a:lnTo>
                <a:lnTo>
                  <a:pt x="37" y="471"/>
                </a:lnTo>
                <a:lnTo>
                  <a:pt x="37" y="470"/>
                </a:lnTo>
                <a:lnTo>
                  <a:pt x="37" y="469"/>
                </a:lnTo>
                <a:lnTo>
                  <a:pt x="38" y="468"/>
                </a:lnTo>
                <a:lnTo>
                  <a:pt x="39" y="465"/>
                </a:lnTo>
                <a:lnTo>
                  <a:pt x="39" y="464"/>
                </a:lnTo>
                <a:lnTo>
                  <a:pt x="39" y="462"/>
                </a:lnTo>
                <a:lnTo>
                  <a:pt x="39" y="461"/>
                </a:lnTo>
                <a:lnTo>
                  <a:pt x="39" y="460"/>
                </a:lnTo>
                <a:lnTo>
                  <a:pt x="39" y="459"/>
                </a:lnTo>
                <a:lnTo>
                  <a:pt x="37" y="455"/>
                </a:lnTo>
                <a:lnTo>
                  <a:pt x="37" y="454"/>
                </a:lnTo>
                <a:lnTo>
                  <a:pt x="37" y="453"/>
                </a:lnTo>
                <a:lnTo>
                  <a:pt x="36" y="449"/>
                </a:lnTo>
                <a:lnTo>
                  <a:pt x="36" y="448"/>
                </a:lnTo>
                <a:lnTo>
                  <a:pt x="36" y="447"/>
                </a:lnTo>
                <a:lnTo>
                  <a:pt x="35" y="446"/>
                </a:lnTo>
                <a:lnTo>
                  <a:pt x="34" y="444"/>
                </a:lnTo>
                <a:lnTo>
                  <a:pt x="33" y="443"/>
                </a:lnTo>
                <a:lnTo>
                  <a:pt x="30" y="440"/>
                </a:lnTo>
                <a:lnTo>
                  <a:pt x="27" y="437"/>
                </a:lnTo>
                <a:lnTo>
                  <a:pt x="25" y="434"/>
                </a:lnTo>
                <a:lnTo>
                  <a:pt x="24" y="432"/>
                </a:lnTo>
                <a:lnTo>
                  <a:pt x="23" y="431"/>
                </a:lnTo>
                <a:lnTo>
                  <a:pt x="21" y="428"/>
                </a:lnTo>
                <a:lnTo>
                  <a:pt x="20" y="425"/>
                </a:lnTo>
                <a:lnTo>
                  <a:pt x="19" y="423"/>
                </a:lnTo>
                <a:lnTo>
                  <a:pt x="18" y="419"/>
                </a:lnTo>
                <a:lnTo>
                  <a:pt x="17" y="417"/>
                </a:lnTo>
                <a:lnTo>
                  <a:pt x="17" y="416"/>
                </a:lnTo>
                <a:lnTo>
                  <a:pt x="16" y="415"/>
                </a:lnTo>
                <a:lnTo>
                  <a:pt x="15" y="413"/>
                </a:lnTo>
                <a:lnTo>
                  <a:pt x="12" y="408"/>
                </a:lnTo>
                <a:lnTo>
                  <a:pt x="11" y="407"/>
                </a:lnTo>
                <a:lnTo>
                  <a:pt x="11" y="405"/>
                </a:lnTo>
                <a:lnTo>
                  <a:pt x="10" y="404"/>
                </a:lnTo>
                <a:lnTo>
                  <a:pt x="10" y="402"/>
                </a:lnTo>
                <a:lnTo>
                  <a:pt x="10" y="401"/>
                </a:lnTo>
                <a:lnTo>
                  <a:pt x="10" y="398"/>
                </a:lnTo>
                <a:lnTo>
                  <a:pt x="10" y="397"/>
                </a:lnTo>
                <a:lnTo>
                  <a:pt x="10" y="396"/>
                </a:lnTo>
                <a:lnTo>
                  <a:pt x="10" y="394"/>
                </a:lnTo>
                <a:lnTo>
                  <a:pt x="11" y="393"/>
                </a:lnTo>
                <a:lnTo>
                  <a:pt x="11" y="391"/>
                </a:lnTo>
                <a:lnTo>
                  <a:pt x="11" y="390"/>
                </a:lnTo>
                <a:lnTo>
                  <a:pt x="12" y="389"/>
                </a:lnTo>
                <a:lnTo>
                  <a:pt x="12" y="387"/>
                </a:lnTo>
                <a:lnTo>
                  <a:pt x="14" y="386"/>
                </a:lnTo>
                <a:lnTo>
                  <a:pt x="16" y="382"/>
                </a:lnTo>
                <a:lnTo>
                  <a:pt x="17" y="381"/>
                </a:lnTo>
                <a:lnTo>
                  <a:pt x="17" y="380"/>
                </a:lnTo>
                <a:lnTo>
                  <a:pt x="18" y="379"/>
                </a:lnTo>
                <a:lnTo>
                  <a:pt x="18" y="378"/>
                </a:lnTo>
                <a:lnTo>
                  <a:pt x="18" y="376"/>
                </a:lnTo>
                <a:lnTo>
                  <a:pt x="18" y="375"/>
                </a:lnTo>
                <a:lnTo>
                  <a:pt x="18" y="373"/>
                </a:lnTo>
                <a:lnTo>
                  <a:pt x="17" y="368"/>
                </a:lnTo>
                <a:lnTo>
                  <a:pt x="17" y="366"/>
                </a:lnTo>
                <a:lnTo>
                  <a:pt x="16" y="364"/>
                </a:lnTo>
                <a:lnTo>
                  <a:pt x="16" y="360"/>
                </a:lnTo>
                <a:lnTo>
                  <a:pt x="16" y="354"/>
                </a:lnTo>
                <a:lnTo>
                  <a:pt x="15" y="352"/>
                </a:lnTo>
                <a:lnTo>
                  <a:pt x="15" y="350"/>
                </a:lnTo>
                <a:lnTo>
                  <a:pt x="14" y="348"/>
                </a:lnTo>
                <a:lnTo>
                  <a:pt x="12" y="342"/>
                </a:lnTo>
                <a:lnTo>
                  <a:pt x="9" y="335"/>
                </a:lnTo>
                <a:lnTo>
                  <a:pt x="8" y="331"/>
                </a:lnTo>
                <a:lnTo>
                  <a:pt x="7" y="329"/>
                </a:lnTo>
                <a:lnTo>
                  <a:pt x="7" y="326"/>
                </a:lnTo>
                <a:lnTo>
                  <a:pt x="5" y="319"/>
                </a:lnTo>
                <a:lnTo>
                  <a:pt x="4" y="316"/>
                </a:lnTo>
                <a:lnTo>
                  <a:pt x="3" y="312"/>
                </a:lnTo>
                <a:lnTo>
                  <a:pt x="1" y="307"/>
                </a:lnTo>
                <a:lnTo>
                  <a:pt x="1" y="305"/>
                </a:lnTo>
                <a:lnTo>
                  <a:pt x="0" y="303"/>
                </a:lnTo>
                <a:lnTo>
                  <a:pt x="0" y="302"/>
                </a:lnTo>
                <a:lnTo>
                  <a:pt x="0" y="301"/>
                </a:lnTo>
                <a:lnTo>
                  <a:pt x="0" y="300"/>
                </a:lnTo>
                <a:lnTo>
                  <a:pt x="1" y="300"/>
                </a:lnTo>
                <a:lnTo>
                  <a:pt x="1" y="299"/>
                </a:lnTo>
                <a:lnTo>
                  <a:pt x="1" y="299"/>
                </a:lnTo>
                <a:lnTo>
                  <a:pt x="2" y="298"/>
                </a:lnTo>
                <a:lnTo>
                  <a:pt x="2" y="298"/>
                </a:lnTo>
                <a:lnTo>
                  <a:pt x="3" y="297"/>
                </a:lnTo>
                <a:lnTo>
                  <a:pt x="4" y="297"/>
                </a:lnTo>
                <a:lnTo>
                  <a:pt x="5" y="296"/>
                </a:lnTo>
                <a:lnTo>
                  <a:pt x="7" y="296"/>
                </a:lnTo>
                <a:lnTo>
                  <a:pt x="10" y="296"/>
                </a:lnTo>
                <a:lnTo>
                  <a:pt x="12" y="295"/>
                </a:lnTo>
                <a:lnTo>
                  <a:pt x="13" y="295"/>
                </a:lnTo>
                <a:lnTo>
                  <a:pt x="14" y="294"/>
                </a:lnTo>
                <a:lnTo>
                  <a:pt x="15" y="294"/>
                </a:lnTo>
                <a:lnTo>
                  <a:pt x="15" y="293"/>
                </a:lnTo>
                <a:lnTo>
                  <a:pt x="17" y="292"/>
                </a:lnTo>
                <a:lnTo>
                  <a:pt x="18" y="290"/>
                </a:lnTo>
                <a:lnTo>
                  <a:pt x="19" y="289"/>
                </a:lnTo>
                <a:lnTo>
                  <a:pt x="20" y="287"/>
                </a:lnTo>
                <a:lnTo>
                  <a:pt x="21" y="286"/>
                </a:lnTo>
                <a:lnTo>
                  <a:pt x="25" y="283"/>
                </a:lnTo>
                <a:lnTo>
                  <a:pt x="26" y="281"/>
                </a:lnTo>
                <a:lnTo>
                  <a:pt x="31" y="278"/>
                </a:lnTo>
                <a:lnTo>
                  <a:pt x="32" y="276"/>
                </a:lnTo>
                <a:lnTo>
                  <a:pt x="33" y="275"/>
                </a:lnTo>
                <a:lnTo>
                  <a:pt x="34" y="274"/>
                </a:lnTo>
                <a:lnTo>
                  <a:pt x="35" y="273"/>
                </a:lnTo>
                <a:lnTo>
                  <a:pt x="35" y="272"/>
                </a:lnTo>
                <a:lnTo>
                  <a:pt x="36" y="271"/>
                </a:lnTo>
                <a:lnTo>
                  <a:pt x="37" y="269"/>
                </a:lnTo>
                <a:lnTo>
                  <a:pt x="37" y="267"/>
                </a:lnTo>
                <a:lnTo>
                  <a:pt x="37" y="266"/>
                </a:lnTo>
                <a:lnTo>
                  <a:pt x="37" y="265"/>
                </a:lnTo>
                <a:lnTo>
                  <a:pt x="37" y="263"/>
                </a:lnTo>
                <a:lnTo>
                  <a:pt x="37" y="258"/>
                </a:lnTo>
                <a:lnTo>
                  <a:pt x="36" y="256"/>
                </a:lnTo>
                <a:lnTo>
                  <a:pt x="36" y="253"/>
                </a:lnTo>
                <a:lnTo>
                  <a:pt x="36" y="252"/>
                </a:lnTo>
                <a:lnTo>
                  <a:pt x="35" y="250"/>
                </a:lnTo>
                <a:lnTo>
                  <a:pt x="36" y="249"/>
                </a:lnTo>
                <a:lnTo>
                  <a:pt x="36" y="248"/>
                </a:lnTo>
                <a:lnTo>
                  <a:pt x="36" y="247"/>
                </a:lnTo>
                <a:lnTo>
                  <a:pt x="36" y="245"/>
                </a:lnTo>
                <a:lnTo>
                  <a:pt x="38" y="241"/>
                </a:lnTo>
                <a:lnTo>
                  <a:pt x="38" y="240"/>
                </a:lnTo>
                <a:lnTo>
                  <a:pt x="38" y="239"/>
                </a:lnTo>
                <a:lnTo>
                  <a:pt x="38" y="237"/>
                </a:lnTo>
                <a:lnTo>
                  <a:pt x="38" y="236"/>
                </a:lnTo>
                <a:lnTo>
                  <a:pt x="37" y="231"/>
                </a:lnTo>
                <a:lnTo>
                  <a:pt x="37" y="229"/>
                </a:lnTo>
                <a:lnTo>
                  <a:pt x="37" y="227"/>
                </a:lnTo>
                <a:lnTo>
                  <a:pt x="37" y="226"/>
                </a:lnTo>
                <a:lnTo>
                  <a:pt x="38" y="225"/>
                </a:lnTo>
                <a:lnTo>
                  <a:pt x="38" y="224"/>
                </a:lnTo>
                <a:lnTo>
                  <a:pt x="38" y="223"/>
                </a:lnTo>
                <a:lnTo>
                  <a:pt x="40" y="220"/>
                </a:lnTo>
                <a:lnTo>
                  <a:pt x="41" y="219"/>
                </a:lnTo>
                <a:lnTo>
                  <a:pt x="43" y="214"/>
                </a:lnTo>
                <a:lnTo>
                  <a:pt x="44" y="210"/>
                </a:lnTo>
                <a:lnTo>
                  <a:pt x="45" y="208"/>
                </a:lnTo>
                <a:lnTo>
                  <a:pt x="47" y="203"/>
                </a:lnTo>
                <a:lnTo>
                  <a:pt x="51" y="192"/>
                </a:lnTo>
                <a:lnTo>
                  <a:pt x="52" y="187"/>
                </a:lnTo>
                <a:lnTo>
                  <a:pt x="55" y="181"/>
                </a:lnTo>
                <a:lnTo>
                  <a:pt x="55" y="179"/>
                </a:lnTo>
                <a:lnTo>
                  <a:pt x="56" y="177"/>
                </a:lnTo>
                <a:lnTo>
                  <a:pt x="56" y="175"/>
                </a:lnTo>
                <a:lnTo>
                  <a:pt x="57" y="173"/>
                </a:lnTo>
                <a:lnTo>
                  <a:pt x="57" y="171"/>
                </a:lnTo>
                <a:lnTo>
                  <a:pt x="57" y="169"/>
                </a:lnTo>
                <a:lnTo>
                  <a:pt x="57" y="167"/>
                </a:lnTo>
                <a:lnTo>
                  <a:pt x="57" y="165"/>
                </a:lnTo>
                <a:lnTo>
                  <a:pt x="57" y="165"/>
                </a:lnTo>
                <a:lnTo>
                  <a:pt x="57" y="165"/>
                </a:lnTo>
                <a:lnTo>
                  <a:pt x="58" y="165"/>
                </a:lnTo>
                <a:lnTo>
                  <a:pt x="59" y="164"/>
                </a:lnTo>
                <a:lnTo>
                  <a:pt x="60" y="163"/>
                </a:lnTo>
                <a:lnTo>
                  <a:pt x="60" y="163"/>
                </a:lnTo>
                <a:lnTo>
                  <a:pt x="61" y="162"/>
                </a:lnTo>
                <a:lnTo>
                  <a:pt x="65" y="157"/>
                </a:lnTo>
                <a:lnTo>
                  <a:pt x="66" y="156"/>
                </a:lnTo>
                <a:lnTo>
                  <a:pt x="67" y="155"/>
                </a:lnTo>
                <a:lnTo>
                  <a:pt x="69" y="154"/>
                </a:lnTo>
                <a:lnTo>
                  <a:pt x="71" y="152"/>
                </a:lnTo>
                <a:lnTo>
                  <a:pt x="72" y="151"/>
                </a:lnTo>
                <a:lnTo>
                  <a:pt x="74" y="150"/>
                </a:lnTo>
                <a:lnTo>
                  <a:pt x="75" y="150"/>
                </a:lnTo>
                <a:lnTo>
                  <a:pt x="76" y="149"/>
                </a:lnTo>
                <a:lnTo>
                  <a:pt x="78" y="149"/>
                </a:lnTo>
                <a:lnTo>
                  <a:pt x="79" y="148"/>
                </a:lnTo>
                <a:lnTo>
                  <a:pt x="81" y="148"/>
                </a:lnTo>
                <a:lnTo>
                  <a:pt x="86" y="147"/>
                </a:lnTo>
                <a:lnTo>
                  <a:pt x="88" y="147"/>
                </a:lnTo>
                <a:lnTo>
                  <a:pt x="91" y="146"/>
                </a:lnTo>
                <a:lnTo>
                  <a:pt x="92" y="146"/>
                </a:lnTo>
                <a:lnTo>
                  <a:pt x="94" y="145"/>
                </a:lnTo>
                <a:lnTo>
                  <a:pt x="95" y="144"/>
                </a:lnTo>
                <a:lnTo>
                  <a:pt x="97" y="143"/>
                </a:lnTo>
                <a:lnTo>
                  <a:pt x="99" y="141"/>
                </a:lnTo>
                <a:lnTo>
                  <a:pt x="100" y="140"/>
                </a:lnTo>
                <a:lnTo>
                  <a:pt x="101" y="140"/>
                </a:lnTo>
                <a:lnTo>
                  <a:pt x="102" y="139"/>
                </a:lnTo>
                <a:lnTo>
                  <a:pt x="102" y="139"/>
                </a:lnTo>
                <a:lnTo>
                  <a:pt x="103" y="139"/>
                </a:lnTo>
                <a:lnTo>
                  <a:pt x="104" y="139"/>
                </a:lnTo>
                <a:lnTo>
                  <a:pt x="105" y="139"/>
                </a:lnTo>
                <a:lnTo>
                  <a:pt x="106" y="140"/>
                </a:lnTo>
                <a:lnTo>
                  <a:pt x="107" y="141"/>
                </a:lnTo>
                <a:lnTo>
                  <a:pt x="111" y="145"/>
                </a:lnTo>
                <a:lnTo>
                  <a:pt x="113" y="146"/>
                </a:lnTo>
                <a:lnTo>
                  <a:pt x="113" y="147"/>
                </a:lnTo>
                <a:lnTo>
                  <a:pt x="114" y="147"/>
                </a:lnTo>
                <a:lnTo>
                  <a:pt x="115" y="147"/>
                </a:lnTo>
                <a:lnTo>
                  <a:pt x="116" y="148"/>
                </a:lnTo>
                <a:lnTo>
                  <a:pt x="117" y="148"/>
                </a:lnTo>
                <a:lnTo>
                  <a:pt x="118" y="147"/>
                </a:lnTo>
                <a:lnTo>
                  <a:pt x="119" y="147"/>
                </a:lnTo>
                <a:lnTo>
                  <a:pt x="119" y="146"/>
                </a:lnTo>
                <a:lnTo>
                  <a:pt x="120" y="145"/>
                </a:lnTo>
                <a:lnTo>
                  <a:pt x="121" y="144"/>
                </a:lnTo>
                <a:lnTo>
                  <a:pt x="121" y="143"/>
                </a:lnTo>
                <a:lnTo>
                  <a:pt x="122" y="142"/>
                </a:lnTo>
                <a:lnTo>
                  <a:pt x="122" y="141"/>
                </a:lnTo>
                <a:lnTo>
                  <a:pt x="121" y="139"/>
                </a:lnTo>
                <a:lnTo>
                  <a:pt x="121" y="138"/>
                </a:lnTo>
                <a:lnTo>
                  <a:pt x="120" y="134"/>
                </a:lnTo>
                <a:lnTo>
                  <a:pt x="119" y="132"/>
                </a:lnTo>
                <a:lnTo>
                  <a:pt x="119" y="129"/>
                </a:lnTo>
                <a:lnTo>
                  <a:pt x="119" y="127"/>
                </a:lnTo>
                <a:lnTo>
                  <a:pt x="118" y="126"/>
                </a:lnTo>
                <a:lnTo>
                  <a:pt x="119" y="124"/>
                </a:lnTo>
                <a:lnTo>
                  <a:pt x="119" y="119"/>
                </a:lnTo>
                <a:lnTo>
                  <a:pt x="119" y="116"/>
                </a:lnTo>
                <a:lnTo>
                  <a:pt x="120" y="114"/>
                </a:lnTo>
                <a:lnTo>
                  <a:pt x="119" y="111"/>
                </a:lnTo>
                <a:lnTo>
                  <a:pt x="119" y="109"/>
                </a:lnTo>
                <a:lnTo>
                  <a:pt x="118" y="107"/>
                </a:lnTo>
                <a:lnTo>
                  <a:pt x="118" y="105"/>
                </a:lnTo>
                <a:lnTo>
                  <a:pt x="117" y="103"/>
                </a:lnTo>
                <a:lnTo>
                  <a:pt x="115" y="101"/>
                </a:lnTo>
                <a:lnTo>
                  <a:pt x="114" y="99"/>
                </a:lnTo>
                <a:lnTo>
                  <a:pt x="112" y="98"/>
                </a:lnTo>
                <a:lnTo>
                  <a:pt x="111" y="97"/>
                </a:lnTo>
                <a:lnTo>
                  <a:pt x="110" y="96"/>
                </a:lnTo>
                <a:lnTo>
                  <a:pt x="108" y="94"/>
                </a:lnTo>
                <a:lnTo>
                  <a:pt x="100" y="90"/>
                </a:lnTo>
                <a:lnTo>
                  <a:pt x="98" y="89"/>
                </a:lnTo>
                <a:lnTo>
                  <a:pt x="95" y="88"/>
                </a:lnTo>
                <a:lnTo>
                  <a:pt x="94" y="87"/>
                </a:lnTo>
                <a:lnTo>
                  <a:pt x="92" y="86"/>
                </a:lnTo>
                <a:lnTo>
                  <a:pt x="91" y="85"/>
                </a:lnTo>
                <a:lnTo>
                  <a:pt x="90" y="84"/>
                </a:lnTo>
                <a:lnTo>
                  <a:pt x="89" y="83"/>
                </a:lnTo>
                <a:lnTo>
                  <a:pt x="88" y="82"/>
                </a:lnTo>
                <a:lnTo>
                  <a:pt x="88" y="80"/>
                </a:lnTo>
                <a:lnTo>
                  <a:pt x="87" y="79"/>
                </a:lnTo>
                <a:lnTo>
                  <a:pt x="86" y="77"/>
                </a:lnTo>
                <a:lnTo>
                  <a:pt x="84" y="70"/>
                </a:lnTo>
                <a:lnTo>
                  <a:pt x="80" y="64"/>
                </a:lnTo>
                <a:lnTo>
                  <a:pt x="79" y="60"/>
                </a:lnTo>
                <a:lnTo>
                  <a:pt x="78" y="57"/>
                </a:lnTo>
                <a:lnTo>
                  <a:pt x="76" y="52"/>
                </a:lnTo>
                <a:lnTo>
                  <a:pt x="75" y="48"/>
                </a:lnTo>
                <a:lnTo>
                  <a:pt x="74" y="46"/>
                </a:lnTo>
                <a:lnTo>
                  <a:pt x="73" y="44"/>
                </a:lnTo>
                <a:lnTo>
                  <a:pt x="72" y="43"/>
                </a:lnTo>
                <a:lnTo>
                  <a:pt x="72" y="42"/>
                </a:lnTo>
                <a:lnTo>
                  <a:pt x="71" y="41"/>
                </a:lnTo>
                <a:lnTo>
                  <a:pt x="70" y="40"/>
                </a:lnTo>
                <a:lnTo>
                  <a:pt x="69" y="39"/>
                </a:lnTo>
                <a:lnTo>
                  <a:pt x="65" y="36"/>
                </a:lnTo>
                <a:lnTo>
                  <a:pt x="61" y="32"/>
                </a:lnTo>
                <a:lnTo>
                  <a:pt x="59" y="31"/>
                </a:lnTo>
                <a:lnTo>
                  <a:pt x="58" y="30"/>
                </a:lnTo>
                <a:lnTo>
                  <a:pt x="58" y="29"/>
                </a:lnTo>
                <a:lnTo>
                  <a:pt x="57" y="28"/>
                </a:lnTo>
                <a:lnTo>
                  <a:pt x="56" y="27"/>
                </a:lnTo>
                <a:lnTo>
                  <a:pt x="56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5" y="22"/>
                </a:lnTo>
                <a:lnTo>
                  <a:pt x="55" y="21"/>
                </a:lnTo>
                <a:lnTo>
                  <a:pt x="56" y="19"/>
                </a:lnTo>
                <a:lnTo>
                  <a:pt x="56" y="17"/>
                </a:lnTo>
                <a:lnTo>
                  <a:pt x="57" y="15"/>
                </a:lnTo>
                <a:lnTo>
                  <a:pt x="58" y="13"/>
                </a:lnTo>
                <a:lnTo>
                  <a:pt x="60" y="11"/>
                </a:lnTo>
                <a:lnTo>
                  <a:pt x="61" y="9"/>
                </a:lnTo>
                <a:lnTo>
                  <a:pt x="63" y="7"/>
                </a:lnTo>
                <a:lnTo>
                  <a:pt x="64" y="5"/>
                </a:lnTo>
                <a:lnTo>
                  <a:pt x="65" y="4"/>
                </a:lnTo>
                <a:lnTo>
                  <a:pt x="67" y="3"/>
                </a:lnTo>
                <a:lnTo>
                  <a:pt x="69" y="1"/>
                </a:lnTo>
                <a:lnTo>
                  <a:pt x="70" y="1"/>
                </a:lnTo>
                <a:lnTo>
                  <a:pt x="71" y="0"/>
                </a:lnTo>
                <a:lnTo>
                  <a:pt x="72" y="0"/>
                </a:lnTo>
                <a:lnTo>
                  <a:pt x="72" y="0"/>
                </a:lnTo>
                <a:lnTo>
                  <a:pt x="72" y="1"/>
                </a:lnTo>
                <a:lnTo>
                  <a:pt x="74" y="2"/>
                </a:lnTo>
                <a:lnTo>
                  <a:pt x="76" y="4"/>
                </a:lnTo>
                <a:lnTo>
                  <a:pt x="79" y="5"/>
                </a:lnTo>
                <a:lnTo>
                  <a:pt x="83" y="7"/>
                </a:lnTo>
                <a:lnTo>
                  <a:pt x="89" y="11"/>
                </a:lnTo>
                <a:lnTo>
                  <a:pt x="92" y="13"/>
                </a:lnTo>
                <a:lnTo>
                  <a:pt x="96" y="15"/>
                </a:lnTo>
                <a:lnTo>
                  <a:pt x="97" y="15"/>
                </a:lnTo>
                <a:lnTo>
                  <a:pt x="98" y="16"/>
                </a:lnTo>
                <a:lnTo>
                  <a:pt x="100" y="16"/>
                </a:lnTo>
                <a:lnTo>
                  <a:pt x="102" y="16"/>
                </a:lnTo>
                <a:lnTo>
                  <a:pt x="104" y="16"/>
                </a:lnTo>
                <a:lnTo>
                  <a:pt x="107" y="16"/>
                </a:lnTo>
                <a:lnTo>
                  <a:pt x="109" y="16"/>
                </a:lnTo>
                <a:lnTo>
                  <a:pt x="111" y="16"/>
                </a:lnTo>
                <a:lnTo>
                  <a:pt x="113" y="17"/>
                </a:lnTo>
                <a:lnTo>
                  <a:pt x="118" y="18"/>
                </a:lnTo>
                <a:lnTo>
                  <a:pt x="120" y="19"/>
                </a:lnTo>
                <a:lnTo>
                  <a:pt x="122" y="20"/>
                </a:lnTo>
                <a:lnTo>
                  <a:pt x="130" y="23"/>
                </a:lnTo>
                <a:lnTo>
                  <a:pt x="133" y="24"/>
                </a:lnTo>
                <a:lnTo>
                  <a:pt x="135" y="25"/>
                </a:lnTo>
                <a:lnTo>
                  <a:pt x="138" y="26"/>
                </a:lnTo>
                <a:lnTo>
                  <a:pt x="142" y="27"/>
                </a:lnTo>
                <a:lnTo>
                  <a:pt x="144" y="27"/>
                </a:lnTo>
                <a:lnTo>
                  <a:pt x="149" y="28"/>
                </a:lnTo>
                <a:lnTo>
                  <a:pt x="151" y="28"/>
                </a:lnTo>
                <a:lnTo>
                  <a:pt x="152" y="28"/>
                </a:lnTo>
                <a:lnTo>
                  <a:pt x="154" y="29"/>
                </a:lnTo>
                <a:lnTo>
                  <a:pt x="155" y="30"/>
                </a:lnTo>
                <a:lnTo>
                  <a:pt x="157" y="31"/>
                </a:lnTo>
                <a:lnTo>
                  <a:pt x="159" y="32"/>
                </a:lnTo>
                <a:lnTo>
                  <a:pt x="160" y="33"/>
                </a:lnTo>
                <a:lnTo>
                  <a:pt x="167" y="37"/>
                </a:lnTo>
                <a:lnTo>
                  <a:pt x="169" y="38"/>
                </a:lnTo>
                <a:lnTo>
                  <a:pt x="170" y="38"/>
                </a:lnTo>
                <a:lnTo>
                  <a:pt x="172" y="39"/>
                </a:lnTo>
                <a:lnTo>
                  <a:pt x="174" y="39"/>
                </a:lnTo>
                <a:lnTo>
                  <a:pt x="175" y="39"/>
                </a:lnTo>
                <a:lnTo>
                  <a:pt x="177" y="40"/>
                </a:lnTo>
                <a:lnTo>
                  <a:pt x="179" y="40"/>
                </a:lnTo>
                <a:lnTo>
                  <a:pt x="185" y="39"/>
                </a:lnTo>
                <a:lnTo>
                  <a:pt x="187" y="39"/>
                </a:lnTo>
                <a:lnTo>
                  <a:pt x="188" y="39"/>
                </a:lnTo>
                <a:lnTo>
                  <a:pt x="189" y="39"/>
                </a:lnTo>
                <a:lnTo>
                  <a:pt x="191" y="40"/>
                </a:lnTo>
                <a:lnTo>
                  <a:pt x="191" y="40"/>
                </a:lnTo>
                <a:lnTo>
                  <a:pt x="192" y="40"/>
                </a:lnTo>
                <a:lnTo>
                  <a:pt x="193" y="41"/>
                </a:lnTo>
                <a:lnTo>
                  <a:pt x="193" y="42"/>
                </a:lnTo>
                <a:lnTo>
                  <a:pt x="194" y="42"/>
                </a:lnTo>
                <a:lnTo>
                  <a:pt x="195" y="44"/>
                </a:lnTo>
                <a:lnTo>
                  <a:pt x="197" y="50"/>
                </a:lnTo>
                <a:lnTo>
                  <a:pt x="198" y="52"/>
                </a:lnTo>
                <a:lnTo>
                  <a:pt x="200" y="54"/>
                </a:lnTo>
                <a:lnTo>
                  <a:pt x="201" y="57"/>
                </a:lnTo>
                <a:lnTo>
                  <a:pt x="203" y="59"/>
                </a:lnTo>
                <a:lnTo>
                  <a:pt x="205" y="61"/>
                </a:lnTo>
                <a:lnTo>
                  <a:pt x="206" y="63"/>
                </a:lnTo>
                <a:lnTo>
                  <a:pt x="207" y="64"/>
                </a:lnTo>
                <a:lnTo>
                  <a:pt x="209" y="66"/>
                </a:lnTo>
                <a:lnTo>
                  <a:pt x="211" y="67"/>
                </a:lnTo>
                <a:lnTo>
                  <a:pt x="213" y="69"/>
                </a:lnTo>
                <a:lnTo>
                  <a:pt x="216" y="71"/>
                </a:lnTo>
                <a:lnTo>
                  <a:pt x="217" y="72"/>
                </a:lnTo>
                <a:lnTo>
                  <a:pt x="219" y="73"/>
                </a:lnTo>
                <a:lnTo>
                  <a:pt x="221" y="74"/>
                </a:lnTo>
                <a:lnTo>
                  <a:pt x="223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8"/>
                </a:lnTo>
                <a:lnTo>
                  <a:pt x="230" y="78"/>
                </a:lnTo>
                <a:lnTo>
                  <a:pt x="232" y="79"/>
                </a:lnTo>
                <a:lnTo>
                  <a:pt x="233" y="79"/>
                </a:lnTo>
                <a:lnTo>
                  <a:pt x="235" y="79"/>
                </a:lnTo>
                <a:lnTo>
                  <a:pt x="236" y="79"/>
                </a:lnTo>
                <a:lnTo>
                  <a:pt x="238" y="79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7" name="Freeform 290">
            <a:extLst>
              <a:ext uri="{FF2B5EF4-FFF2-40B4-BE49-F238E27FC236}">
                <a16:creationId xmlns:a16="http://schemas.microsoft.com/office/drawing/2014/main" id="{B2DAB78F-F125-437E-9EFA-DC3D3F09042B}"/>
              </a:ext>
            </a:extLst>
          </p:cNvPr>
          <p:cNvSpPr>
            <a:spLocks/>
          </p:cNvSpPr>
          <p:nvPr/>
        </p:nvSpPr>
        <p:spPr bwMode="auto">
          <a:xfrm>
            <a:off x="10452459" y="5005620"/>
            <a:ext cx="1041595" cy="942036"/>
          </a:xfrm>
          <a:custGeom>
            <a:avLst/>
            <a:gdLst>
              <a:gd name="T0" fmla="*/ 363 w 548"/>
              <a:gd name="T1" fmla="*/ 11 h 453"/>
              <a:gd name="T2" fmla="*/ 390 w 548"/>
              <a:gd name="T3" fmla="*/ 16 h 453"/>
              <a:gd name="T4" fmla="*/ 436 w 548"/>
              <a:gd name="T5" fmla="*/ 14 h 453"/>
              <a:gd name="T6" fmla="*/ 469 w 548"/>
              <a:gd name="T7" fmla="*/ 28 h 453"/>
              <a:gd name="T8" fmla="*/ 495 w 548"/>
              <a:gd name="T9" fmla="*/ 28 h 453"/>
              <a:gd name="T10" fmla="*/ 518 w 548"/>
              <a:gd name="T11" fmla="*/ 54 h 453"/>
              <a:gd name="T12" fmla="*/ 534 w 548"/>
              <a:gd name="T13" fmla="*/ 78 h 453"/>
              <a:gd name="T14" fmla="*/ 547 w 548"/>
              <a:gd name="T15" fmla="*/ 93 h 453"/>
              <a:gd name="T16" fmla="*/ 536 w 548"/>
              <a:gd name="T17" fmla="*/ 126 h 453"/>
              <a:gd name="T18" fmla="*/ 481 w 548"/>
              <a:gd name="T19" fmla="*/ 153 h 453"/>
              <a:gd name="T20" fmla="*/ 452 w 548"/>
              <a:gd name="T21" fmla="*/ 172 h 453"/>
              <a:gd name="T22" fmla="*/ 441 w 548"/>
              <a:gd name="T23" fmla="*/ 204 h 453"/>
              <a:gd name="T24" fmla="*/ 434 w 548"/>
              <a:gd name="T25" fmla="*/ 242 h 453"/>
              <a:gd name="T26" fmla="*/ 429 w 548"/>
              <a:gd name="T27" fmla="*/ 272 h 453"/>
              <a:gd name="T28" fmla="*/ 420 w 548"/>
              <a:gd name="T29" fmla="*/ 313 h 453"/>
              <a:gd name="T30" fmla="*/ 391 w 548"/>
              <a:gd name="T31" fmla="*/ 336 h 453"/>
              <a:gd name="T32" fmla="*/ 355 w 548"/>
              <a:gd name="T33" fmla="*/ 340 h 453"/>
              <a:gd name="T34" fmla="*/ 342 w 548"/>
              <a:gd name="T35" fmla="*/ 366 h 453"/>
              <a:gd name="T36" fmla="*/ 332 w 548"/>
              <a:gd name="T37" fmla="*/ 399 h 453"/>
              <a:gd name="T38" fmla="*/ 297 w 548"/>
              <a:gd name="T39" fmla="*/ 406 h 453"/>
              <a:gd name="T40" fmla="*/ 272 w 548"/>
              <a:gd name="T41" fmla="*/ 432 h 453"/>
              <a:gd name="T42" fmla="*/ 233 w 548"/>
              <a:gd name="T43" fmla="*/ 453 h 453"/>
              <a:gd name="T44" fmla="*/ 211 w 548"/>
              <a:gd name="T45" fmla="*/ 419 h 453"/>
              <a:gd name="T46" fmla="*/ 188 w 548"/>
              <a:gd name="T47" fmla="*/ 404 h 453"/>
              <a:gd name="T48" fmla="*/ 177 w 548"/>
              <a:gd name="T49" fmla="*/ 389 h 453"/>
              <a:gd name="T50" fmla="*/ 142 w 548"/>
              <a:gd name="T51" fmla="*/ 389 h 453"/>
              <a:gd name="T52" fmla="*/ 117 w 548"/>
              <a:gd name="T53" fmla="*/ 377 h 453"/>
              <a:gd name="T54" fmla="*/ 105 w 548"/>
              <a:gd name="T55" fmla="*/ 362 h 453"/>
              <a:gd name="T56" fmla="*/ 74 w 548"/>
              <a:gd name="T57" fmla="*/ 351 h 453"/>
              <a:gd name="T58" fmla="*/ 54 w 548"/>
              <a:gd name="T59" fmla="*/ 339 h 453"/>
              <a:gd name="T60" fmla="*/ 48 w 548"/>
              <a:gd name="T61" fmla="*/ 320 h 453"/>
              <a:gd name="T62" fmla="*/ 34 w 548"/>
              <a:gd name="T63" fmla="*/ 307 h 453"/>
              <a:gd name="T64" fmla="*/ 2 w 548"/>
              <a:gd name="T65" fmla="*/ 313 h 453"/>
              <a:gd name="T66" fmla="*/ 5 w 548"/>
              <a:gd name="T67" fmla="*/ 297 h 453"/>
              <a:gd name="T68" fmla="*/ 25 w 548"/>
              <a:gd name="T69" fmla="*/ 273 h 453"/>
              <a:gd name="T70" fmla="*/ 33 w 548"/>
              <a:gd name="T71" fmla="*/ 252 h 453"/>
              <a:gd name="T72" fmla="*/ 17 w 548"/>
              <a:gd name="T73" fmla="*/ 248 h 453"/>
              <a:gd name="T74" fmla="*/ 10 w 548"/>
              <a:gd name="T75" fmla="*/ 226 h 453"/>
              <a:gd name="T76" fmla="*/ 9 w 548"/>
              <a:gd name="T77" fmla="*/ 197 h 453"/>
              <a:gd name="T78" fmla="*/ 24 w 548"/>
              <a:gd name="T79" fmla="*/ 178 h 453"/>
              <a:gd name="T80" fmla="*/ 55 w 548"/>
              <a:gd name="T81" fmla="*/ 168 h 453"/>
              <a:gd name="T82" fmla="*/ 76 w 548"/>
              <a:gd name="T83" fmla="*/ 157 h 453"/>
              <a:gd name="T84" fmla="*/ 95 w 548"/>
              <a:gd name="T85" fmla="*/ 133 h 453"/>
              <a:gd name="T86" fmla="*/ 89 w 548"/>
              <a:gd name="T87" fmla="*/ 108 h 453"/>
              <a:gd name="T88" fmla="*/ 103 w 548"/>
              <a:gd name="T89" fmla="*/ 95 h 453"/>
              <a:gd name="T90" fmla="*/ 109 w 548"/>
              <a:gd name="T91" fmla="*/ 109 h 453"/>
              <a:gd name="T92" fmla="*/ 137 w 548"/>
              <a:gd name="T93" fmla="*/ 115 h 453"/>
              <a:gd name="T94" fmla="*/ 157 w 548"/>
              <a:gd name="T95" fmla="*/ 118 h 453"/>
              <a:gd name="T96" fmla="*/ 165 w 548"/>
              <a:gd name="T97" fmla="*/ 99 h 453"/>
              <a:gd name="T98" fmla="*/ 193 w 548"/>
              <a:gd name="T99" fmla="*/ 94 h 453"/>
              <a:gd name="T100" fmla="*/ 212 w 548"/>
              <a:gd name="T101" fmla="*/ 95 h 453"/>
              <a:gd name="T102" fmla="*/ 218 w 548"/>
              <a:gd name="T103" fmla="*/ 80 h 453"/>
              <a:gd name="T104" fmla="*/ 216 w 548"/>
              <a:gd name="T105" fmla="*/ 65 h 453"/>
              <a:gd name="T106" fmla="*/ 229 w 548"/>
              <a:gd name="T107" fmla="*/ 63 h 453"/>
              <a:gd name="T108" fmla="*/ 246 w 548"/>
              <a:gd name="T109" fmla="*/ 63 h 453"/>
              <a:gd name="T110" fmla="*/ 272 w 548"/>
              <a:gd name="T111" fmla="*/ 68 h 453"/>
              <a:gd name="T112" fmla="*/ 282 w 548"/>
              <a:gd name="T113" fmla="*/ 40 h 453"/>
              <a:gd name="T114" fmla="*/ 298 w 548"/>
              <a:gd name="T115" fmla="*/ 22 h 453"/>
              <a:gd name="T116" fmla="*/ 318 w 548"/>
              <a:gd name="T117" fmla="*/ 17 h 453"/>
              <a:gd name="T118" fmla="*/ 331 w 548"/>
              <a:gd name="T119" fmla="*/ 6 h 453"/>
              <a:gd name="T120" fmla="*/ 340 w 548"/>
              <a:gd name="T121" fmla="*/ 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8" h="453">
                <a:moveTo>
                  <a:pt x="341" y="0"/>
                </a:moveTo>
                <a:lnTo>
                  <a:pt x="343" y="0"/>
                </a:lnTo>
                <a:lnTo>
                  <a:pt x="345" y="0"/>
                </a:lnTo>
                <a:lnTo>
                  <a:pt x="348" y="1"/>
                </a:lnTo>
                <a:lnTo>
                  <a:pt x="350" y="2"/>
                </a:lnTo>
                <a:lnTo>
                  <a:pt x="352" y="2"/>
                </a:lnTo>
                <a:lnTo>
                  <a:pt x="354" y="3"/>
                </a:lnTo>
                <a:lnTo>
                  <a:pt x="356" y="4"/>
                </a:lnTo>
                <a:lnTo>
                  <a:pt x="358" y="5"/>
                </a:lnTo>
                <a:lnTo>
                  <a:pt x="359" y="6"/>
                </a:lnTo>
                <a:lnTo>
                  <a:pt x="361" y="8"/>
                </a:lnTo>
                <a:lnTo>
                  <a:pt x="362" y="9"/>
                </a:lnTo>
                <a:lnTo>
                  <a:pt x="363" y="10"/>
                </a:lnTo>
                <a:lnTo>
                  <a:pt x="363" y="11"/>
                </a:lnTo>
                <a:lnTo>
                  <a:pt x="366" y="15"/>
                </a:lnTo>
                <a:lnTo>
                  <a:pt x="366" y="16"/>
                </a:lnTo>
                <a:lnTo>
                  <a:pt x="367" y="17"/>
                </a:lnTo>
                <a:lnTo>
                  <a:pt x="368" y="18"/>
                </a:lnTo>
                <a:lnTo>
                  <a:pt x="368" y="18"/>
                </a:lnTo>
                <a:lnTo>
                  <a:pt x="369" y="19"/>
                </a:lnTo>
                <a:lnTo>
                  <a:pt x="370" y="19"/>
                </a:lnTo>
                <a:lnTo>
                  <a:pt x="371" y="20"/>
                </a:lnTo>
                <a:lnTo>
                  <a:pt x="373" y="20"/>
                </a:lnTo>
                <a:lnTo>
                  <a:pt x="374" y="20"/>
                </a:lnTo>
                <a:lnTo>
                  <a:pt x="375" y="20"/>
                </a:lnTo>
                <a:lnTo>
                  <a:pt x="377" y="19"/>
                </a:lnTo>
                <a:lnTo>
                  <a:pt x="380" y="19"/>
                </a:lnTo>
                <a:lnTo>
                  <a:pt x="390" y="16"/>
                </a:lnTo>
                <a:lnTo>
                  <a:pt x="395" y="14"/>
                </a:lnTo>
                <a:lnTo>
                  <a:pt x="398" y="13"/>
                </a:lnTo>
                <a:lnTo>
                  <a:pt x="404" y="12"/>
                </a:lnTo>
                <a:lnTo>
                  <a:pt x="408" y="12"/>
                </a:lnTo>
                <a:lnTo>
                  <a:pt x="412" y="11"/>
                </a:lnTo>
                <a:lnTo>
                  <a:pt x="417" y="11"/>
                </a:lnTo>
                <a:lnTo>
                  <a:pt x="420" y="11"/>
                </a:lnTo>
                <a:lnTo>
                  <a:pt x="421" y="12"/>
                </a:lnTo>
                <a:lnTo>
                  <a:pt x="422" y="12"/>
                </a:lnTo>
                <a:lnTo>
                  <a:pt x="427" y="13"/>
                </a:lnTo>
                <a:lnTo>
                  <a:pt x="428" y="13"/>
                </a:lnTo>
                <a:lnTo>
                  <a:pt x="430" y="14"/>
                </a:lnTo>
                <a:lnTo>
                  <a:pt x="434" y="14"/>
                </a:lnTo>
                <a:lnTo>
                  <a:pt x="436" y="14"/>
                </a:lnTo>
                <a:lnTo>
                  <a:pt x="438" y="14"/>
                </a:lnTo>
                <a:lnTo>
                  <a:pt x="439" y="15"/>
                </a:lnTo>
                <a:lnTo>
                  <a:pt x="441" y="16"/>
                </a:lnTo>
                <a:lnTo>
                  <a:pt x="442" y="17"/>
                </a:lnTo>
                <a:lnTo>
                  <a:pt x="444" y="18"/>
                </a:lnTo>
                <a:lnTo>
                  <a:pt x="449" y="22"/>
                </a:lnTo>
                <a:lnTo>
                  <a:pt x="451" y="23"/>
                </a:lnTo>
                <a:lnTo>
                  <a:pt x="452" y="24"/>
                </a:lnTo>
                <a:lnTo>
                  <a:pt x="454" y="24"/>
                </a:lnTo>
                <a:lnTo>
                  <a:pt x="456" y="25"/>
                </a:lnTo>
                <a:lnTo>
                  <a:pt x="457" y="26"/>
                </a:lnTo>
                <a:lnTo>
                  <a:pt x="459" y="26"/>
                </a:lnTo>
                <a:lnTo>
                  <a:pt x="467" y="28"/>
                </a:lnTo>
                <a:lnTo>
                  <a:pt x="469" y="28"/>
                </a:lnTo>
                <a:lnTo>
                  <a:pt x="473" y="29"/>
                </a:lnTo>
                <a:lnTo>
                  <a:pt x="475" y="29"/>
                </a:lnTo>
                <a:lnTo>
                  <a:pt x="476" y="29"/>
                </a:lnTo>
                <a:lnTo>
                  <a:pt x="477" y="29"/>
                </a:lnTo>
                <a:lnTo>
                  <a:pt x="479" y="28"/>
                </a:lnTo>
                <a:lnTo>
                  <a:pt x="480" y="28"/>
                </a:lnTo>
                <a:lnTo>
                  <a:pt x="485" y="27"/>
                </a:lnTo>
                <a:lnTo>
                  <a:pt x="487" y="27"/>
                </a:lnTo>
                <a:lnTo>
                  <a:pt x="487" y="27"/>
                </a:lnTo>
                <a:lnTo>
                  <a:pt x="489" y="27"/>
                </a:lnTo>
                <a:lnTo>
                  <a:pt x="490" y="27"/>
                </a:lnTo>
                <a:lnTo>
                  <a:pt x="491" y="27"/>
                </a:lnTo>
                <a:lnTo>
                  <a:pt x="493" y="28"/>
                </a:lnTo>
                <a:lnTo>
                  <a:pt x="495" y="28"/>
                </a:lnTo>
                <a:lnTo>
                  <a:pt x="496" y="29"/>
                </a:lnTo>
                <a:lnTo>
                  <a:pt x="497" y="30"/>
                </a:lnTo>
                <a:lnTo>
                  <a:pt x="498" y="31"/>
                </a:lnTo>
                <a:lnTo>
                  <a:pt x="499" y="33"/>
                </a:lnTo>
                <a:lnTo>
                  <a:pt x="499" y="34"/>
                </a:lnTo>
                <a:lnTo>
                  <a:pt x="502" y="39"/>
                </a:lnTo>
                <a:lnTo>
                  <a:pt x="504" y="41"/>
                </a:lnTo>
                <a:lnTo>
                  <a:pt x="505" y="43"/>
                </a:lnTo>
                <a:lnTo>
                  <a:pt x="506" y="44"/>
                </a:lnTo>
                <a:lnTo>
                  <a:pt x="507" y="46"/>
                </a:lnTo>
                <a:lnTo>
                  <a:pt x="508" y="47"/>
                </a:lnTo>
                <a:lnTo>
                  <a:pt x="509" y="48"/>
                </a:lnTo>
                <a:lnTo>
                  <a:pt x="511" y="49"/>
                </a:lnTo>
                <a:lnTo>
                  <a:pt x="518" y="54"/>
                </a:lnTo>
                <a:lnTo>
                  <a:pt x="520" y="56"/>
                </a:lnTo>
                <a:lnTo>
                  <a:pt x="521" y="57"/>
                </a:lnTo>
                <a:lnTo>
                  <a:pt x="522" y="57"/>
                </a:lnTo>
                <a:lnTo>
                  <a:pt x="523" y="59"/>
                </a:lnTo>
                <a:lnTo>
                  <a:pt x="526" y="63"/>
                </a:lnTo>
                <a:lnTo>
                  <a:pt x="527" y="64"/>
                </a:lnTo>
                <a:lnTo>
                  <a:pt x="527" y="65"/>
                </a:lnTo>
                <a:lnTo>
                  <a:pt x="528" y="66"/>
                </a:lnTo>
                <a:lnTo>
                  <a:pt x="529" y="67"/>
                </a:lnTo>
                <a:lnTo>
                  <a:pt x="531" y="73"/>
                </a:lnTo>
                <a:lnTo>
                  <a:pt x="532" y="75"/>
                </a:lnTo>
                <a:lnTo>
                  <a:pt x="532" y="76"/>
                </a:lnTo>
                <a:lnTo>
                  <a:pt x="533" y="77"/>
                </a:lnTo>
                <a:lnTo>
                  <a:pt x="534" y="78"/>
                </a:lnTo>
                <a:lnTo>
                  <a:pt x="534" y="79"/>
                </a:lnTo>
                <a:lnTo>
                  <a:pt x="535" y="80"/>
                </a:lnTo>
                <a:lnTo>
                  <a:pt x="536" y="81"/>
                </a:lnTo>
                <a:lnTo>
                  <a:pt x="538" y="82"/>
                </a:lnTo>
                <a:lnTo>
                  <a:pt x="539" y="83"/>
                </a:lnTo>
                <a:lnTo>
                  <a:pt x="541" y="84"/>
                </a:lnTo>
                <a:lnTo>
                  <a:pt x="542" y="84"/>
                </a:lnTo>
                <a:lnTo>
                  <a:pt x="544" y="85"/>
                </a:lnTo>
                <a:lnTo>
                  <a:pt x="544" y="85"/>
                </a:lnTo>
                <a:lnTo>
                  <a:pt x="545" y="85"/>
                </a:lnTo>
                <a:lnTo>
                  <a:pt x="545" y="86"/>
                </a:lnTo>
                <a:lnTo>
                  <a:pt x="546" y="87"/>
                </a:lnTo>
                <a:lnTo>
                  <a:pt x="547" y="90"/>
                </a:lnTo>
                <a:lnTo>
                  <a:pt x="547" y="93"/>
                </a:lnTo>
                <a:lnTo>
                  <a:pt x="548" y="95"/>
                </a:lnTo>
                <a:lnTo>
                  <a:pt x="548" y="97"/>
                </a:lnTo>
                <a:lnTo>
                  <a:pt x="548" y="99"/>
                </a:lnTo>
                <a:lnTo>
                  <a:pt x="548" y="102"/>
                </a:lnTo>
                <a:lnTo>
                  <a:pt x="548" y="104"/>
                </a:lnTo>
                <a:lnTo>
                  <a:pt x="547" y="107"/>
                </a:lnTo>
                <a:lnTo>
                  <a:pt x="547" y="109"/>
                </a:lnTo>
                <a:lnTo>
                  <a:pt x="546" y="111"/>
                </a:lnTo>
                <a:lnTo>
                  <a:pt x="545" y="114"/>
                </a:lnTo>
                <a:lnTo>
                  <a:pt x="544" y="116"/>
                </a:lnTo>
                <a:lnTo>
                  <a:pt x="543" y="117"/>
                </a:lnTo>
                <a:lnTo>
                  <a:pt x="542" y="119"/>
                </a:lnTo>
                <a:lnTo>
                  <a:pt x="538" y="124"/>
                </a:lnTo>
                <a:lnTo>
                  <a:pt x="536" y="126"/>
                </a:lnTo>
                <a:lnTo>
                  <a:pt x="535" y="128"/>
                </a:lnTo>
                <a:lnTo>
                  <a:pt x="533" y="130"/>
                </a:lnTo>
                <a:lnTo>
                  <a:pt x="531" y="131"/>
                </a:lnTo>
                <a:lnTo>
                  <a:pt x="529" y="132"/>
                </a:lnTo>
                <a:lnTo>
                  <a:pt x="527" y="133"/>
                </a:lnTo>
                <a:lnTo>
                  <a:pt x="523" y="135"/>
                </a:lnTo>
                <a:lnTo>
                  <a:pt x="515" y="139"/>
                </a:lnTo>
                <a:lnTo>
                  <a:pt x="507" y="143"/>
                </a:lnTo>
                <a:lnTo>
                  <a:pt x="503" y="145"/>
                </a:lnTo>
                <a:lnTo>
                  <a:pt x="500" y="147"/>
                </a:lnTo>
                <a:lnTo>
                  <a:pt x="497" y="148"/>
                </a:lnTo>
                <a:lnTo>
                  <a:pt x="489" y="151"/>
                </a:lnTo>
                <a:lnTo>
                  <a:pt x="484" y="152"/>
                </a:lnTo>
                <a:lnTo>
                  <a:pt x="481" y="153"/>
                </a:lnTo>
                <a:lnTo>
                  <a:pt x="479" y="154"/>
                </a:lnTo>
                <a:lnTo>
                  <a:pt x="471" y="156"/>
                </a:lnTo>
                <a:lnTo>
                  <a:pt x="467" y="157"/>
                </a:lnTo>
                <a:lnTo>
                  <a:pt x="465" y="157"/>
                </a:lnTo>
                <a:lnTo>
                  <a:pt x="463" y="158"/>
                </a:lnTo>
                <a:lnTo>
                  <a:pt x="462" y="159"/>
                </a:lnTo>
                <a:lnTo>
                  <a:pt x="461" y="159"/>
                </a:lnTo>
                <a:lnTo>
                  <a:pt x="459" y="160"/>
                </a:lnTo>
                <a:lnTo>
                  <a:pt x="458" y="161"/>
                </a:lnTo>
                <a:lnTo>
                  <a:pt x="457" y="162"/>
                </a:lnTo>
                <a:lnTo>
                  <a:pt x="456" y="163"/>
                </a:lnTo>
                <a:lnTo>
                  <a:pt x="455" y="165"/>
                </a:lnTo>
                <a:lnTo>
                  <a:pt x="452" y="170"/>
                </a:lnTo>
                <a:lnTo>
                  <a:pt x="452" y="172"/>
                </a:lnTo>
                <a:lnTo>
                  <a:pt x="450" y="174"/>
                </a:lnTo>
                <a:lnTo>
                  <a:pt x="446" y="179"/>
                </a:lnTo>
                <a:lnTo>
                  <a:pt x="445" y="182"/>
                </a:lnTo>
                <a:lnTo>
                  <a:pt x="443" y="184"/>
                </a:lnTo>
                <a:lnTo>
                  <a:pt x="442" y="186"/>
                </a:lnTo>
                <a:lnTo>
                  <a:pt x="441" y="188"/>
                </a:lnTo>
                <a:lnTo>
                  <a:pt x="441" y="190"/>
                </a:lnTo>
                <a:lnTo>
                  <a:pt x="441" y="192"/>
                </a:lnTo>
                <a:lnTo>
                  <a:pt x="441" y="195"/>
                </a:lnTo>
                <a:lnTo>
                  <a:pt x="441" y="197"/>
                </a:lnTo>
                <a:lnTo>
                  <a:pt x="441" y="198"/>
                </a:lnTo>
                <a:lnTo>
                  <a:pt x="441" y="201"/>
                </a:lnTo>
                <a:lnTo>
                  <a:pt x="441" y="203"/>
                </a:lnTo>
                <a:lnTo>
                  <a:pt x="441" y="204"/>
                </a:lnTo>
                <a:lnTo>
                  <a:pt x="441" y="206"/>
                </a:lnTo>
                <a:lnTo>
                  <a:pt x="441" y="207"/>
                </a:lnTo>
                <a:lnTo>
                  <a:pt x="440" y="212"/>
                </a:lnTo>
                <a:lnTo>
                  <a:pt x="440" y="214"/>
                </a:lnTo>
                <a:lnTo>
                  <a:pt x="439" y="216"/>
                </a:lnTo>
                <a:lnTo>
                  <a:pt x="438" y="219"/>
                </a:lnTo>
                <a:lnTo>
                  <a:pt x="436" y="225"/>
                </a:lnTo>
                <a:lnTo>
                  <a:pt x="436" y="226"/>
                </a:lnTo>
                <a:lnTo>
                  <a:pt x="435" y="228"/>
                </a:lnTo>
                <a:lnTo>
                  <a:pt x="435" y="230"/>
                </a:lnTo>
                <a:lnTo>
                  <a:pt x="435" y="233"/>
                </a:lnTo>
                <a:lnTo>
                  <a:pt x="434" y="235"/>
                </a:lnTo>
                <a:lnTo>
                  <a:pt x="434" y="241"/>
                </a:lnTo>
                <a:lnTo>
                  <a:pt x="434" y="242"/>
                </a:lnTo>
                <a:lnTo>
                  <a:pt x="433" y="244"/>
                </a:lnTo>
                <a:lnTo>
                  <a:pt x="433" y="245"/>
                </a:lnTo>
                <a:lnTo>
                  <a:pt x="433" y="246"/>
                </a:lnTo>
                <a:lnTo>
                  <a:pt x="431" y="251"/>
                </a:lnTo>
                <a:lnTo>
                  <a:pt x="430" y="253"/>
                </a:lnTo>
                <a:lnTo>
                  <a:pt x="429" y="258"/>
                </a:lnTo>
                <a:lnTo>
                  <a:pt x="428" y="259"/>
                </a:lnTo>
                <a:lnTo>
                  <a:pt x="428" y="260"/>
                </a:lnTo>
                <a:lnTo>
                  <a:pt x="428" y="262"/>
                </a:lnTo>
                <a:lnTo>
                  <a:pt x="428" y="264"/>
                </a:lnTo>
                <a:lnTo>
                  <a:pt x="428" y="265"/>
                </a:lnTo>
                <a:lnTo>
                  <a:pt x="429" y="269"/>
                </a:lnTo>
                <a:lnTo>
                  <a:pt x="429" y="271"/>
                </a:lnTo>
                <a:lnTo>
                  <a:pt x="429" y="272"/>
                </a:lnTo>
                <a:lnTo>
                  <a:pt x="429" y="273"/>
                </a:lnTo>
                <a:lnTo>
                  <a:pt x="429" y="278"/>
                </a:lnTo>
                <a:lnTo>
                  <a:pt x="428" y="285"/>
                </a:lnTo>
                <a:lnTo>
                  <a:pt x="428" y="287"/>
                </a:lnTo>
                <a:lnTo>
                  <a:pt x="428" y="289"/>
                </a:lnTo>
                <a:lnTo>
                  <a:pt x="428" y="292"/>
                </a:lnTo>
                <a:lnTo>
                  <a:pt x="427" y="293"/>
                </a:lnTo>
                <a:lnTo>
                  <a:pt x="427" y="295"/>
                </a:lnTo>
                <a:lnTo>
                  <a:pt x="426" y="297"/>
                </a:lnTo>
                <a:lnTo>
                  <a:pt x="425" y="299"/>
                </a:lnTo>
                <a:lnTo>
                  <a:pt x="424" y="303"/>
                </a:lnTo>
                <a:lnTo>
                  <a:pt x="422" y="308"/>
                </a:lnTo>
                <a:lnTo>
                  <a:pt x="420" y="312"/>
                </a:lnTo>
                <a:lnTo>
                  <a:pt x="420" y="313"/>
                </a:lnTo>
                <a:lnTo>
                  <a:pt x="418" y="315"/>
                </a:lnTo>
                <a:lnTo>
                  <a:pt x="416" y="319"/>
                </a:lnTo>
                <a:lnTo>
                  <a:pt x="415" y="322"/>
                </a:lnTo>
                <a:lnTo>
                  <a:pt x="413" y="324"/>
                </a:lnTo>
                <a:lnTo>
                  <a:pt x="411" y="326"/>
                </a:lnTo>
                <a:lnTo>
                  <a:pt x="409" y="327"/>
                </a:lnTo>
                <a:lnTo>
                  <a:pt x="407" y="329"/>
                </a:lnTo>
                <a:lnTo>
                  <a:pt x="405" y="331"/>
                </a:lnTo>
                <a:lnTo>
                  <a:pt x="403" y="332"/>
                </a:lnTo>
                <a:lnTo>
                  <a:pt x="399" y="333"/>
                </a:lnTo>
                <a:lnTo>
                  <a:pt x="397" y="334"/>
                </a:lnTo>
                <a:lnTo>
                  <a:pt x="393" y="335"/>
                </a:lnTo>
                <a:lnTo>
                  <a:pt x="392" y="335"/>
                </a:lnTo>
                <a:lnTo>
                  <a:pt x="391" y="336"/>
                </a:lnTo>
                <a:lnTo>
                  <a:pt x="389" y="336"/>
                </a:lnTo>
                <a:lnTo>
                  <a:pt x="388" y="336"/>
                </a:lnTo>
                <a:lnTo>
                  <a:pt x="385" y="336"/>
                </a:lnTo>
                <a:lnTo>
                  <a:pt x="379" y="336"/>
                </a:lnTo>
                <a:lnTo>
                  <a:pt x="376" y="336"/>
                </a:lnTo>
                <a:lnTo>
                  <a:pt x="375" y="336"/>
                </a:lnTo>
                <a:lnTo>
                  <a:pt x="367" y="337"/>
                </a:lnTo>
                <a:lnTo>
                  <a:pt x="364" y="337"/>
                </a:lnTo>
                <a:lnTo>
                  <a:pt x="362" y="337"/>
                </a:lnTo>
                <a:lnTo>
                  <a:pt x="360" y="338"/>
                </a:lnTo>
                <a:lnTo>
                  <a:pt x="358" y="338"/>
                </a:lnTo>
                <a:lnTo>
                  <a:pt x="357" y="339"/>
                </a:lnTo>
                <a:lnTo>
                  <a:pt x="356" y="339"/>
                </a:lnTo>
                <a:lnTo>
                  <a:pt x="355" y="340"/>
                </a:lnTo>
                <a:lnTo>
                  <a:pt x="354" y="340"/>
                </a:lnTo>
                <a:lnTo>
                  <a:pt x="352" y="341"/>
                </a:lnTo>
                <a:lnTo>
                  <a:pt x="351" y="342"/>
                </a:lnTo>
                <a:lnTo>
                  <a:pt x="350" y="343"/>
                </a:lnTo>
                <a:lnTo>
                  <a:pt x="349" y="344"/>
                </a:lnTo>
                <a:lnTo>
                  <a:pt x="349" y="345"/>
                </a:lnTo>
                <a:lnTo>
                  <a:pt x="348" y="346"/>
                </a:lnTo>
                <a:lnTo>
                  <a:pt x="347" y="347"/>
                </a:lnTo>
                <a:lnTo>
                  <a:pt x="347" y="349"/>
                </a:lnTo>
                <a:lnTo>
                  <a:pt x="346" y="350"/>
                </a:lnTo>
                <a:lnTo>
                  <a:pt x="345" y="353"/>
                </a:lnTo>
                <a:lnTo>
                  <a:pt x="344" y="358"/>
                </a:lnTo>
                <a:lnTo>
                  <a:pt x="343" y="363"/>
                </a:lnTo>
                <a:lnTo>
                  <a:pt x="342" y="366"/>
                </a:lnTo>
                <a:lnTo>
                  <a:pt x="342" y="368"/>
                </a:lnTo>
                <a:lnTo>
                  <a:pt x="341" y="370"/>
                </a:lnTo>
                <a:lnTo>
                  <a:pt x="340" y="377"/>
                </a:lnTo>
                <a:lnTo>
                  <a:pt x="340" y="379"/>
                </a:lnTo>
                <a:lnTo>
                  <a:pt x="339" y="382"/>
                </a:lnTo>
                <a:lnTo>
                  <a:pt x="339" y="385"/>
                </a:lnTo>
                <a:lnTo>
                  <a:pt x="338" y="387"/>
                </a:lnTo>
                <a:lnTo>
                  <a:pt x="337" y="390"/>
                </a:lnTo>
                <a:lnTo>
                  <a:pt x="336" y="392"/>
                </a:lnTo>
                <a:lnTo>
                  <a:pt x="335" y="394"/>
                </a:lnTo>
                <a:lnTo>
                  <a:pt x="334" y="396"/>
                </a:lnTo>
                <a:lnTo>
                  <a:pt x="334" y="397"/>
                </a:lnTo>
                <a:lnTo>
                  <a:pt x="333" y="398"/>
                </a:lnTo>
                <a:lnTo>
                  <a:pt x="332" y="399"/>
                </a:lnTo>
                <a:lnTo>
                  <a:pt x="331" y="400"/>
                </a:lnTo>
                <a:lnTo>
                  <a:pt x="330" y="400"/>
                </a:lnTo>
                <a:lnTo>
                  <a:pt x="329" y="401"/>
                </a:lnTo>
                <a:lnTo>
                  <a:pt x="328" y="402"/>
                </a:lnTo>
                <a:lnTo>
                  <a:pt x="327" y="402"/>
                </a:lnTo>
                <a:lnTo>
                  <a:pt x="326" y="402"/>
                </a:lnTo>
                <a:lnTo>
                  <a:pt x="324" y="403"/>
                </a:lnTo>
                <a:lnTo>
                  <a:pt x="323" y="403"/>
                </a:lnTo>
                <a:lnTo>
                  <a:pt x="310" y="403"/>
                </a:lnTo>
                <a:lnTo>
                  <a:pt x="307" y="404"/>
                </a:lnTo>
                <a:lnTo>
                  <a:pt x="305" y="404"/>
                </a:lnTo>
                <a:lnTo>
                  <a:pt x="301" y="405"/>
                </a:lnTo>
                <a:lnTo>
                  <a:pt x="298" y="405"/>
                </a:lnTo>
                <a:lnTo>
                  <a:pt x="297" y="406"/>
                </a:lnTo>
                <a:lnTo>
                  <a:pt x="296" y="406"/>
                </a:lnTo>
                <a:lnTo>
                  <a:pt x="294" y="407"/>
                </a:lnTo>
                <a:lnTo>
                  <a:pt x="293" y="407"/>
                </a:lnTo>
                <a:lnTo>
                  <a:pt x="293" y="407"/>
                </a:lnTo>
                <a:lnTo>
                  <a:pt x="292" y="408"/>
                </a:lnTo>
                <a:lnTo>
                  <a:pt x="290" y="409"/>
                </a:lnTo>
                <a:lnTo>
                  <a:pt x="286" y="414"/>
                </a:lnTo>
                <a:lnTo>
                  <a:pt x="283" y="416"/>
                </a:lnTo>
                <a:lnTo>
                  <a:pt x="281" y="419"/>
                </a:lnTo>
                <a:lnTo>
                  <a:pt x="279" y="421"/>
                </a:lnTo>
                <a:lnTo>
                  <a:pt x="278" y="423"/>
                </a:lnTo>
                <a:lnTo>
                  <a:pt x="275" y="427"/>
                </a:lnTo>
                <a:lnTo>
                  <a:pt x="272" y="431"/>
                </a:lnTo>
                <a:lnTo>
                  <a:pt x="272" y="432"/>
                </a:lnTo>
                <a:lnTo>
                  <a:pt x="270" y="434"/>
                </a:lnTo>
                <a:lnTo>
                  <a:pt x="268" y="436"/>
                </a:lnTo>
                <a:lnTo>
                  <a:pt x="264" y="440"/>
                </a:lnTo>
                <a:lnTo>
                  <a:pt x="262" y="442"/>
                </a:lnTo>
                <a:lnTo>
                  <a:pt x="260" y="444"/>
                </a:lnTo>
                <a:lnTo>
                  <a:pt x="258" y="445"/>
                </a:lnTo>
                <a:lnTo>
                  <a:pt x="256" y="447"/>
                </a:lnTo>
                <a:lnTo>
                  <a:pt x="254" y="448"/>
                </a:lnTo>
                <a:lnTo>
                  <a:pt x="251" y="449"/>
                </a:lnTo>
                <a:lnTo>
                  <a:pt x="245" y="451"/>
                </a:lnTo>
                <a:lnTo>
                  <a:pt x="240" y="452"/>
                </a:lnTo>
                <a:lnTo>
                  <a:pt x="237" y="453"/>
                </a:lnTo>
                <a:lnTo>
                  <a:pt x="234" y="453"/>
                </a:lnTo>
                <a:lnTo>
                  <a:pt x="233" y="453"/>
                </a:lnTo>
                <a:lnTo>
                  <a:pt x="233" y="453"/>
                </a:lnTo>
                <a:lnTo>
                  <a:pt x="232" y="451"/>
                </a:lnTo>
                <a:lnTo>
                  <a:pt x="231" y="449"/>
                </a:lnTo>
                <a:lnTo>
                  <a:pt x="230" y="444"/>
                </a:lnTo>
                <a:lnTo>
                  <a:pt x="229" y="442"/>
                </a:lnTo>
                <a:lnTo>
                  <a:pt x="228" y="441"/>
                </a:lnTo>
                <a:lnTo>
                  <a:pt x="227" y="439"/>
                </a:lnTo>
                <a:lnTo>
                  <a:pt x="224" y="435"/>
                </a:lnTo>
                <a:lnTo>
                  <a:pt x="219" y="428"/>
                </a:lnTo>
                <a:lnTo>
                  <a:pt x="217" y="426"/>
                </a:lnTo>
                <a:lnTo>
                  <a:pt x="216" y="424"/>
                </a:lnTo>
                <a:lnTo>
                  <a:pt x="214" y="422"/>
                </a:lnTo>
                <a:lnTo>
                  <a:pt x="213" y="421"/>
                </a:lnTo>
                <a:lnTo>
                  <a:pt x="211" y="419"/>
                </a:lnTo>
                <a:lnTo>
                  <a:pt x="209" y="418"/>
                </a:lnTo>
                <a:lnTo>
                  <a:pt x="208" y="417"/>
                </a:lnTo>
                <a:lnTo>
                  <a:pt x="198" y="413"/>
                </a:lnTo>
                <a:lnTo>
                  <a:pt x="196" y="412"/>
                </a:lnTo>
                <a:lnTo>
                  <a:pt x="193" y="411"/>
                </a:lnTo>
                <a:lnTo>
                  <a:pt x="192" y="410"/>
                </a:lnTo>
                <a:lnTo>
                  <a:pt x="191" y="410"/>
                </a:lnTo>
                <a:lnTo>
                  <a:pt x="190" y="409"/>
                </a:lnTo>
                <a:lnTo>
                  <a:pt x="190" y="409"/>
                </a:lnTo>
                <a:lnTo>
                  <a:pt x="189" y="408"/>
                </a:lnTo>
                <a:lnTo>
                  <a:pt x="189" y="407"/>
                </a:lnTo>
                <a:lnTo>
                  <a:pt x="188" y="406"/>
                </a:lnTo>
                <a:lnTo>
                  <a:pt x="188" y="406"/>
                </a:lnTo>
                <a:lnTo>
                  <a:pt x="188" y="404"/>
                </a:lnTo>
                <a:lnTo>
                  <a:pt x="188" y="401"/>
                </a:lnTo>
                <a:lnTo>
                  <a:pt x="187" y="399"/>
                </a:lnTo>
                <a:lnTo>
                  <a:pt x="187" y="398"/>
                </a:lnTo>
                <a:lnTo>
                  <a:pt x="187" y="397"/>
                </a:lnTo>
                <a:lnTo>
                  <a:pt x="186" y="397"/>
                </a:lnTo>
                <a:lnTo>
                  <a:pt x="186" y="396"/>
                </a:lnTo>
                <a:lnTo>
                  <a:pt x="186" y="395"/>
                </a:lnTo>
                <a:lnTo>
                  <a:pt x="185" y="394"/>
                </a:lnTo>
                <a:lnTo>
                  <a:pt x="184" y="394"/>
                </a:lnTo>
                <a:lnTo>
                  <a:pt x="183" y="393"/>
                </a:lnTo>
                <a:lnTo>
                  <a:pt x="181" y="391"/>
                </a:lnTo>
                <a:lnTo>
                  <a:pt x="180" y="390"/>
                </a:lnTo>
                <a:lnTo>
                  <a:pt x="178" y="390"/>
                </a:lnTo>
                <a:lnTo>
                  <a:pt x="177" y="389"/>
                </a:lnTo>
                <a:lnTo>
                  <a:pt x="173" y="388"/>
                </a:lnTo>
                <a:lnTo>
                  <a:pt x="170" y="387"/>
                </a:lnTo>
                <a:lnTo>
                  <a:pt x="169" y="386"/>
                </a:lnTo>
                <a:lnTo>
                  <a:pt x="168" y="386"/>
                </a:lnTo>
                <a:lnTo>
                  <a:pt x="167" y="386"/>
                </a:lnTo>
                <a:lnTo>
                  <a:pt x="166" y="386"/>
                </a:lnTo>
                <a:lnTo>
                  <a:pt x="165" y="386"/>
                </a:lnTo>
                <a:lnTo>
                  <a:pt x="160" y="387"/>
                </a:lnTo>
                <a:lnTo>
                  <a:pt x="156" y="387"/>
                </a:lnTo>
                <a:lnTo>
                  <a:pt x="154" y="387"/>
                </a:lnTo>
                <a:lnTo>
                  <a:pt x="151" y="388"/>
                </a:lnTo>
                <a:lnTo>
                  <a:pt x="146" y="389"/>
                </a:lnTo>
                <a:lnTo>
                  <a:pt x="144" y="389"/>
                </a:lnTo>
                <a:lnTo>
                  <a:pt x="142" y="389"/>
                </a:lnTo>
                <a:lnTo>
                  <a:pt x="141" y="389"/>
                </a:lnTo>
                <a:lnTo>
                  <a:pt x="140" y="389"/>
                </a:lnTo>
                <a:lnTo>
                  <a:pt x="139" y="389"/>
                </a:lnTo>
                <a:lnTo>
                  <a:pt x="138" y="389"/>
                </a:lnTo>
                <a:lnTo>
                  <a:pt x="136" y="388"/>
                </a:lnTo>
                <a:lnTo>
                  <a:pt x="135" y="387"/>
                </a:lnTo>
                <a:lnTo>
                  <a:pt x="133" y="386"/>
                </a:lnTo>
                <a:lnTo>
                  <a:pt x="131" y="385"/>
                </a:lnTo>
                <a:lnTo>
                  <a:pt x="123" y="379"/>
                </a:lnTo>
                <a:lnTo>
                  <a:pt x="122" y="378"/>
                </a:lnTo>
                <a:lnTo>
                  <a:pt x="121" y="378"/>
                </a:lnTo>
                <a:lnTo>
                  <a:pt x="120" y="377"/>
                </a:lnTo>
                <a:lnTo>
                  <a:pt x="118" y="377"/>
                </a:lnTo>
                <a:lnTo>
                  <a:pt x="117" y="377"/>
                </a:lnTo>
                <a:lnTo>
                  <a:pt x="114" y="376"/>
                </a:lnTo>
                <a:lnTo>
                  <a:pt x="112" y="376"/>
                </a:lnTo>
                <a:lnTo>
                  <a:pt x="110" y="376"/>
                </a:lnTo>
                <a:lnTo>
                  <a:pt x="109" y="375"/>
                </a:lnTo>
                <a:lnTo>
                  <a:pt x="108" y="375"/>
                </a:lnTo>
                <a:lnTo>
                  <a:pt x="108" y="374"/>
                </a:lnTo>
                <a:lnTo>
                  <a:pt x="107" y="374"/>
                </a:lnTo>
                <a:lnTo>
                  <a:pt x="107" y="373"/>
                </a:lnTo>
                <a:lnTo>
                  <a:pt x="106" y="372"/>
                </a:lnTo>
                <a:lnTo>
                  <a:pt x="106" y="371"/>
                </a:lnTo>
                <a:lnTo>
                  <a:pt x="106" y="370"/>
                </a:lnTo>
                <a:lnTo>
                  <a:pt x="105" y="366"/>
                </a:lnTo>
                <a:lnTo>
                  <a:pt x="105" y="364"/>
                </a:lnTo>
                <a:lnTo>
                  <a:pt x="105" y="362"/>
                </a:lnTo>
                <a:lnTo>
                  <a:pt x="104" y="361"/>
                </a:lnTo>
                <a:lnTo>
                  <a:pt x="104" y="360"/>
                </a:lnTo>
                <a:lnTo>
                  <a:pt x="103" y="360"/>
                </a:lnTo>
                <a:lnTo>
                  <a:pt x="102" y="358"/>
                </a:lnTo>
                <a:lnTo>
                  <a:pt x="101" y="357"/>
                </a:lnTo>
                <a:lnTo>
                  <a:pt x="99" y="356"/>
                </a:lnTo>
                <a:lnTo>
                  <a:pt x="98" y="355"/>
                </a:lnTo>
                <a:lnTo>
                  <a:pt x="97" y="355"/>
                </a:lnTo>
                <a:lnTo>
                  <a:pt x="95" y="354"/>
                </a:lnTo>
                <a:lnTo>
                  <a:pt x="94" y="354"/>
                </a:lnTo>
                <a:lnTo>
                  <a:pt x="87" y="353"/>
                </a:lnTo>
                <a:lnTo>
                  <a:pt x="83" y="352"/>
                </a:lnTo>
                <a:lnTo>
                  <a:pt x="75" y="351"/>
                </a:lnTo>
                <a:lnTo>
                  <a:pt x="74" y="351"/>
                </a:lnTo>
                <a:lnTo>
                  <a:pt x="73" y="351"/>
                </a:lnTo>
                <a:lnTo>
                  <a:pt x="71" y="350"/>
                </a:lnTo>
                <a:lnTo>
                  <a:pt x="71" y="349"/>
                </a:lnTo>
                <a:lnTo>
                  <a:pt x="70" y="349"/>
                </a:lnTo>
                <a:lnTo>
                  <a:pt x="68" y="347"/>
                </a:lnTo>
                <a:lnTo>
                  <a:pt x="66" y="345"/>
                </a:lnTo>
                <a:lnTo>
                  <a:pt x="65" y="344"/>
                </a:lnTo>
                <a:lnTo>
                  <a:pt x="64" y="343"/>
                </a:lnTo>
                <a:lnTo>
                  <a:pt x="63" y="343"/>
                </a:lnTo>
                <a:lnTo>
                  <a:pt x="60" y="342"/>
                </a:lnTo>
                <a:lnTo>
                  <a:pt x="58" y="341"/>
                </a:lnTo>
                <a:lnTo>
                  <a:pt x="57" y="340"/>
                </a:lnTo>
                <a:lnTo>
                  <a:pt x="56" y="340"/>
                </a:lnTo>
                <a:lnTo>
                  <a:pt x="54" y="339"/>
                </a:lnTo>
                <a:lnTo>
                  <a:pt x="50" y="338"/>
                </a:lnTo>
                <a:lnTo>
                  <a:pt x="50" y="338"/>
                </a:lnTo>
                <a:lnTo>
                  <a:pt x="49" y="338"/>
                </a:lnTo>
                <a:lnTo>
                  <a:pt x="49" y="337"/>
                </a:lnTo>
                <a:lnTo>
                  <a:pt x="48" y="336"/>
                </a:lnTo>
                <a:lnTo>
                  <a:pt x="48" y="336"/>
                </a:lnTo>
                <a:lnTo>
                  <a:pt x="48" y="335"/>
                </a:lnTo>
                <a:lnTo>
                  <a:pt x="48" y="334"/>
                </a:lnTo>
                <a:lnTo>
                  <a:pt x="48" y="332"/>
                </a:lnTo>
                <a:lnTo>
                  <a:pt x="48" y="327"/>
                </a:lnTo>
                <a:lnTo>
                  <a:pt x="48" y="324"/>
                </a:lnTo>
                <a:lnTo>
                  <a:pt x="48" y="323"/>
                </a:lnTo>
                <a:lnTo>
                  <a:pt x="48" y="321"/>
                </a:lnTo>
                <a:lnTo>
                  <a:pt x="48" y="320"/>
                </a:lnTo>
                <a:lnTo>
                  <a:pt x="47" y="318"/>
                </a:lnTo>
                <a:lnTo>
                  <a:pt x="47" y="316"/>
                </a:lnTo>
                <a:lnTo>
                  <a:pt x="46" y="315"/>
                </a:lnTo>
                <a:lnTo>
                  <a:pt x="44" y="313"/>
                </a:lnTo>
                <a:lnTo>
                  <a:pt x="43" y="310"/>
                </a:lnTo>
                <a:lnTo>
                  <a:pt x="42" y="309"/>
                </a:lnTo>
                <a:lnTo>
                  <a:pt x="41" y="308"/>
                </a:lnTo>
                <a:lnTo>
                  <a:pt x="40" y="308"/>
                </a:lnTo>
                <a:lnTo>
                  <a:pt x="39" y="307"/>
                </a:lnTo>
                <a:lnTo>
                  <a:pt x="39" y="307"/>
                </a:lnTo>
                <a:lnTo>
                  <a:pt x="38" y="307"/>
                </a:lnTo>
                <a:lnTo>
                  <a:pt x="36" y="307"/>
                </a:lnTo>
                <a:lnTo>
                  <a:pt x="35" y="307"/>
                </a:lnTo>
                <a:lnTo>
                  <a:pt x="34" y="307"/>
                </a:lnTo>
                <a:lnTo>
                  <a:pt x="33" y="307"/>
                </a:lnTo>
                <a:lnTo>
                  <a:pt x="30" y="308"/>
                </a:lnTo>
                <a:lnTo>
                  <a:pt x="28" y="309"/>
                </a:lnTo>
                <a:lnTo>
                  <a:pt x="18" y="312"/>
                </a:lnTo>
                <a:lnTo>
                  <a:pt x="14" y="313"/>
                </a:lnTo>
                <a:lnTo>
                  <a:pt x="12" y="314"/>
                </a:lnTo>
                <a:lnTo>
                  <a:pt x="11" y="314"/>
                </a:lnTo>
                <a:lnTo>
                  <a:pt x="9" y="314"/>
                </a:lnTo>
                <a:lnTo>
                  <a:pt x="7" y="315"/>
                </a:lnTo>
                <a:lnTo>
                  <a:pt x="6" y="314"/>
                </a:lnTo>
                <a:lnTo>
                  <a:pt x="5" y="314"/>
                </a:lnTo>
                <a:lnTo>
                  <a:pt x="4" y="314"/>
                </a:lnTo>
                <a:lnTo>
                  <a:pt x="3" y="314"/>
                </a:lnTo>
                <a:lnTo>
                  <a:pt x="2" y="313"/>
                </a:lnTo>
                <a:lnTo>
                  <a:pt x="1" y="313"/>
                </a:lnTo>
                <a:lnTo>
                  <a:pt x="1" y="312"/>
                </a:lnTo>
                <a:lnTo>
                  <a:pt x="1" y="312"/>
                </a:lnTo>
                <a:lnTo>
                  <a:pt x="0" y="310"/>
                </a:lnTo>
                <a:lnTo>
                  <a:pt x="0" y="308"/>
                </a:lnTo>
                <a:lnTo>
                  <a:pt x="0" y="306"/>
                </a:lnTo>
                <a:lnTo>
                  <a:pt x="0" y="305"/>
                </a:lnTo>
                <a:lnTo>
                  <a:pt x="0" y="303"/>
                </a:lnTo>
                <a:lnTo>
                  <a:pt x="0" y="302"/>
                </a:lnTo>
                <a:lnTo>
                  <a:pt x="1" y="301"/>
                </a:lnTo>
                <a:lnTo>
                  <a:pt x="1" y="300"/>
                </a:lnTo>
                <a:lnTo>
                  <a:pt x="2" y="299"/>
                </a:lnTo>
                <a:lnTo>
                  <a:pt x="3" y="299"/>
                </a:lnTo>
                <a:lnTo>
                  <a:pt x="5" y="297"/>
                </a:lnTo>
                <a:lnTo>
                  <a:pt x="6" y="296"/>
                </a:lnTo>
                <a:lnTo>
                  <a:pt x="7" y="295"/>
                </a:lnTo>
                <a:lnTo>
                  <a:pt x="8" y="294"/>
                </a:lnTo>
                <a:lnTo>
                  <a:pt x="8" y="293"/>
                </a:lnTo>
                <a:lnTo>
                  <a:pt x="10" y="291"/>
                </a:lnTo>
                <a:lnTo>
                  <a:pt x="12" y="285"/>
                </a:lnTo>
                <a:lnTo>
                  <a:pt x="13" y="284"/>
                </a:lnTo>
                <a:lnTo>
                  <a:pt x="14" y="282"/>
                </a:lnTo>
                <a:lnTo>
                  <a:pt x="15" y="280"/>
                </a:lnTo>
                <a:lnTo>
                  <a:pt x="16" y="279"/>
                </a:lnTo>
                <a:lnTo>
                  <a:pt x="18" y="278"/>
                </a:lnTo>
                <a:lnTo>
                  <a:pt x="19" y="277"/>
                </a:lnTo>
                <a:lnTo>
                  <a:pt x="22" y="276"/>
                </a:lnTo>
                <a:lnTo>
                  <a:pt x="25" y="273"/>
                </a:lnTo>
                <a:lnTo>
                  <a:pt x="27" y="271"/>
                </a:lnTo>
                <a:lnTo>
                  <a:pt x="28" y="271"/>
                </a:lnTo>
                <a:lnTo>
                  <a:pt x="28" y="270"/>
                </a:lnTo>
                <a:lnTo>
                  <a:pt x="29" y="269"/>
                </a:lnTo>
                <a:lnTo>
                  <a:pt x="30" y="267"/>
                </a:lnTo>
                <a:lnTo>
                  <a:pt x="31" y="266"/>
                </a:lnTo>
                <a:lnTo>
                  <a:pt x="31" y="264"/>
                </a:lnTo>
                <a:lnTo>
                  <a:pt x="32" y="262"/>
                </a:lnTo>
                <a:lnTo>
                  <a:pt x="33" y="260"/>
                </a:lnTo>
                <a:lnTo>
                  <a:pt x="33" y="258"/>
                </a:lnTo>
                <a:lnTo>
                  <a:pt x="33" y="256"/>
                </a:lnTo>
                <a:lnTo>
                  <a:pt x="33" y="255"/>
                </a:lnTo>
                <a:lnTo>
                  <a:pt x="33" y="254"/>
                </a:lnTo>
                <a:lnTo>
                  <a:pt x="33" y="252"/>
                </a:lnTo>
                <a:lnTo>
                  <a:pt x="33" y="251"/>
                </a:lnTo>
                <a:lnTo>
                  <a:pt x="33" y="250"/>
                </a:lnTo>
                <a:lnTo>
                  <a:pt x="32" y="250"/>
                </a:lnTo>
                <a:lnTo>
                  <a:pt x="32" y="249"/>
                </a:lnTo>
                <a:lnTo>
                  <a:pt x="31" y="249"/>
                </a:lnTo>
                <a:lnTo>
                  <a:pt x="30" y="248"/>
                </a:lnTo>
                <a:lnTo>
                  <a:pt x="29" y="248"/>
                </a:lnTo>
                <a:lnTo>
                  <a:pt x="29" y="248"/>
                </a:lnTo>
                <a:lnTo>
                  <a:pt x="26" y="249"/>
                </a:lnTo>
                <a:lnTo>
                  <a:pt x="25" y="249"/>
                </a:lnTo>
                <a:lnTo>
                  <a:pt x="21" y="249"/>
                </a:lnTo>
                <a:lnTo>
                  <a:pt x="19" y="249"/>
                </a:lnTo>
                <a:lnTo>
                  <a:pt x="18" y="249"/>
                </a:lnTo>
                <a:lnTo>
                  <a:pt x="17" y="248"/>
                </a:lnTo>
                <a:lnTo>
                  <a:pt x="16" y="248"/>
                </a:lnTo>
                <a:lnTo>
                  <a:pt x="16" y="248"/>
                </a:lnTo>
                <a:lnTo>
                  <a:pt x="16" y="247"/>
                </a:lnTo>
                <a:lnTo>
                  <a:pt x="16" y="247"/>
                </a:lnTo>
                <a:lnTo>
                  <a:pt x="15" y="246"/>
                </a:lnTo>
                <a:lnTo>
                  <a:pt x="15" y="245"/>
                </a:lnTo>
                <a:lnTo>
                  <a:pt x="15" y="242"/>
                </a:lnTo>
                <a:lnTo>
                  <a:pt x="15" y="241"/>
                </a:lnTo>
                <a:lnTo>
                  <a:pt x="15" y="240"/>
                </a:lnTo>
                <a:lnTo>
                  <a:pt x="15" y="239"/>
                </a:lnTo>
                <a:lnTo>
                  <a:pt x="15" y="238"/>
                </a:lnTo>
                <a:lnTo>
                  <a:pt x="13" y="234"/>
                </a:lnTo>
                <a:lnTo>
                  <a:pt x="10" y="228"/>
                </a:lnTo>
                <a:lnTo>
                  <a:pt x="10" y="226"/>
                </a:lnTo>
                <a:lnTo>
                  <a:pt x="9" y="224"/>
                </a:lnTo>
                <a:lnTo>
                  <a:pt x="9" y="223"/>
                </a:lnTo>
                <a:lnTo>
                  <a:pt x="9" y="221"/>
                </a:lnTo>
                <a:lnTo>
                  <a:pt x="8" y="216"/>
                </a:lnTo>
                <a:lnTo>
                  <a:pt x="8" y="214"/>
                </a:lnTo>
                <a:lnTo>
                  <a:pt x="8" y="212"/>
                </a:lnTo>
                <a:lnTo>
                  <a:pt x="7" y="208"/>
                </a:lnTo>
                <a:lnTo>
                  <a:pt x="7" y="207"/>
                </a:lnTo>
                <a:lnTo>
                  <a:pt x="6" y="205"/>
                </a:lnTo>
                <a:lnTo>
                  <a:pt x="7" y="203"/>
                </a:lnTo>
                <a:lnTo>
                  <a:pt x="7" y="201"/>
                </a:lnTo>
                <a:lnTo>
                  <a:pt x="7" y="200"/>
                </a:lnTo>
                <a:lnTo>
                  <a:pt x="8" y="199"/>
                </a:lnTo>
                <a:lnTo>
                  <a:pt x="9" y="197"/>
                </a:lnTo>
                <a:lnTo>
                  <a:pt x="10" y="194"/>
                </a:lnTo>
                <a:lnTo>
                  <a:pt x="15" y="184"/>
                </a:lnTo>
                <a:lnTo>
                  <a:pt x="15" y="185"/>
                </a:lnTo>
                <a:lnTo>
                  <a:pt x="16" y="185"/>
                </a:lnTo>
                <a:lnTo>
                  <a:pt x="16" y="185"/>
                </a:lnTo>
                <a:lnTo>
                  <a:pt x="17" y="185"/>
                </a:lnTo>
                <a:lnTo>
                  <a:pt x="17" y="185"/>
                </a:lnTo>
                <a:lnTo>
                  <a:pt x="18" y="185"/>
                </a:lnTo>
                <a:lnTo>
                  <a:pt x="19" y="185"/>
                </a:lnTo>
                <a:lnTo>
                  <a:pt x="19" y="184"/>
                </a:lnTo>
                <a:lnTo>
                  <a:pt x="20" y="183"/>
                </a:lnTo>
                <a:lnTo>
                  <a:pt x="21" y="182"/>
                </a:lnTo>
                <a:lnTo>
                  <a:pt x="22" y="181"/>
                </a:lnTo>
                <a:lnTo>
                  <a:pt x="24" y="178"/>
                </a:lnTo>
                <a:lnTo>
                  <a:pt x="25" y="177"/>
                </a:lnTo>
                <a:lnTo>
                  <a:pt x="25" y="176"/>
                </a:lnTo>
                <a:lnTo>
                  <a:pt x="27" y="175"/>
                </a:lnTo>
                <a:lnTo>
                  <a:pt x="28" y="174"/>
                </a:lnTo>
                <a:lnTo>
                  <a:pt x="29" y="173"/>
                </a:lnTo>
                <a:lnTo>
                  <a:pt x="30" y="173"/>
                </a:lnTo>
                <a:lnTo>
                  <a:pt x="31" y="172"/>
                </a:lnTo>
                <a:lnTo>
                  <a:pt x="32" y="172"/>
                </a:lnTo>
                <a:lnTo>
                  <a:pt x="35" y="172"/>
                </a:lnTo>
                <a:lnTo>
                  <a:pt x="37" y="172"/>
                </a:lnTo>
                <a:lnTo>
                  <a:pt x="45" y="170"/>
                </a:lnTo>
                <a:lnTo>
                  <a:pt x="46" y="170"/>
                </a:lnTo>
                <a:lnTo>
                  <a:pt x="50" y="169"/>
                </a:lnTo>
                <a:lnTo>
                  <a:pt x="55" y="168"/>
                </a:lnTo>
                <a:lnTo>
                  <a:pt x="57" y="168"/>
                </a:lnTo>
                <a:lnTo>
                  <a:pt x="61" y="168"/>
                </a:lnTo>
                <a:lnTo>
                  <a:pt x="63" y="168"/>
                </a:lnTo>
                <a:lnTo>
                  <a:pt x="64" y="168"/>
                </a:lnTo>
                <a:lnTo>
                  <a:pt x="65" y="167"/>
                </a:lnTo>
                <a:lnTo>
                  <a:pt x="66" y="167"/>
                </a:lnTo>
                <a:lnTo>
                  <a:pt x="67" y="166"/>
                </a:lnTo>
                <a:lnTo>
                  <a:pt x="68" y="166"/>
                </a:lnTo>
                <a:lnTo>
                  <a:pt x="69" y="165"/>
                </a:lnTo>
                <a:lnTo>
                  <a:pt x="70" y="164"/>
                </a:lnTo>
                <a:lnTo>
                  <a:pt x="70" y="164"/>
                </a:lnTo>
                <a:lnTo>
                  <a:pt x="72" y="163"/>
                </a:lnTo>
                <a:lnTo>
                  <a:pt x="74" y="160"/>
                </a:lnTo>
                <a:lnTo>
                  <a:pt x="76" y="157"/>
                </a:lnTo>
                <a:lnTo>
                  <a:pt x="79" y="154"/>
                </a:lnTo>
                <a:lnTo>
                  <a:pt x="81" y="149"/>
                </a:lnTo>
                <a:lnTo>
                  <a:pt x="83" y="148"/>
                </a:lnTo>
                <a:lnTo>
                  <a:pt x="84" y="147"/>
                </a:lnTo>
                <a:lnTo>
                  <a:pt x="85" y="146"/>
                </a:lnTo>
                <a:lnTo>
                  <a:pt x="86" y="144"/>
                </a:lnTo>
                <a:lnTo>
                  <a:pt x="89" y="142"/>
                </a:lnTo>
                <a:lnTo>
                  <a:pt x="92" y="139"/>
                </a:lnTo>
                <a:lnTo>
                  <a:pt x="93" y="138"/>
                </a:lnTo>
                <a:lnTo>
                  <a:pt x="94" y="137"/>
                </a:lnTo>
                <a:lnTo>
                  <a:pt x="94" y="136"/>
                </a:lnTo>
                <a:lnTo>
                  <a:pt x="95" y="136"/>
                </a:lnTo>
                <a:lnTo>
                  <a:pt x="95" y="135"/>
                </a:lnTo>
                <a:lnTo>
                  <a:pt x="95" y="133"/>
                </a:lnTo>
                <a:lnTo>
                  <a:pt x="95" y="132"/>
                </a:lnTo>
                <a:lnTo>
                  <a:pt x="95" y="131"/>
                </a:lnTo>
                <a:lnTo>
                  <a:pt x="94" y="130"/>
                </a:lnTo>
                <a:lnTo>
                  <a:pt x="94" y="129"/>
                </a:lnTo>
                <a:lnTo>
                  <a:pt x="92" y="126"/>
                </a:lnTo>
                <a:lnTo>
                  <a:pt x="91" y="122"/>
                </a:lnTo>
                <a:lnTo>
                  <a:pt x="90" y="120"/>
                </a:lnTo>
                <a:lnTo>
                  <a:pt x="90" y="119"/>
                </a:lnTo>
                <a:lnTo>
                  <a:pt x="89" y="116"/>
                </a:lnTo>
                <a:lnTo>
                  <a:pt x="89" y="115"/>
                </a:lnTo>
                <a:lnTo>
                  <a:pt x="89" y="113"/>
                </a:lnTo>
                <a:lnTo>
                  <a:pt x="89" y="111"/>
                </a:lnTo>
                <a:lnTo>
                  <a:pt x="89" y="109"/>
                </a:lnTo>
                <a:lnTo>
                  <a:pt x="89" y="108"/>
                </a:lnTo>
                <a:lnTo>
                  <a:pt x="90" y="106"/>
                </a:lnTo>
                <a:lnTo>
                  <a:pt x="91" y="104"/>
                </a:lnTo>
                <a:lnTo>
                  <a:pt x="94" y="99"/>
                </a:lnTo>
                <a:lnTo>
                  <a:pt x="96" y="97"/>
                </a:lnTo>
                <a:lnTo>
                  <a:pt x="96" y="97"/>
                </a:lnTo>
                <a:lnTo>
                  <a:pt x="97" y="96"/>
                </a:lnTo>
                <a:lnTo>
                  <a:pt x="97" y="95"/>
                </a:lnTo>
                <a:lnTo>
                  <a:pt x="98" y="95"/>
                </a:lnTo>
                <a:lnTo>
                  <a:pt x="99" y="95"/>
                </a:lnTo>
                <a:lnTo>
                  <a:pt x="100" y="94"/>
                </a:lnTo>
                <a:lnTo>
                  <a:pt x="101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5"/>
                </a:lnTo>
                <a:lnTo>
                  <a:pt x="103" y="95"/>
                </a:lnTo>
                <a:lnTo>
                  <a:pt x="104" y="96"/>
                </a:lnTo>
                <a:lnTo>
                  <a:pt x="105" y="97"/>
                </a:lnTo>
                <a:lnTo>
                  <a:pt x="105" y="98"/>
                </a:lnTo>
                <a:lnTo>
                  <a:pt x="105" y="99"/>
                </a:lnTo>
                <a:lnTo>
                  <a:pt x="105" y="100"/>
                </a:lnTo>
                <a:lnTo>
                  <a:pt x="106" y="104"/>
                </a:lnTo>
                <a:lnTo>
                  <a:pt x="106" y="105"/>
                </a:lnTo>
                <a:lnTo>
                  <a:pt x="107" y="106"/>
                </a:lnTo>
                <a:lnTo>
                  <a:pt x="107" y="107"/>
                </a:lnTo>
                <a:lnTo>
                  <a:pt x="108" y="108"/>
                </a:lnTo>
                <a:lnTo>
                  <a:pt x="108" y="109"/>
                </a:lnTo>
                <a:lnTo>
                  <a:pt x="109" y="109"/>
                </a:lnTo>
                <a:lnTo>
                  <a:pt x="109" y="109"/>
                </a:lnTo>
                <a:lnTo>
                  <a:pt x="111" y="110"/>
                </a:lnTo>
                <a:lnTo>
                  <a:pt x="114" y="110"/>
                </a:lnTo>
                <a:lnTo>
                  <a:pt x="116" y="110"/>
                </a:lnTo>
                <a:lnTo>
                  <a:pt x="117" y="110"/>
                </a:lnTo>
                <a:lnTo>
                  <a:pt x="120" y="111"/>
                </a:lnTo>
                <a:lnTo>
                  <a:pt x="123" y="112"/>
                </a:lnTo>
                <a:lnTo>
                  <a:pt x="125" y="113"/>
                </a:lnTo>
                <a:lnTo>
                  <a:pt x="128" y="113"/>
                </a:lnTo>
                <a:lnTo>
                  <a:pt x="131" y="113"/>
                </a:lnTo>
                <a:lnTo>
                  <a:pt x="132" y="114"/>
                </a:lnTo>
                <a:lnTo>
                  <a:pt x="134" y="114"/>
                </a:lnTo>
                <a:lnTo>
                  <a:pt x="135" y="114"/>
                </a:lnTo>
                <a:lnTo>
                  <a:pt x="136" y="115"/>
                </a:lnTo>
                <a:lnTo>
                  <a:pt x="137" y="115"/>
                </a:lnTo>
                <a:lnTo>
                  <a:pt x="139" y="116"/>
                </a:lnTo>
                <a:lnTo>
                  <a:pt x="140" y="117"/>
                </a:lnTo>
                <a:lnTo>
                  <a:pt x="142" y="118"/>
                </a:lnTo>
                <a:lnTo>
                  <a:pt x="146" y="121"/>
                </a:lnTo>
                <a:lnTo>
                  <a:pt x="148" y="122"/>
                </a:lnTo>
                <a:lnTo>
                  <a:pt x="149" y="123"/>
                </a:lnTo>
                <a:lnTo>
                  <a:pt x="149" y="123"/>
                </a:lnTo>
                <a:lnTo>
                  <a:pt x="150" y="123"/>
                </a:lnTo>
                <a:lnTo>
                  <a:pt x="151" y="122"/>
                </a:lnTo>
                <a:lnTo>
                  <a:pt x="152" y="122"/>
                </a:lnTo>
                <a:lnTo>
                  <a:pt x="154" y="121"/>
                </a:lnTo>
                <a:lnTo>
                  <a:pt x="155" y="120"/>
                </a:lnTo>
                <a:lnTo>
                  <a:pt x="156" y="119"/>
                </a:lnTo>
                <a:lnTo>
                  <a:pt x="157" y="118"/>
                </a:lnTo>
                <a:lnTo>
                  <a:pt x="158" y="116"/>
                </a:lnTo>
                <a:lnTo>
                  <a:pt x="159" y="115"/>
                </a:lnTo>
                <a:lnTo>
                  <a:pt x="160" y="113"/>
                </a:lnTo>
                <a:lnTo>
                  <a:pt x="161" y="112"/>
                </a:lnTo>
                <a:lnTo>
                  <a:pt x="162" y="110"/>
                </a:lnTo>
                <a:lnTo>
                  <a:pt x="162" y="109"/>
                </a:lnTo>
                <a:lnTo>
                  <a:pt x="163" y="108"/>
                </a:lnTo>
                <a:lnTo>
                  <a:pt x="163" y="106"/>
                </a:lnTo>
                <a:lnTo>
                  <a:pt x="164" y="103"/>
                </a:lnTo>
                <a:lnTo>
                  <a:pt x="164" y="102"/>
                </a:lnTo>
                <a:lnTo>
                  <a:pt x="164" y="100"/>
                </a:lnTo>
                <a:lnTo>
                  <a:pt x="164" y="100"/>
                </a:lnTo>
                <a:lnTo>
                  <a:pt x="164" y="99"/>
                </a:lnTo>
                <a:lnTo>
                  <a:pt x="165" y="99"/>
                </a:lnTo>
                <a:lnTo>
                  <a:pt x="165" y="98"/>
                </a:lnTo>
                <a:lnTo>
                  <a:pt x="166" y="98"/>
                </a:lnTo>
                <a:lnTo>
                  <a:pt x="168" y="98"/>
                </a:lnTo>
                <a:lnTo>
                  <a:pt x="171" y="97"/>
                </a:lnTo>
                <a:lnTo>
                  <a:pt x="174" y="96"/>
                </a:lnTo>
                <a:lnTo>
                  <a:pt x="177" y="95"/>
                </a:lnTo>
                <a:lnTo>
                  <a:pt x="178" y="95"/>
                </a:lnTo>
                <a:lnTo>
                  <a:pt x="180" y="94"/>
                </a:lnTo>
                <a:lnTo>
                  <a:pt x="184" y="94"/>
                </a:lnTo>
                <a:lnTo>
                  <a:pt x="186" y="94"/>
                </a:lnTo>
                <a:lnTo>
                  <a:pt x="188" y="94"/>
                </a:lnTo>
                <a:lnTo>
                  <a:pt x="190" y="94"/>
                </a:lnTo>
                <a:lnTo>
                  <a:pt x="192" y="94"/>
                </a:lnTo>
                <a:lnTo>
                  <a:pt x="193" y="94"/>
                </a:lnTo>
                <a:lnTo>
                  <a:pt x="194" y="95"/>
                </a:lnTo>
                <a:lnTo>
                  <a:pt x="195" y="95"/>
                </a:lnTo>
                <a:lnTo>
                  <a:pt x="198" y="96"/>
                </a:lnTo>
                <a:lnTo>
                  <a:pt x="199" y="96"/>
                </a:lnTo>
                <a:lnTo>
                  <a:pt x="200" y="97"/>
                </a:lnTo>
                <a:lnTo>
                  <a:pt x="202" y="97"/>
                </a:lnTo>
                <a:lnTo>
                  <a:pt x="203" y="97"/>
                </a:lnTo>
                <a:lnTo>
                  <a:pt x="204" y="97"/>
                </a:lnTo>
                <a:lnTo>
                  <a:pt x="206" y="97"/>
                </a:lnTo>
                <a:lnTo>
                  <a:pt x="207" y="97"/>
                </a:lnTo>
                <a:lnTo>
                  <a:pt x="208" y="97"/>
                </a:lnTo>
                <a:lnTo>
                  <a:pt x="210" y="96"/>
                </a:lnTo>
                <a:lnTo>
                  <a:pt x="211" y="96"/>
                </a:lnTo>
                <a:lnTo>
                  <a:pt x="212" y="95"/>
                </a:lnTo>
                <a:lnTo>
                  <a:pt x="213" y="95"/>
                </a:lnTo>
                <a:lnTo>
                  <a:pt x="214" y="94"/>
                </a:lnTo>
                <a:lnTo>
                  <a:pt x="214" y="93"/>
                </a:lnTo>
                <a:lnTo>
                  <a:pt x="216" y="92"/>
                </a:lnTo>
                <a:lnTo>
                  <a:pt x="217" y="91"/>
                </a:lnTo>
                <a:lnTo>
                  <a:pt x="217" y="89"/>
                </a:lnTo>
                <a:lnTo>
                  <a:pt x="218" y="88"/>
                </a:lnTo>
                <a:lnTo>
                  <a:pt x="218" y="87"/>
                </a:lnTo>
                <a:lnTo>
                  <a:pt x="218" y="86"/>
                </a:lnTo>
                <a:lnTo>
                  <a:pt x="219" y="85"/>
                </a:lnTo>
                <a:lnTo>
                  <a:pt x="219" y="84"/>
                </a:lnTo>
                <a:lnTo>
                  <a:pt x="218" y="82"/>
                </a:lnTo>
                <a:lnTo>
                  <a:pt x="218" y="81"/>
                </a:lnTo>
                <a:lnTo>
                  <a:pt x="218" y="80"/>
                </a:lnTo>
                <a:lnTo>
                  <a:pt x="217" y="77"/>
                </a:lnTo>
                <a:lnTo>
                  <a:pt x="214" y="71"/>
                </a:lnTo>
                <a:lnTo>
                  <a:pt x="213" y="70"/>
                </a:lnTo>
                <a:lnTo>
                  <a:pt x="213" y="69"/>
                </a:lnTo>
                <a:lnTo>
                  <a:pt x="213" y="68"/>
                </a:lnTo>
                <a:lnTo>
                  <a:pt x="213" y="68"/>
                </a:lnTo>
                <a:lnTo>
                  <a:pt x="213" y="67"/>
                </a:lnTo>
                <a:lnTo>
                  <a:pt x="213" y="67"/>
                </a:lnTo>
                <a:lnTo>
                  <a:pt x="213" y="66"/>
                </a:lnTo>
                <a:lnTo>
                  <a:pt x="214" y="66"/>
                </a:lnTo>
                <a:lnTo>
                  <a:pt x="214" y="66"/>
                </a:lnTo>
                <a:lnTo>
                  <a:pt x="215" y="65"/>
                </a:lnTo>
                <a:lnTo>
                  <a:pt x="215" y="65"/>
                </a:lnTo>
                <a:lnTo>
                  <a:pt x="216" y="65"/>
                </a:lnTo>
                <a:lnTo>
                  <a:pt x="217" y="65"/>
                </a:lnTo>
                <a:lnTo>
                  <a:pt x="218" y="65"/>
                </a:lnTo>
                <a:lnTo>
                  <a:pt x="219" y="65"/>
                </a:lnTo>
                <a:lnTo>
                  <a:pt x="220" y="65"/>
                </a:lnTo>
                <a:lnTo>
                  <a:pt x="223" y="65"/>
                </a:lnTo>
                <a:lnTo>
                  <a:pt x="224" y="66"/>
                </a:lnTo>
                <a:lnTo>
                  <a:pt x="225" y="66"/>
                </a:lnTo>
                <a:lnTo>
                  <a:pt x="226" y="66"/>
                </a:lnTo>
                <a:lnTo>
                  <a:pt x="226" y="66"/>
                </a:lnTo>
                <a:lnTo>
                  <a:pt x="227" y="65"/>
                </a:lnTo>
                <a:lnTo>
                  <a:pt x="227" y="65"/>
                </a:lnTo>
                <a:lnTo>
                  <a:pt x="228" y="64"/>
                </a:lnTo>
                <a:lnTo>
                  <a:pt x="228" y="64"/>
                </a:lnTo>
                <a:lnTo>
                  <a:pt x="229" y="63"/>
                </a:lnTo>
                <a:lnTo>
                  <a:pt x="231" y="60"/>
                </a:lnTo>
                <a:lnTo>
                  <a:pt x="232" y="59"/>
                </a:lnTo>
                <a:lnTo>
                  <a:pt x="233" y="58"/>
                </a:lnTo>
                <a:lnTo>
                  <a:pt x="233" y="58"/>
                </a:lnTo>
                <a:lnTo>
                  <a:pt x="234" y="57"/>
                </a:lnTo>
                <a:lnTo>
                  <a:pt x="235" y="57"/>
                </a:lnTo>
                <a:lnTo>
                  <a:pt x="237" y="57"/>
                </a:lnTo>
                <a:lnTo>
                  <a:pt x="238" y="57"/>
                </a:lnTo>
                <a:lnTo>
                  <a:pt x="239" y="58"/>
                </a:lnTo>
                <a:lnTo>
                  <a:pt x="240" y="58"/>
                </a:lnTo>
                <a:lnTo>
                  <a:pt x="241" y="59"/>
                </a:lnTo>
                <a:lnTo>
                  <a:pt x="243" y="60"/>
                </a:lnTo>
                <a:lnTo>
                  <a:pt x="245" y="61"/>
                </a:lnTo>
                <a:lnTo>
                  <a:pt x="246" y="63"/>
                </a:lnTo>
                <a:lnTo>
                  <a:pt x="249" y="65"/>
                </a:lnTo>
                <a:lnTo>
                  <a:pt x="250" y="66"/>
                </a:lnTo>
                <a:lnTo>
                  <a:pt x="251" y="67"/>
                </a:lnTo>
                <a:lnTo>
                  <a:pt x="252" y="68"/>
                </a:lnTo>
                <a:lnTo>
                  <a:pt x="253" y="68"/>
                </a:lnTo>
                <a:lnTo>
                  <a:pt x="255" y="69"/>
                </a:lnTo>
                <a:lnTo>
                  <a:pt x="256" y="69"/>
                </a:lnTo>
                <a:lnTo>
                  <a:pt x="258" y="70"/>
                </a:lnTo>
                <a:lnTo>
                  <a:pt x="260" y="70"/>
                </a:lnTo>
                <a:lnTo>
                  <a:pt x="261" y="70"/>
                </a:lnTo>
                <a:lnTo>
                  <a:pt x="263" y="70"/>
                </a:lnTo>
                <a:lnTo>
                  <a:pt x="266" y="69"/>
                </a:lnTo>
                <a:lnTo>
                  <a:pt x="270" y="68"/>
                </a:lnTo>
                <a:lnTo>
                  <a:pt x="272" y="68"/>
                </a:lnTo>
                <a:lnTo>
                  <a:pt x="272" y="67"/>
                </a:lnTo>
                <a:lnTo>
                  <a:pt x="272" y="67"/>
                </a:lnTo>
                <a:lnTo>
                  <a:pt x="273" y="66"/>
                </a:lnTo>
                <a:lnTo>
                  <a:pt x="274" y="65"/>
                </a:lnTo>
                <a:lnTo>
                  <a:pt x="275" y="65"/>
                </a:lnTo>
                <a:lnTo>
                  <a:pt x="275" y="64"/>
                </a:lnTo>
                <a:lnTo>
                  <a:pt x="277" y="60"/>
                </a:lnTo>
                <a:lnTo>
                  <a:pt x="278" y="56"/>
                </a:lnTo>
                <a:lnTo>
                  <a:pt x="280" y="52"/>
                </a:lnTo>
                <a:lnTo>
                  <a:pt x="281" y="50"/>
                </a:lnTo>
                <a:lnTo>
                  <a:pt x="282" y="47"/>
                </a:lnTo>
                <a:lnTo>
                  <a:pt x="282" y="46"/>
                </a:lnTo>
                <a:lnTo>
                  <a:pt x="282" y="44"/>
                </a:lnTo>
                <a:lnTo>
                  <a:pt x="282" y="40"/>
                </a:lnTo>
                <a:lnTo>
                  <a:pt x="282" y="39"/>
                </a:lnTo>
                <a:lnTo>
                  <a:pt x="283" y="38"/>
                </a:lnTo>
                <a:lnTo>
                  <a:pt x="283" y="37"/>
                </a:lnTo>
                <a:lnTo>
                  <a:pt x="284" y="36"/>
                </a:lnTo>
                <a:lnTo>
                  <a:pt x="284" y="35"/>
                </a:lnTo>
                <a:lnTo>
                  <a:pt x="287" y="33"/>
                </a:lnTo>
                <a:lnTo>
                  <a:pt x="289" y="30"/>
                </a:lnTo>
                <a:lnTo>
                  <a:pt x="290" y="29"/>
                </a:lnTo>
                <a:lnTo>
                  <a:pt x="292" y="28"/>
                </a:lnTo>
                <a:lnTo>
                  <a:pt x="295" y="26"/>
                </a:lnTo>
                <a:lnTo>
                  <a:pt x="296" y="25"/>
                </a:lnTo>
                <a:lnTo>
                  <a:pt x="297" y="24"/>
                </a:lnTo>
                <a:lnTo>
                  <a:pt x="298" y="23"/>
                </a:lnTo>
                <a:lnTo>
                  <a:pt x="298" y="22"/>
                </a:lnTo>
                <a:lnTo>
                  <a:pt x="299" y="21"/>
                </a:lnTo>
                <a:lnTo>
                  <a:pt x="300" y="20"/>
                </a:lnTo>
                <a:lnTo>
                  <a:pt x="301" y="17"/>
                </a:lnTo>
                <a:lnTo>
                  <a:pt x="302" y="16"/>
                </a:lnTo>
                <a:lnTo>
                  <a:pt x="303" y="15"/>
                </a:lnTo>
                <a:lnTo>
                  <a:pt x="304" y="15"/>
                </a:lnTo>
                <a:lnTo>
                  <a:pt x="304" y="15"/>
                </a:lnTo>
                <a:lnTo>
                  <a:pt x="305" y="15"/>
                </a:lnTo>
                <a:lnTo>
                  <a:pt x="307" y="15"/>
                </a:lnTo>
                <a:lnTo>
                  <a:pt x="309" y="15"/>
                </a:lnTo>
                <a:lnTo>
                  <a:pt x="313" y="16"/>
                </a:lnTo>
                <a:lnTo>
                  <a:pt x="315" y="17"/>
                </a:lnTo>
                <a:lnTo>
                  <a:pt x="317" y="17"/>
                </a:lnTo>
                <a:lnTo>
                  <a:pt x="318" y="17"/>
                </a:lnTo>
                <a:lnTo>
                  <a:pt x="319" y="17"/>
                </a:lnTo>
                <a:lnTo>
                  <a:pt x="320" y="17"/>
                </a:lnTo>
                <a:lnTo>
                  <a:pt x="321" y="17"/>
                </a:lnTo>
                <a:lnTo>
                  <a:pt x="321" y="17"/>
                </a:lnTo>
                <a:lnTo>
                  <a:pt x="322" y="17"/>
                </a:lnTo>
                <a:lnTo>
                  <a:pt x="323" y="16"/>
                </a:lnTo>
                <a:lnTo>
                  <a:pt x="324" y="16"/>
                </a:lnTo>
                <a:lnTo>
                  <a:pt x="325" y="15"/>
                </a:lnTo>
                <a:lnTo>
                  <a:pt x="326" y="14"/>
                </a:lnTo>
                <a:lnTo>
                  <a:pt x="326" y="14"/>
                </a:lnTo>
                <a:lnTo>
                  <a:pt x="327" y="13"/>
                </a:lnTo>
                <a:lnTo>
                  <a:pt x="329" y="11"/>
                </a:lnTo>
                <a:lnTo>
                  <a:pt x="330" y="8"/>
                </a:lnTo>
                <a:lnTo>
                  <a:pt x="331" y="6"/>
                </a:lnTo>
                <a:lnTo>
                  <a:pt x="332" y="5"/>
                </a:lnTo>
                <a:lnTo>
                  <a:pt x="332" y="4"/>
                </a:lnTo>
                <a:lnTo>
                  <a:pt x="333" y="3"/>
                </a:lnTo>
                <a:lnTo>
                  <a:pt x="333" y="2"/>
                </a:lnTo>
                <a:lnTo>
                  <a:pt x="333" y="1"/>
                </a:lnTo>
                <a:lnTo>
                  <a:pt x="333" y="1"/>
                </a:lnTo>
                <a:lnTo>
                  <a:pt x="334" y="1"/>
                </a:lnTo>
                <a:lnTo>
                  <a:pt x="334" y="1"/>
                </a:lnTo>
                <a:lnTo>
                  <a:pt x="336" y="1"/>
                </a:lnTo>
                <a:lnTo>
                  <a:pt x="337" y="1"/>
                </a:lnTo>
                <a:lnTo>
                  <a:pt x="339" y="0"/>
                </a:lnTo>
                <a:lnTo>
                  <a:pt x="339" y="0"/>
                </a:lnTo>
                <a:lnTo>
                  <a:pt x="340" y="0"/>
                </a:lnTo>
                <a:lnTo>
                  <a:pt x="340" y="0"/>
                </a:lnTo>
                <a:lnTo>
                  <a:pt x="341" y="0"/>
                </a:lnTo>
                <a:close/>
              </a:path>
            </a:pathLst>
          </a:custGeom>
          <a:solidFill>
            <a:srgbClr val="B0C2E5"/>
          </a:solidFill>
          <a:ln w="26988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Freeform 291">
            <a:extLst>
              <a:ext uri="{FF2B5EF4-FFF2-40B4-BE49-F238E27FC236}">
                <a16:creationId xmlns:a16="http://schemas.microsoft.com/office/drawing/2014/main" id="{A4DFD73F-B4C1-4923-A898-65A921BAE8A9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1389429" cy="1233172"/>
          </a:xfrm>
          <a:custGeom>
            <a:avLst/>
            <a:gdLst>
              <a:gd name="T0" fmla="*/ 239 w 731"/>
              <a:gd name="T1" fmla="*/ 12 h 593"/>
              <a:gd name="T2" fmla="*/ 240 w 731"/>
              <a:gd name="T3" fmla="*/ 45 h 593"/>
              <a:gd name="T4" fmla="*/ 240 w 731"/>
              <a:gd name="T5" fmla="*/ 75 h 593"/>
              <a:gd name="T6" fmla="*/ 197 w 731"/>
              <a:gd name="T7" fmla="*/ 97 h 593"/>
              <a:gd name="T8" fmla="*/ 191 w 731"/>
              <a:gd name="T9" fmla="*/ 121 h 593"/>
              <a:gd name="T10" fmla="*/ 227 w 731"/>
              <a:gd name="T11" fmla="*/ 138 h 593"/>
              <a:gd name="T12" fmla="*/ 257 w 731"/>
              <a:gd name="T13" fmla="*/ 180 h 593"/>
              <a:gd name="T14" fmla="*/ 287 w 731"/>
              <a:gd name="T15" fmla="*/ 213 h 593"/>
              <a:gd name="T16" fmla="*/ 326 w 731"/>
              <a:gd name="T17" fmla="*/ 215 h 593"/>
              <a:gd name="T18" fmla="*/ 372 w 731"/>
              <a:gd name="T19" fmla="*/ 197 h 593"/>
              <a:gd name="T20" fmla="*/ 360 w 731"/>
              <a:gd name="T21" fmla="*/ 180 h 593"/>
              <a:gd name="T22" fmla="*/ 370 w 731"/>
              <a:gd name="T23" fmla="*/ 165 h 593"/>
              <a:gd name="T24" fmla="*/ 401 w 731"/>
              <a:gd name="T25" fmla="*/ 202 h 593"/>
              <a:gd name="T26" fmla="*/ 432 w 731"/>
              <a:gd name="T27" fmla="*/ 205 h 593"/>
              <a:gd name="T28" fmla="*/ 455 w 731"/>
              <a:gd name="T29" fmla="*/ 220 h 593"/>
              <a:gd name="T30" fmla="*/ 484 w 731"/>
              <a:gd name="T31" fmla="*/ 248 h 593"/>
              <a:gd name="T32" fmla="*/ 501 w 731"/>
              <a:gd name="T33" fmla="*/ 238 h 593"/>
              <a:gd name="T34" fmla="*/ 546 w 731"/>
              <a:gd name="T35" fmla="*/ 246 h 593"/>
              <a:gd name="T36" fmla="*/ 585 w 731"/>
              <a:gd name="T37" fmla="*/ 256 h 593"/>
              <a:gd name="T38" fmla="*/ 599 w 731"/>
              <a:gd name="T39" fmla="*/ 251 h 593"/>
              <a:gd name="T40" fmla="*/ 608 w 731"/>
              <a:gd name="T41" fmla="*/ 282 h 593"/>
              <a:gd name="T42" fmla="*/ 607 w 731"/>
              <a:gd name="T43" fmla="*/ 317 h 593"/>
              <a:gd name="T44" fmla="*/ 635 w 731"/>
              <a:gd name="T45" fmla="*/ 380 h 593"/>
              <a:gd name="T46" fmla="*/ 676 w 731"/>
              <a:gd name="T47" fmla="*/ 399 h 593"/>
              <a:gd name="T48" fmla="*/ 706 w 731"/>
              <a:gd name="T49" fmla="*/ 407 h 593"/>
              <a:gd name="T50" fmla="*/ 730 w 731"/>
              <a:gd name="T51" fmla="*/ 482 h 593"/>
              <a:gd name="T52" fmla="*/ 712 w 731"/>
              <a:gd name="T53" fmla="*/ 510 h 593"/>
              <a:gd name="T54" fmla="*/ 658 w 731"/>
              <a:gd name="T55" fmla="*/ 518 h 593"/>
              <a:gd name="T56" fmla="*/ 612 w 731"/>
              <a:gd name="T57" fmla="*/ 519 h 593"/>
              <a:gd name="T58" fmla="*/ 599 w 731"/>
              <a:gd name="T59" fmla="*/ 544 h 593"/>
              <a:gd name="T60" fmla="*/ 561 w 731"/>
              <a:gd name="T61" fmla="*/ 592 h 593"/>
              <a:gd name="T62" fmla="*/ 532 w 731"/>
              <a:gd name="T63" fmla="*/ 585 h 593"/>
              <a:gd name="T64" fmla="*/ 501 w 731"/>
              <a:gd name="T65" fmla="*/ 547 h 593"/>
              <a:gd name="T66" fmla="*/ 466 w 731"/>
              <a:gd name="T67" fmla="*/ 536 h 593"/>
              <a:gd name="T68" fmla="*/ 416 w 731"/>
              <a:gd name="T69" fmla="*/ 519 h 593"/>
              <a:gd name="T70" fmla="*/ 362 w 731"/>
              <a:gd name="T71" fmla="*/ 518 h 593"/>
              <a:gd name="T72" fmla="*/ 332 w 731"/>
              <a:gd name="T73" fmla="*/ 509 h 593"/>
              <a:gd name="T74" fmla="*/ 309 w 731"/>
              <a:gd name="T75" fmla="*/ 501 h 593"/>
              <a:gd name="T76" fmla="*/ 305 w 731"/>
              <a:gd name="T77" fmla="*/ 481 h 593"/>
              <a:gd name="T78" fmla="*/ 260 w 731"/>
              <a:gd name="T79" fmla="*/ 429 h 593"/>
              <a:gd name="T80" fmla="*/ 240 w 731"/>
              <a:gd name="T81" fmla="*/ 425 h 593"/>
              <a:gd name="T82" fmla="*/ 232 w 731"/>
              <a:gd name="T83" fmla="*/ 388 h 593"/>
              <a:gd name="T84" fmla="*/ 217 w 731"/>
              <a:gd name="T85" fmla="*/ 368 h 593"/>
              <a:gd name="T86" fmla="*/ 169 w 731"/>
              <a:gd name="T87" fmla="*/ 364 h 593"/>
              <a:gd name="T88" fmla="*/ 148 w 731"/>
              <a:gd name="T89" fmla="*/ 336 h 593"/>
              <a:gd name="T90" fmla="*/ 134 w 731"/>
              <a:gd name="T91" fmla="*/ 299 h 593"/>
              <a:gd name="T92" fmla="*/ 126 w 731"/>
              <a:gd name="T93" fmla="*/ 324 h 593"/>
              <a:gd name="T94" fmla="*/ 110 w 731"/>
              <a:gd name="T95" fmla="*/ 334 h 593"/>
              <a:gd name="T96" fmla="*/ 91 w 731"/>
              <a:gd name="T97" fmla="*/ 338 h 593"/>
              <a:gd name="T98" fmla="*/ 85 w 731"/>
              <a:gd name="T99" fmla="*/ 307 h 593"/>
              <a:gd name="T100" fmla="*/ 47 w 731"/>
              <a:gd name="T101" fmla="*/ 331 h 593"/>
              <a:gd name="T102" fmla="*/ 29 w 731"/>
              <a:gd name="T103" fmla="*/ 316 h 593"/>
              <a:gd name="T104" fmla="*/ 7 w 731"/>
              <a:gd name="T105" fmla="*/ 308 h 593"/>
              <a:gd name="T106" fmla="*/ 5 w 731"/>
              <a:gd name="T107" fmla="*/ 274 h 593"/>
              <a:gd name="T108" fmla="*/ 15 w 731"/>
              <a:gd name="T109" fmla="*/ 244 h 593"/>
              <a:gd name="T110" fmla="*/ 8 w 731"/>
              <a:gd name="T111" fmla="*/ 205 h 593"/>
              <a:gd name="T112" fmla="*/ 28 w 731"/>
              <a:gd name="T113" fmla="*/ 149 h 593"/>
              <a:gd name="T114" fmla="*/ 56 w 731"/>
              <a:gd name="T115" fmla="*/ 100 h 593"/>
              <a:gd name="T116" fmla="*/ 93 w 731"/>
              <a:gd name="T117" fmla="*/ 74 h 593"/>
              <a:gd name="T118" fmla="*/ 110 w 731"/>
              <a:gd name="T119" fmla="*/ 48 h 593"/>
              <a:gd name="T120" fmla="*/ 162 w 731"/>
              <a:gd name="T121" fmla="*/ 34 h 593"/>
              <a:gd name="T122" fmla="*/ 203 w 731"/>
              <a:gd name="T123" fmla="*/ 26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31" h="593">
                <a:moveTo>
                  <a:pt x="222" y="0"/>
                </a:moveTo>
                <a:lnTo>
                  <a:pt x="222" y="0"/>
                </a:lnTo>
                <a:lnTo>
                  <a:pt x="223" y="0"/>
                </a:lnTo>
                <a:lnTo>
                  <a:pt x="224" y="1"/>
                </a:lnTo>
                <a:lnTo>
                  <a:pt x="225" y="1"/>
                </a:lnTo>
                <a:lnTo>
                  <a:pt x="226" y="2"/>
                </a:lnTo>
                <a:lnTo>
                  <a:pt x="228" y="3"/>
                </a:lnTo>
                <a:lnTo>
                  <a:pt x="228" y="3"/>
                </a:lnTo>
                <a:lnTo>
                  <a:pt x="229" y="4"/>
                </a:lnTo>
                <a:lnTo>
                  <a:pt x="231" y="5"/>
                </a:lnTo>
                <a:lnTo>
                  <a:pt x="231" y="6"/>
                </a:lnTo>
                <a:lnTo>
                  <a:pt x="232" y="7"/>
                </a:lnTo>
                <a:lnTo>
                  <a:pt x="233" y="8"/>
                </a:lnTo>
                <a:lnTo>
                  <a:pt x="233" y="10"/>
                </a:lnTo>
                <a:lnTo>
                  <a:pt x="233" y="10"/>
                </a:lnTo>
                <a:lnTo>
                  <a:pt x="233" y="10"/>
                </a:lnTo>
                <a:lnTo>
                  <a:pt x="235" y="11"/>
                </a:lnTo>
                <a:lnTo>
                  <a:pt x="236" y="11"/>
                </a:lnTo>
                <a:lnTo>
                  <a:pt x="237" y="11"/>
                </a:lnTo>
                <a:lnTo>
                  <a:pt x="238" y="12"/>
                </a:lnTo>
                <a:lnTo>
                  <a:pt x="239" y="12"/>
                </a:lnTo>
                <a:lnTo>
                  <a:pt x="239" y="13"/>
                </a:lnTo>
                <a:lnTo>
                  <a:pt x="240" y="14"/>
                </a:lnTo>
                <a:lnTo>
                  <a:pt x="240" y="14"/>
                </a:lnTo>
                <a:lnTo>
                  <a:pt x="240" y="15"/>
                </a:lnTo>
                <a:lnTo>
                  <a:pt x="240" y="16"/>
                </a:lnTo>
                <a:lnTo>
                  <a:pt x="240" y="17"/>
                </a:lnTo>
                <a:lnTo>
                  <a:pt x="240" y="18"/>
                </a:lnTo>
                <a:lnTo>
                  <a:pt x="239" y="20"/>
                </a:lnTo>
                <a:lnTo>
                  <a:pt x="237" y="26"/>
                </a:lnTo>
                <a:lnTo>
                  <a:pt x="236" y="28"/>
                </a:lnTo>
                <a:lnTo>
                  <a:pt x="236" y="30"/>
                </a:lnTo>
                <a:lnTo>
                  <a:pt x="235" y="31"/>
                </a:lnTo>
                <a:lnTo>
                  <a:pt x="235" y="33"/>
                </a:lnTo>
                <a:lnTo>
                  <a:pt x="235" y="35"/>
                </a:lnTo>
                <a:lnTo>
                  <a:pt x="235" y="36"/>
                </a:lnTo>
                <a:lnTo>
                  <a:pt x="236" y="38"/>
                </a:lnTo>
                <a:lnTo>
                  <a:pt x="236" y="39"/>
                </a:lnTo>
                <a:lnTo>
                  <a:pt x="237" y="41"/>
                </a:lnTo>
                <a:lnTo>
                  <a:pt x="237" y="42"/>
                </a:lnTo>
                <a:lnTo>
                  <a:pt x="238" y="44"/>
                </a:lnTo>
                <a:lnTo>
                  <a:pt x="240" y="45"/>
                </a:lnTo>
                <a:lnTo>
                  <a:pt x="243" y="50"/>
                </a:lnTo>
                <a:lnTo>
                  <a:pt x="245" y="52"/>
                </a:lnTo>
                <a:lnTo>
                  <a:pt x="246" y="53"/>
                </a:lnTo>
                <a:lnTo>
                  <a:pt x="246" y="54"/>
                </a:lnTo>
                <a:lnTo>
                  <a:pt x="247" y="55"/>
                </a:lnTo>
                <a:lnTo>
                  <a:pt x="247" y="56"/>
                </a:lnTo>
                <a:lnTo>
                  <a:pt x="247" y="58"/>
                </a:lnTo>
                <a:lnTo>
                  <a:pt x="248" y="60"/>
                </a:lnTo>
                <a:lnTo>
                  <a:pt x="248" y="62"/>
                </a:lnTo>
                <a:lnTo>
                  <a:pt x="248" y="64"/>
                </a:lnTo>
                <a:lnTo>
                  <a:pt x="247" y="66"/>
                </a:lnTo>
                <a:lnTo>
                  <a:pt x="247" y="67"/>
                </a:lnTo>
                <a:lnTo>
                  <a:pt x="247" y="69"/>
                </a:lnTo>
                <a:lnTo>
                  <a:pt x="246" y="70"/>
                </a:lnTo>
                <a:lnTo>
                  <a:pt x="246" y="71"/>
                </a:lnTo>
                <a:lnTo>
                  <a:pt x="245" y="72"/>
                </a:lnTo>
                <a:lnTo>
                  <a:pt x="245" y="72"/>
                </a:lnTo>
                <a:lnTo>
                  <a:pt x="244" y="73"/>
                </a:lnTo>
                <a:lnTo>
                  <a:pt x="242" y="74"/>
                </a:lnTo>
                <a:lnTo>
                  <a:pt x="241" y="75"/>
                </a:lnTo>
                <a:lnTo>
                  <a:pt x="240" y="75"/>
                </a:lnTo>
                <a:lnTo>
                  <a:pt x="239" y="76"/>
                </a:lnTo>
                <a:lnTo>
                  <a:pt x="236" y="77"/>
                </a:lnTo>
                <a:lnTo>
                  <a:pt x="235" y="77"/>
                </a:lnTo>
                <a:lnTo>
                  <a:pt x="233" y="78"/>
                </a:lnTo>
                <a:lnTo>
                  <a:pt x="232" y="79"/>
                </a:lnTo>
                <a:lnTo>
                  <a:pt x="231" y="80"/>
                </a:lnTo>
                <a:lnTo>
                  <a:pt x="230" y="81"/>
                </a:lnTo>
                <a:lnTo>
                  <a:pt x="229" y="81"/>
                </a:lnTo>
                <a:lnTo>
                  <a:pt x="227" y="84"/>
                </a:lnTo>
                <a:lnTo>
                  <a:pt x="227" y="85"/>
                </a:lnTo>
                <a:lnTo>
                  <a:pt x="226" y="86"/>
                </a:lnTo>
                <a:lnTo>
                  <a:pt x="225" y="87"/>
                </a:lnTo>
                <a:lnTo>
                  <a:pt x="224" y="88"/>
                </a:lnTo>
                <a:lnTo>
                  <a:pt x="223" y="88"/>
                </a:lnTo>
                <a:lnTo>
                  <a:pt x="222" y="89"/>
                </a:lnTo>
                <a:lnTo>
                  <a:pt x="221" y="89"/>
                </a:lnTo>
                <a:lnTo>
                  <a:pt x="220" y="90"/>
                </a:lnTo>
                <a:lnTo>
                  <a:pt x="217" y="91"/>
                </a:lnTo>
                <a:lnTo>
                  <a:pt x="210" y="93"/>
                </a:lnTo>
                <a:lnTo>
                  <a:pt x="201" y="96"/>
                </a:lnTo>
                <a:lnTo>
                  <a:pt x="197" y="97"/>
                </a:lnTo>
                <a:lnTo>
                  <a:pt x="189" y="100"/>
                </a:lnTo>
                <a:lnTo>
                  <a:pt x="188" y="100"/>
                </a:lnTo>
                <a:lnTo>
                  <a:pt x="187" y="101"/>
                </a:lnTo>
                <a:lnTo>
                  <a:pt x="186" y="102"/>
                </a:lnTo>
                <a:lnTo>
                  <a:pt x="185" y="103"/>
                </a:lnTo>
                <a:lnTo>
                  <a:pt x="184" y="103"/>
                </a:lnTo>
                <a:lnTo>
                  <a:pt x="184" y="104"/>
                </a:lnTo>
                <a:lnTo>
                  <a:pt x="184" y="105"/>
                </a:lnTo>
                <a:lnTo>
                  <a:pt x="183" y="106"/>
                </a:lnTo>
                <a:lnTo>
                  <a:pt x="183" y="107"/>
                </a:lnTo>
                <a:lnTo>
                  <a:pt x="183" y="109"/>
                </a:lnTo>
                <a:lnTo>
                  <a:pt x="184" y="109"/>
                </a:lnTo>
                <a:lnTo>
                  <a:pt x="184" y="110"/>
                </a:lnTo>
                <a:lnTo>
                  <a:pt x="184" y="112"/>
                </a:lnTo>
                <a:lnTo>
                  <a:pt x="185" y="113"/>
                </a:lnTo>
                <a:lnTo>
                  <a:pt x="186" y="114"/>
                </a:lnTo>
                <a:lnTo>
                  <a:pt x="187" y="115"/>
                </a:lnTo>
                <a:lnTo>
                  <a:pt x="187" y="117"/>
                </a:lnTo>
                <a:lnTo>
                  <a:pt x="188" y="118"/>
                </a:lnTo>
                <a:lnTo>
                  <a:pt x="189" y="119"/>
                </a:lnTo>
                <a:lnTo>
                  <a:pt x="191" y="121"/>
                </a:lnTo>
                <a:lnTo>
                  <a:pt x="196" y="125"/>
                </a:lnTo>
                <a:lnTo>
                  <a:pt x="198" y="127"/>
                </a:lnTo>
                <a:lnTo>
                  <a:pt x="200" y="129"/>
                </a:lnTo>
                <a:lnTo>
                  <a:pt x="203" y="132"/>
                </a:lnTo>
                <a:lnTo>
                  <a:pt x="204" y="134"/>
                </a:lnTo>
                <a:lnTo>
                  <a:pt x="205" y="135"/>
                </a:lnTo>
                <a:lnTo>
                  <a:pt x="207" y="136"/>
                </a:lnTo>
                <a:lnTo>
                  <a:pt x="208" y="137"/>
                </a:lnTo>
                <a:lnTo>
                  <a:pt x="210" y="138"/>
                </a:lnTo>
                <a:lnTo>
                  <a:pt x="212" y="138"/>
                </a:lnTo>
                <a:lnTo>
                  <a:pt x="214" y="139"/>
                </a:lnTo>
                <a:lnTo>
                  <a:pt x="215" y="139"/>
                </a:lnTo>
                <a:lnTo>
                  <a:pt x="216" y="138"/>
                </a:lnTo>
                <a:lnTo>
                  <a:pt x="217" y="138"/>
                </a:lnTo>
                <a:lnTo>
                  <a:pt x="220" y="137"/>
                </a:lnTo>
                <a:lnTo>
                  <a:pt x="221" y="137"/>
                </a:lnTo>
                <a:lnTo>
                  <a:pt x="222" y="137"/>
                </a:lnTo>
                <a:lnTo>
                  <a:pt x="223" y="137"/>
                </a:lnTo>
                <a:lnTo>
                  <a:pt x="224" y="137"/>
                </a:lnTo>
                <a:lnTo>
                  <a:pt x="226" y="137"/>
                </a:lnTo>
                <a:lnTo>
                  <a:pt x="227" y="138"/>
                </a:lnTo>
                <a:lnTo>
                  <a:pt x="228" y="138"/>
                </a:lnTo>
                <a:lnTo>
                  <a:pt x="229" y="138"/>
                </a:lnTo>
                <a:lnTo>
                  <a:pt x="230" y="139"/>
                </a:lnTo>
                <a:lnTo>
                  <a:pt x="231" y="140"/>
                </a:lnTo>
                <a:lnTo>
                  <a:pt x="233" y="141"/>
                </a:lnTo>
                <a:lnTo>
                  <a:pt x="234" y="142"/>
                </a:lnTo>
                <a:lnTo>
                  <a:pt x="235" y="144"/>
                </a:lnTo>
                <a:lnTo>
                  <a:pt x="237" y="145"/>
                </a:lnTo>
                <a:lnTo>
                  <a:pt x="238" y="146"/>
                </a:lnTo>
                <a:lnTo>
                  <a:pt x="240" y="151"/>
                </a:lnTo>
                <a:lnTo>
                  <a:pt x="242" y="153"/>
                </a:lnTo>
                <a:lnTo>
                  <a:pt x="247" y="159"/>
                </a:lnTo>
                <a:lnTo>
                  <a:pt x="248" y="161"/>
                </a:lnTo>
                <a:lnTo>
                  <a:pt x="250" y="164"/>
                </a:lnTo>
                <a:lnTo>
                  <a:pt x="250" y="165"/>
                </a:lnTo>
                <a:lnTo>
                  <a:pt x="251" y="166"/>
                </a:lnTo>
                <a:lnTo>
                  <a:pt x="252" y="169"/>
                </a:lnTo>
                <a:lnTo>
                  <a:pt x="253" y="170"/>
                </a:lnTo>
                <a:lnTo>
                  <a:pt x="255" y="176"/>
                </a:lnTo>
                <a:lnTo>
                  <a:pt x="256" y="178"/>
                </a:lnTo>
                <a:lnTo>
                  <a:pt x="257" y="180"/>
                </a:lnTo>
                <a:lnTo>
                  <a:pt x="258" y="185"/>
                </a:lnTo>
                <a:lnTo>
                  <a:pt x="260" y="190"/>
                </a:lnTo>
                <a:lnTo>
                  <a:pt x="261" y="191"/>
                </a:lnTo>
                <a:lnTo>
                  <a:pt x="262" y="192"/>
                </a:lnTo>
                <a:lnTo>
                  <a:pt x="263" y="193"/>
                </a:lnTo>
                <a:lnTo>
                  <a:pt x="264" y="194"/>
                </a:lnTo>
                <a:lnTo>
                  <a:pt x="265" y="195"/>
                </a:lnTo>
                <a:lnTo>
                  <a:pt x="266" y="196"/>
                </a:lnTo>
                <a:lnTo>
                  <a:pt x="269" y="198"/>
                </a:lnTo>
                <a:lnTo>
                  <a:pt x="271" y="199"/>
                </a:lnTo>
                <a:lnTo>
                  <a:pt x="276" y="201"/>
                </a:lnTo>
                <a:lnTo>
                  <a:pt x="277" y="202"/>
                </a:lnTo>
                <a:lnTo>
                  <a:pt x="279" y="203"/>
                </a:lnTo>
                <a:lnTo>
                  <a:pt x="280" y="204"/>
                </a:lnTo>
                <a:lnTo>
                  <a:pt x="281" y="205"/>
                </a:lnTo>
                <a:lnTo>
                  <a:pt x="282" y="206"/>
                </a:lnTo>
                <a:lnTo>
                  <a:pt x="283" y="207"/>
                </a:lnTo>
                <a:lnTo>
                  <a:pt x="284" y="210"/>
                </a:lnTo>
                <a:lnTo>
                  <a:pt x="285" y="211"/>
                </a:lnTo>
                <a:lnTo>
                  <a:pt x="286" y="212"/>
                </a:lnTo>
                <a:lnTo>
                  <a:pt x="287" y="213"/>
                </a:lnTo>
                <a:lnTo>
                  <a:pt x="289" y="215"/>
                </a:lnTo>
                <a:lnTo>
                  <a:pt x="290" y="217"/>
                </a:lnTo>
                <a:lnTo>
                  <a:pt x="294" y="219"/>
                </a:lnTo>
                <a:lnTo>
                  <a:pt x="295" y="220"/>
                </a:lnTo>
                <a:lnTo>
                  <a:pt x="296" y="220"/>
                </a:lnTo>
                <a:lnTo>
                  <a:pt x="298" y="221"/>
                </a:lnTo>
                <a:lnTo>
                  <a:pt x="300" y="222"/>
                </a:lnTo>
                <a:lnTo>
                  <a:pt x="301" y="222"/>
                </a:lnTo>
                <a:lnTo>
                  <a:pt x="302" y="222"/>
                </a:lnTo>
                <a:lnTo>
                  <a:pt x="303" y="222"/>
                </a:lnTo>
                <a:lnTo>
                  <a:pt x="304" y="222"/>
                </a:lnTo>
                <a:lnTo>
                  <a:pt x="306" y="222"/>
                </a:lnTo>
                <a:lnTo>
                  <a:pt x="311" y="221"/>
                </a:lnTo>
                <a:lnTo>
                  <a:pt x="314" y="221"/>
                </a:lnTo>
                <a:lnTo>
                  <a:pt x="316" y="221"/>
                </a:lnTo>
                <a:lnTo>
                  <a:pt x="318" y="220"/>
                </a:lnTo>
                <a:lnTo>
                  <a:pt x="319" y="219"/>
                </a:lnTo>
                <a:lnTo>
                  <a:pt x="321" y="218"/>
                </a:lnTo>
                <a:lnTo>
                  <a:pt x="323" y="217"/>
                </a:lnTo>
                <a:lnTo>
                  <a:pt x="324" y="216"/>
                </a:lnTo>
                <a:lnTo>
                  <a:pt x="326" y="215"/>
                </a:lnTo>
                <a:lnTo>
                  <a:pt x="332" y="209"/>
                </a:lnTo>
                <a:lnTo>
                  <a:pt x="334" y="207"/>
                </a:lnTo>
                <a:lnTo>
                  <a:pt x="335" y="206"/>
                </a:lnTo>
                <a:lnTo>
                  <a:pt x="337" y="205"/>
                </a:lnTo>
                <a:lnTo>
                  <a:pt x="339" y="204"/>
                </a:lnTo>
                <a:lnTo>
                  <a:pt x="341" y="202"/>
                </a:lnTo>
                <a:lnTo>
                  <a:pt x="343" y="202"/>
                </a:lnTo>
                <a:lnTo>
                  <a:pt x="347" y="200"/>
                </a:lnTo>
                <a:lnTo>
                  <a:pt x="351" y="198"/>
                </a:lnTo>
                <a:lnTo>
                  <a:pt x="352" y="198"/>
                </a:lnTo>
                <a:lnTo>
                  <a:pt x="354" y="197"/>
                </a:lnTo>
                <a:lnTo>
                  <a:pt x="355" y="197"/>
                </a:lnTo>
                <a:lnTo>
                  <a:pt x="356" y="197"/>
                </a:lnTo>
                <a:lnTo>
                  <a:pt x="358" y="197"/>
                </a:lnTo>
                <a:lnTo>
                  <a:pt x="364" y="197"/>
                </a:lnTo>
                <a:lnTo>
                  <a:pt x="366" y="197"/>
                </a:lnTo>
                <a:lnTo>
                  <a:pt x="369" y="197"/>
                </a:lnTo>
                <a:lnTo>
                  <a:pt x="370" y="197"/>
                </a:lnTo>
                <a:lnTo>
                  <a:pt x="371" y="197"/>
                </a:lnTo>
                <a:lnTo>
                  <a:pt x="372" y="197"/>
                </a:lnTo>
                <a:lnTo>
                  <a:pt x="372" y="197"/>
                </a:lnTo>
                <a:lnTo>
                  <a:pt x="373" y="196"/>
                </a:lnTo>
                <a:lnTo>
                  <a:pt x="373" y="196"/>
                </a:lnTo>
                <a:lnTo>
                  <a:pt x="373" y="195"/>
                </a:lnTo>
                <a:lnTo>
                  <a:pt x="373" y="193"/>
                </a:lnTo>
                <a:lnTo>
                  <a:pt x="373" y="191"/>
                </a:lnTo>
                <a:lnTo>
                  <a:pt x="373" y="190"/>
                </a:lnTo>
                <a:lnTo>
                  <a:pt x="373" y="188"/>
                </a:lnTo>
                <a:lnTo>
                  <a:pt x="373" y="187"/>
                </a:lnTo>
                <a:lnTo>
                  <a:pt x="372" y="186"/>
                </a:lnTo>
                <a:lnTo>
                  <a:pt x="372" y="185"/>
                </a:lnTo>
                <a:lnTo>
                  <a:pt x="372" y="185"/>
                </a:lnTo>
                <a:lnTo>
                  <a:pt x="371" y="184"/>
                </a:lnTo>
                <a:lnTo>
                  <a:pt x="370" y="183"/>
                </a:lnTo>
                <a:lnTo>
                  <a:pt x="369" y="183"/>
                </a:lnTo>
                <a:lnTo>
                  <a:pt x="368" y="182"/>
                </a:lnTo>
                <a:lnTo>
                  <a:pt x="366" y="182"/>
                </a:lnTo>
                <a:lnTo>
                  <a:pt x="363" y="181"/>
                </a:lnTo>
                <a:lnTo>
                  <a:pt x="362" y="181"/>
                </a:lnTo>
                <a:lnTo>
                  <a:pt x="361" y="180"/>
                </a:lnTo>
                <a:lnTo>
                  <a:pt x="361" y="180"/>
                </a:lnTo>
                <a:lnTo>
                  <a:pt x="360" y="180"/>
                </a:lnTo>
                <a:lnTo>
                  <a:pt x="360" y="179"/>
                </a:lnTo>
                <a:lnTo>
                  <a:pt x="360" y="179"/>
                </a:lnTo>
                <a:lnTo>
                  <a:pt x="359" y="178"/>
                </a:lnTo>
                <a:lnTo>
                  <a:pt x="359" y="177"/>
                </a:lnTo>
                <a:lnTo>
                  <a:pt x="359" y="176"/>
                </a:lnTo>
                <a:lnTo>
                  <a:pt x="359" y="175"/>
                </a:lnTo>
                <a:lnTo>
                  <a:pt x="359" y="174"/>
                </a:lnTo>
                <a:lnTo>
                  <a:pt x="359" y="173"/>
                </a:lnTo>
                <a:lnTo>
                  <a:pt x="359" y="172"/>
                </a:lnTo>
                <a:lnTo>
                  <a:pt x="360" y="171"/>
                </a:lnTo>
                <a:lnTo>
                  <a:pt x="360" y="170"/>
                </a:lnTo>
                <a:lnTo>
                  <a:pt x="361" y="169"/>
                </a:lnTo>
                <a:lnTo>
                  <a:pt x="362" y="168"/>
                </a:lnTo>
                <a:lnTo>
                  <a:pt x="363" y="167"/>
                </a:lnTo>
                <a:lnTo>
                  <a:pt x="364" y="166"/>
                </a:lnTo>
                <a:lnTo>
                  <a:pt x="365" y="166"/>
                </a:lnTo>
                <a:lnTo>
                  <a:pt x="366" y="165"/>
                </a:lnTo>
                <a:lnTo>
                  <a:pt x="367" y="165"/>
                </a:lnTo>
                <a:lnTo>
                  <a:pt x="368" y="165"/>
                </a:lnTo>
                <a:lnTo>
                  <a:pt x="369" y="165"/>
                </a:lnTo>
                <a:lnTo>
                  <a:pt x="370" y="165"/>
                </a:lnTo>
                <a:lnTo>
                  <a:pt x="372" y="165"/>
                </a:lnTo>
                <a:lnTo>
                  <a:pt x="373" y="165"/>
                </a:lnTo>
                <a:lnTo>
                  <a:pt x="375" y="166"/>
                </a:lnTo>
                <a:lnTo>
                  <a:pt x="377" y="167"/>
                </a:lnTo>
                <a:lnTo>
                  <a:pt x="379" y="168"/>
                </a:lnTo>
                <a:lnTo>
                  <a:pt x="380" y="169"/>
                </a:lnTo>
                <a:lnTo>
                  <a:pt x="381" y="170"/>
                </a:lnTo>
                <a:lnTo>
                  <a:pt x="386" y="173"/>
                </a:lnTo>
                <a:lnTo>
                  <a:pt x="387" y="175"/>
                </a:lnTo>
                <a:lnTo>
                  <a:pt x="388" y="176"/>
                </a:lnTo>
                <a:lnTo>
                  <a:pt x="389" y="177"/>
                </a:lnTo>
                <a:lnTo>
                  <a:pt x="390" y="179"/>
                </a:lnTo>
                <a:lnTo>
                  <a:pt x="394" y="187"/>
                </a:lnTo>
                <a:lnTo>
                  <a:pt x="395" y="188"/>
                </a:lnTo>
                <a:lnTo>
                  <a:pt x="395" y="189"/>
                </a:lnTo>
                <a:lnTo>
                  <a:pt x="397" y="194"/>
                </a:lnTo>
                <a:lnTo>
                  <a:pt x="397" y="196"/>
                </a:lnTo>
                <a:lnTo>
                  <a:pt x="398" y="197"/>
                </a:lnTo>
                <a:lnTo>
                  <a:pt x="399" y="199"/>
                </a:lnTo>
                <a:lnTo>
                  <a:pt x="400" y="200"/>
                </a:lnTo>
                <a:lnTo>
                  <a:pt x="401" y="202"/>
                </a:lnTo>
                <a:lnTo>
                  <a:pt x="402" y="202"/>
                </a:lnTo>
                <a:lnTo>
                  <a:pt x="403" y="203"/>
                </a:lnTo>
                <a:lnTo>
                  <a:pt x="404" y="204"/>
                </a:lnTo>
                <a:lnTo>
                  <a:pt x="405" y="204"/>
                </a:lnTo>
                <a:lnTo>
                  <a:pt x="406" y="205"/>
                </a:lnTo>
                <a:lnTo>
                  <a:pt x="407" y="205"/>
                </a:lnTo>
                <a:lnTo>
                  <a:pt x="411" y="207"/>
                </a:lnTo>
                <a:lnTo>
                  <a:pt x="418" y="209"/>
                </a:lnTo>
                <a:lnTo>
                  <a:pt x="419" y="210"/>
                </a:lnTo>
                <a:lnTo>
                  <a:pt x="420" y="210"/>
                </a:lnTo>
                <a:lnTo>
                  <a:pt x="421" y="210"/>
                </a:lnTo>
                <a:lnTo>
                  <a:pt x="422" y="210"/>
                </a:lnTo>
                <a:lnTo>
                  <a:pt x="423" y="209"/>
                </a:lnTo>
                <a:lnTo>
                  <a:pt x="424" y="209"/>
                </a:lnTo>
                <a:lnTo>
                  <a:pt x="425" y="209"/>
                </a:lnTo>
                <a:lnTo>
                  <a:pt x="426" y="208"/>
                </a:lnTo>
                <a:lnTo>
                  <a:pt x="428" y="206"/>
                </a:lnTo>
                <a:lnTo>
                  <a:pt x="429" y="206"/>
                </a:lnTo>
                <a:lnTo>
                  <a:pt x="430" y="205"/>
                </a:lnTo>
                <a:lnTo>
                  <a:pt x="431" y="205"/>
                </a:lnTo>
                <a:lnTo>
                  <a:pt x="432" y="205"/>
                </a:lnTo>
                <a:lnTo>
                  <a:pt x="432" y="204"/>
                </a:lnTo>
                <a:lnTo>
                  <a:pt x="434" y="204"/>
                </a:lnTo>
                <a:lnTo>
                  <a:pt x="435" y="204"/>
                </a:lnTo>
                <a:lnTo>
                  <a:pt x="436" y="205"/>
                </a:lnTo>
                <a:lnTo>
                  <a:pt x="437" y="205"/>
                </a:lnTo>
                <a:lnTo>
                  <a:pt x="439" y="205"/>
                </a:lnTo>
                <a:lnTo>
                  <a:pt x="440" y="206"/>
                </a:lnTo>
                <a:lnTo>
                  <a:pt x="441" y="206"/>
                </a:lnTo>
                <a:lnTo>
                  <a:pt x="441" y="207"/>
                </a:lnTo>
                <a:lnTo>
                  <a:pt x="442" y="207"/>
                </a:lnTo>
                <a:lnTo>
                  <a:pt x="443" y="208"/>
                </a:lnTo>
                <a:lnTo>
                  <a:pt x="444" y="209"/>
                </a:lnTo>
                <a:lnTo>
                  <a:pt x="445" y="211"/>
                </a:lnTo>
                <a:lnTo>
                  <a:pt x="447" y="214"/>
                </a:lnTo>
                <a:lnTo>
                  <a:pt x="448" y="215"/>
                </a:lnTo>
                <a:lnTo>
                  <a:pt x="449" y="217"/>
                </a:lnTo>
                <a:lnTo>
                  <a:pt x="450" y="217"/>
                </a:lnTo>
                <a:lnTo>
                  <a:pt x="451" y="218"/>
                </a:lnTo>
                <a:lnTo>
                  <a:pt x="452" y="219"/>
                </a:lnTo>
                <a:lnTo>
                  <a:pt x="454" y="219"/>
                </a:lnTo>
                <a:lnTo>
                  <a:pt x="455" y="220"/>
                </a:lnTo>
                <a:lnTo>
                  <a:pt x="462" y="222"/>
                </a:lnTo>
                <a:lnTo>
                  <a:pt x="463" y="222"/>
                </a:lnTo>
                <a:lnTo>
                  <a:pt x="465" y="223"/>
                </a:lnTo>
                <a:lnTo>
                  <a:pt x="467" y="224"/>
                </a:lnTo>
                <a:lnTo>
                  <a:pt x="468" y="225"/>
                </a:lnTo>
                <a:lnTo>
                  <a:pt x="470" y="226"/>
                </a:lnTo>
                <a:lnTo>
                  <a:pt x="471" y="226"/>
                </a:lnTo>
                <a:lnTo>
                  <a:pt x="471" y="227"/>
                </a:lnTo>
                <a:lnTo>
                  <a:pt x="472" y="228"/>
                </a:lnTo>
                <a:lnTo>
                  <a:pt x="473" y="229"/>
                </a:lnTo>
                <a:lnTo>
                  <a:pt x="474" y="230"/>
                </a:lnTo>
                <a:lnTo>
                  <a:pt x="475" y="233"/>
                </a:lnTo>
                <a:lnTo>
                  <a:pt x="476" y="238"/>
                </a:lnTo>
                <a:lnTo>
                  <a:pt x="477" y="239"/>
                </a:lnTo>
                <a:lnTo>
                  <a:pt x="478" y="241"/>
                </a:lnTo>
                <a:lnTo>
                  <a:pt x="479" y="242"/>
                </a:lnTo>
                <a:lnTo>
                  <a:pt x="480" y="244"/>
                </a:lnTo>
                <a:lnTo>
                  <a:pt x="481" y="245"/>
                </a:lnTo>
                <a:lnTo>
                  <a:pt x="482" y="246"/>
                </a:lnTo>
                <a:lnTo>
                  <a:pt x="483" y="247"/>
                </a:lnTo>
                <a:lnTo>
                  <a:pt x="484" y="248"/>
                </a:lnTo>
                <a:lnTo>
                  <a:pt x="486" y="249"/>
                </a:lnTo>
                <a:lnTo>
                  <a:pt x="487" y="250"/>
                </a:lnTo>
                <a:lnTo>
                  <a:pt x="488" y="250"/>
                </a:lnTo>
                <a:lnTo>
                  <a:pt x="489" y="251"/>
                </a:lnTo>
                <a:lnTo>
                  <a:pt x="490" y="251"/>
                </a:lnTo>
                <a:lnTo>
                  <a:pt x="491" y="251"/>
                </a:lnTo>
                <a:lnTo>
                  <a:pt x="493" y="251"/>
                </a:lnTo>
                <a:lnTo>
                  <a:pt x="494" y="251"/>
                </a:lnTo>
                <a:lnTo>
                  <a:pt x="494" y="250"/>
                </a:lnTo>
                <a:lnTo>
                  <a:pt x="495" y="250"/>
                </a:lnTo>
                <a:lnTo>
                  <a:pt x="498" y="248"/>
                </a:lnTo>
                <a:lnTo>
                  <a:pt x="500" y="247"/>
                </a:lnTo>
                <a:lnTo>
                  <a:pt x="501" y="246"/>
                </a:lnTo>
                <a:lnTo>
                  <a:pt x="501" y="245"/>
                </a:lnTo>
                <a:lnTo>
                  <a:pt x="502" y="244"/>
                </a:lnTo>
                <a:lnTo>
                  <a:pt x="502" y="244"/>
                </a:lnTo>
                <a:lnTo>
                  <a:pt x="502" y="242"/>
                </a:lnTo>
                <a:lnTo>
                  <a:pt x="502" y="241"/>
                </a:lnTo>
                <a:lnTo>
                  <a:pt x="502" y="240"/>
                </a:lnTo>
                <a:lnTo>
                  <a:pt x="501" y="238"/>
                </a:lnTo>
                <a:lnTo>
                  <a:pt x="501" y="238"/>
                </a:lnTo>
                <a:lnTo>
                  <a:pt x="501" y="237"/>
                </a:lnTo>
                <a:lnTo>
                  <a:pt x="501" y="237"/>
                </a:lnTo>
                <a:lnTo>
                  <a:pt x="502" y="236"/>
                </a:lnTo>
                <a:lnTo>
                  <a:pt x="502" y="236"/>
                </a:lnTo>
                <a:lnTo>
                  <a:pt x="503" y="236"/>
                </a:lnTo>
                <a:lnTo>
                  <a:pt x="504" y="236"/>
                </a:lnTo>
                <a:lnTo>
                  <a:pt x="506" y="237"/>
                </a:lnTo>
                <a:lnTo>
                  <a:pt x="508" y="237"/>
                </a:lnTo>
                <a:lnTo>
                  <a:pt x="513" y="238"/>
                </a:lnTo>
                <a:lnTo>
                  <a:pt x="516" y="239"/>
                </a:lnTo>
                <a:lnTo>
                  <a:pt x="518" y="239"/>
                </a:lnTo>
                <a:lnTo>
                  <a:pt x="520" y="239"/>
                </a:lnTo>
                <a:lnTo>
                  <a:pt x="523" y="240"/>
                </a:lnTo>
                <a:lnTo>
                  <a:pt x="529" y="240"/>
                </a:lnTo>
                <a:lnTo>
                  <a:pt x="532" y="240"/>
                </a:lnTo>
                <a:lnTo>
                  <a:pt x="534" y="240"/>
                </a:lnTo>
                <a:lnTo>
                  <a:pt x="536" y="241"/>
                </a:lnTo>
                <a:lnTo>
                  <a:pt x="536" y="241"/>
                </a:lnTo>
                <a:lnTo>
                  <a:pt x="538" y="241"/>
                </a:lnTo>
                <a:lnTo>
                  <a:pt x="539" y="242"/>
                </a:lnTo>
                <a:lnTo>
                  <a:pt x="546" y="246"/>
                </a:lnTo>
                <a:lnTo>
                  <a:pt x="550" y="248"/>
                </a:lnTo>
                <a:lnTo>
                  <a:pt x="552" y="249"/>
                </a:lnTo>
                <a:lnTo>
                  <a:pt x="554" y="250"/>
                </a:lnTo>
                <a:lnTo>
                  <a:pt x="562" y="256"/>
                </a:lnTo>
                <a:lnTo>
                  <a:pt x="564" y="257"/>
                </a:lnTo>
                <a:lnTo>
                  <a:pt x="565" y="257"/>
                </a:lnTo>
                <a:lnTo>
                  <a:pt x="566" y="258"/>
                </a:lnTo>
                <a:lnTo>
                  <a:pt x="569" y="259"/>
                </a:lnTo>
                <a:lnTo>
                  <a:pt x="571" y="260"/>
                </a:lnTo>
                <a:lnTo>
                  <a:pt x="573" y="260"/>
                </a:lnTo>
                <a:lnTo>
                  <a:pt x="575" y="260"/>
                </a:lnTo>
                <a:lnTo>
                  <a:pt x="577" y="260"/>
                </a:lnTo>
                <a:lnTo>
                  <a:pt x="578" y="260"/>
                </a:lnTo>
                <a:lnTo>
                  <a:pt x="579" y="260"/>
                </a:lnTo>
                <a:lnTo>
                  <a:pt x="580" y="260"/>
                </a:lnTo>
                <a:lnTo>
                  <a:pt x="581" y="260"/>
                </a:lnTo>
                <a:lnTo>
                  <a:pt x="582" y="259"/>
                </a:lnTo>
                <a:lnTo>
                  <a:pt x="583" y="259"/>
                </a:lnTo>
                <a:lnTo>
                  <a:pt x="584" y="258"/>
                </a:lnTo>
                <a:lnTo>
                  <a:pt x="584" y="257"/>
                </a:lnTo>
                <a:lnTo>
                  <a:pt x="585" y="256"/>
                </a:lnTo>
                <a:lnTo>
                  <a:pt x="585" y="256"/>
                </a:lnTo>
                <a:lnTo>
                  <a:pt x="586" y="255"/>
                </a:lnTo>
                <a:lnTo>
                  <a:pt x="586" y="254"/>
                </a:lnTo>
                <a:lnTo>
                  <a:pt x="587" y="251"/>
                </a:lnTo>
                <a:lnTo>
                  <a:pt x="588" y="249"/>
                </a:lnTo>
                <a:lnTo>
                  <a:pt x="588" y="249"/>
                </a:lnTo>
                <a:lnTo>
                  <a:pt x="588" y="248"/>
                </a:lnTo>
                <a:lnTo>
                  <a:pt x="589" y="248"/>
                </a:lnTo>
                <a:lnTo>
                  <a:pt x="589" y="247"/>
                </a:lnTo>
                <a:lnTo>
                  <a:pt x="590" y="247"/>
                </a:lnTo>
                <a:lnTo>
                  <a:pt x="591" y="247"/>
                </a:lnTo>
                <a:lnTo>
                  <a:pt x="591" y="247"/>
                </a:lnTo>
                <a:lnTo>
                  <a:pt x="592" y="247"/>
                </a:lnTo>
                <a:lnTo>
                  <a:pt x="593" y="247"/>
                </a:lnTo>
                <a:lnTo>
                  <a:pt x="594" y="248"/>
                </a:lnTo>
                <a:lnTo>
                  <a:pt x="595" y="248"/>
                </a:lnTo>
                <a:lnTo>
                  <a:pt x="596" y="248"/>
                </a:lnTo>
                <a:lnTo>
                  <a:pt x="597" y="249"/>
                </a:lnTo>
                <a:lnTo>
                  <a:pt x="598" y="249"/>
                </a:lnTo>
                <a:lnTo>
                  <a:pt x="598" y="250"/>
                </a:lnTo>
                <a:lnTo>
                  <a:pt x="599" y="251"/>
                </a:lnTo>
                <a:lnTo>
                  <a:pt x="599" y="252"/>
                </a:lnTo>
                <a:lnTo>
                  <a:pt x="600" y="253"/>
                </a:lnTo>
                <a:lnTo>
                  <a:pt x="600" y="254"/>
                </a:lnTo>
                <a:lnTo>
                  <a:pt x="601" y="256"/>
                </a:lnTo>
                <a:lnTo>
                  <a:pt x="601" y="258"/>
                </a:lnTo>
                <a:lnTo>
                  <a:pt x="601" y="260"/>
                </a:lnTo>
                <a:lnTo>
                  <a:pt x="601" y="265"/>
                </a:lnTo>
                <a:lnTo>
                  <a:pt x="601" y="268"/>
                </a:lnTo>
                <a:lnTo>
                  <a:pt x="601" y="270"/>
                </a:lnTo>
                <a:lnTo>
                  <a:pt x="601" y="271"/>
                </a:lnTo>
                <a:lnTo>
                  <a:pt x="601" y="272"/>
                </a:lnTo>
                <a:lnTo>
                  <a:pt x="601" y="272"/>
                </a:lnTo>
                <a:lnTo>
                  <a:pt x="602" y="274"/>
                </a:lnTo>
                <a:lnTo>
                  <a:pt x="602" y="275"/>
                </a:lnTo>
                <a:lnTo>
                  <a:pt x="602" y="276"/>
                </a:lnTo>
                <a:lnTo>
                  <a:pt x="603" y="276"/>
                </a:lnTo>
                <a:lnTo>
                  <a:pt x="604" y="277"/>
                </a:lnTo>
                <a:lnTo>
                  <a:pt x="604" y="278"/>
                </a:lnTo>
                <a:lnTo>
                  <a:pt x="605" y="279"/>
                </a:lnTo>
                <a:lnTo>
                  <a:pt x="606" y="280"/>
                </a:lnTo>
                <a:lnTo>
                  <a:pt x="608" y="282"/>
                </a:lnTo>
                <a:lnTo>
                  <a:pt x="609" y="283"/>
                </a:lnTo>
                <a:lnTo>
                  <a:pt x="610" y="284"/>
                </a:lnTo>
                <a:lnTo>
                  <a:pt x="610" y="284"/>
                </a:lnTo>
                <a:lnTo>
                  <a:pt x="610" y="285"/>
                </a:lnTo>
                <a:lnTo>
                  <a:pt x="611" y="285"/>
                </a:lnTo>
                <a:lnTo>
                  <a:pt x="611" y="286"/>
                </a:lnTo>
                <a:lnTo>
                  <a:pt x="611" y="287"/>
                </a:lnTo>
                <a:lnTo>
                  <a:pt x="610" y="288"/>
                </a:lnTo>
                <a:lnTo>
                  <a:pt x="610" y="289"/>
                </a:lnTo>
                <a:lnTo>
                  <a:pt x="608" y="292"/>
                </a:lnTo>
                <a:lnTo>
                  <a:pt x="607" y="296"/>
                </a:lnTo>
                <a:lnTo>
                  <a:pt x="605" y="300"/>
                </a:lnTo>
                <a:lnTo>
                  <a:pt x="605" y="301"/>
                </a:lnTo>
                <a:lnTo>
                  <a:pt x="604" y="302"/>
                </a:lnTo>
                <a:lnTo>
                  <a:pt x="604" y="304"/>
                </a:lnTo>
                <a:lnTo>
                  <a:pt x="604" y="306"/>
                </a:lnTo>
                <a:lnTo>
                  <a:pt x="604" y="308"/>
                </a:lnTo>
                <a:lnTo>
                  <a:pt x="605" y="310"/>
                </a:lnTo>
                <a:lnTo>
                  <a:pt x="605" y="312"/>
                </a:lnTo>
                <a:lnTo>
                  <a:pt x="607" y="315"/>
                </a:lnTo>
                <a:lnTo>
                  <a:pt x="607" y="317"/>
                </a:lnTo>
                <a:lnTo>
                  <a:pt x="608" y="319"/>
                </a:lnTo>
                <a:lnTo>
                  <a:pt x="609" y="321"/>
                </a:lnTo>
                <a:lnTo>
                  <a:pt x="611" y="325"/>
                </a:lnTo>
                <a:lnTo>
                  <a:pt x="613" y="330"/>
                </a:lnTo>
                <a:lnTo>
                  <a:pt x="615" y="336"/>
                </a:lnTo>
                <a:lnTo>
                  <a:pt x="620" y="345"/>
                </a:lnTo>
                <a:lnTo>
                  <a:pt x="623" y="353"/>
                </a:lnTo>
                <a:lnTo>
                  <a:pt x="625" y="358"/>
                </a:lnTo>
                <a:lnTo>
                  <a:pt x="626" y="360"/>
                </a:lnTo>
                <a:lnTo>
                  <a:pt x="627" y="361"/>
                </a:lnTo>
                <a:lnTo>
                  <a:pt x="627" y="363"/>
                </a:lnTo>
                <a:lnTo>
                  <a:pt x="629" y="369"/>
                </a:lnTo>
                <a:lnTo>
                  <a:pt x="630" y="371"/>
                </a:lnTo>
                <a:lnTo>
                  <a:pt x="630" y="373"/>
                </a:lnTo>
                <a:lnTo>
                  <a:pt x="631" y="374"/>
                </a:lnTo>
                <a:lnTo>
                  <a:pt x="631" y="375"/>
                </a:lnTo>
                <a:lnTo>
                  <a:pt x="632" y="376"/>
                </a:lnTo>
                <a:lnTo>
                  <a:pt x="633" y="377"/>
                </a:lnTo>
                <a:lnTo>
                  <a:pt x="634" y="378"/>
                </a:lnTo>
                <a:lnTo>
                  <a:pt x="634" y="379"/>
                </a:lnTo>
                <a:lnTo>
                  <a:pt x="635" y="380"/>
                </a:lnTo>
                <a:lnTo>
                  <a:pt x="637" y="380"/>
                </a:lnTo>
                <a:lnTo>
                  <a:pt x="638" y="381"/>
                </a:lnTo>
                <a:lnTo>
                  <a:pt x="639" y="382"/>
                </a:lnTo>
                <a:lnTo>
                  <a:pt x="640" y="382"/>
                </a:lnTo>
                <a:lnTo>
                  <a:pt x="642" y="383"/>
                </a:lnTo>
                <a:lnTo>
                  <a:pt x="648" y="385"/>
                </a:lnTo>
                <a:lnTo>
                  <a:pt x="650" y="385"/>
                </a:lnTo>
                <a:lnTo>
                  <a:pt x="655" y="386"/>
                </a:lnTo>
                <a:lnTo>
                  <a:pt x="657" y="386"/>
                </a:lnTo>
                <a:lnTo>
                  <a:pt x="658" y="386"/>
                </a:lnTo>
                <a:lnTo>
                  <a:pt x="659" y="387"/>
                </a:lnTo>
                <a:lnTo>
                  <a:pt x="661" y="388"/>
                </a:lnTo>
                <a:lnTo>
                  <a:pt x="663" y="388"/>
                </a:lnTo>
                <a:lnTo>
                  <a:pt x="664" y="390"/>
                </a:lnTo>
                <a:lnTo>
                  <a:pt x="666" y="392"/>
                </a:lnTo>
                <a:lnTo>
                  <a:pt x="669" y="395"/>
                </a:lnTo>
                <a:lnTo>
                  <a:pt x="670" y="396"/>
                </a:lnTo>
                <a:lnTo>
                  <a:pt x="671" y="397"/>
                </a:lnTo>
                <a:lnTo>
                  <a:pt x="672" y="397"/>
                </a:lnTo>
                <a:lnTo>
                  <a:pt x="674" y="398"/>
                </a:lnTo>
                <a:lnTo>
                  <a:pt x="676" y="399"/>
                </a:lnTo>
                <a:lnTo>
                  <a:pt x="678" y="399"/>
                </a:lnTo>
                <a:lnTo>
                  <a:pt x="679" y="400"/>
                </a:lnTo>
                <a:lnTo>
                  <a:pt x="681" y="400"/>
                </a:lnTo>
                <a:lnTo>
                  <a:pt x="682" y="400"/>
                </a:lnTo>
                <a:lnTo>
                  <a:pt x="683" y="400"/>
                </a:lnTo>
                <a:lnTo>
                  <a:pt x="684" y="400"/>
                </a:lnTo>
                <a:lnTo>
                  <a:pt x="688" y="399"/>
                </a:lnTo>
                <a:lnTo>
                  <a:pt x="691" y="399"/>
                </a:lnTo>
                <a:lnTo>
                  <a:pt x="693" y="399"/>
                </a:lnTo>
                <a:lnTo>
                  <a:pt x="694" y="399"/>
                </a:lnTo>
                <a:lnTo>
                  <a:pt x="695" y="399"/>
                </a:lnTo>
                <a:lnTo>
                  <a:pt x="696" y="399"/>
                </a:lnTo>
                <a:lnTo>
                  <a:pt x="698" y="400"/>
                </a:lnTo>
                <a:lnTo>
                  <a:pt x="700" y="400"/>
                </a:lnTo>
                <a:lnTo>
                  <a:pt x="701" y="401"/>
                </a:lnTo>
                <a:lnTo>
                  <a:pt x="702" y="402"/>
                </a:lnTo>
                <a:lnTo>
                  <a:pt x="703" y="403"/>
                </a:lnTo>
                <a:lnTo>
                  <a:pt x="704" y="403"/>
                </a:lnTo>
                <a:lnTo>
                  <a:pt x="705" y="404"/>
                </a:lnTo>
                <a:lnTo>
                  <a:pt x="706" y="405"/>
                </a:lnTo>
                <a:lnTo>
                  <a:pt x="706" y="407"/>
                </a:lnTo>
                <a:lnTo>
                  <a:pt x="706" y="408"/>
                </a:lnTo>
                <a:lnTo>
                  <a:pt x="707" y="410"/>
                </a:lnTo>
                <a:lnTo>
                  <a:pt x="708" y="413"/>
                </a:lnTo>
                <a:lnTo>
                  <a:pt x="709" y="419"/>
                </a:lnTo>
                <a:lnTo>
                  <a:pt x="711" y="427"/>
                </a:lnTo>
                <a:lnTo>
                  <a:pt x="715" y="439"/>
                </a:lnTo>
                <a:lnTo>
                  <a:pt x="717" y="447"/>
                </a:lnTo>
                <a:lnTo>
                  <a:pt x="717" y="449"/>
                </a:lnTo>
                <a:lnTo>
                  <a:pt x="718" y="450"/>
                </a:lnTo>
                <a:lnTo>
                  <a:pt x="719" y="452"/>
                </a:lnTo>
                <a:lnTo>
                  <a:pt x="720" y="455"/>
                </a:lnTo>
                <a:lnTo>
                  <a:pt x="721" y="456"/>
                </a:lnTo>
                <a:lnTo>
                  <a:pt x="721" y="458"/>
                </a:lnTo>
                <a:lnTo>
                  <a:pt x="722" y="464"/>
                </a:lnTo>
                <a:lnTo>
                  <a:pt x="723" y="466"/>
                </a:lnTo>
                <a:lnTo>
                  <a:pt x="723" y="468"/>
                </a:lnTo>
                <a:lnTo>
                  <a:pt x="724" y="471"/>
                </a:lnTo>
                <a:lnTo>
                  <a:pt x="725" y="474"/>
                </a:lnTo>
                <a:lnTo>
                  <a:pt x="726" y="475"/>
                </a:lnTo>
                <a:lnTo>
                  <a:pt x="728" y="479"/>
                </a:lnTo>
                <a:lnTo>
                  <a:pt x="730" y="482"/>
                </a:lnTo>
                <a:lnTo>
                  <a:pt x="730" y="484"/>
                </a:lnTo>
                <a:lnTo>
                  <a:pt x="731" y="485"/>
                </a:lnTo>
                <a:lnTo>
                  <a:pt x="731" y="487"/>
                </a:lnTo>
                <a:lnTo>
                  <a:pt x="731" y="488"/>
                </a:lnTo>
                <a:lnTo>
                  <a:pt x="731" y="490"/>
                </a:lnTo>
                <a:lnTo>
                  <a:pt x="731" y="491"/>
                </a:lnTo>
                <a:lnTo>
                  <a:pt x="730" y="492"/>
                </a:lnTo>
                <a:lnTo>
                  <a:pt x="729" y="496"/>
                </a:lnTo>
                <a:lnTo>
                  <a:pt x="728" y="499"/>
                </a:lnTo>
                <a:lnTo>
                  <a:pt x="727" y="502"/>
                </a:lnTo>
                <a:lnTo>
                  <a:pt x="727" y="503"/>
                </a:lnTo>
                <a:lnTo>
                  <a:pt x="727" y="504"/>
                </a:lnTo>
                <a:lnTo>
                  <a:pt x="726" y="504"/>
                </a:lnTo>
                <a:lnTo>
                  <a:pt x="725" y="505"/>
                </a:lnTo>
                <a:lnTo>
                  <a:pt x="725" y="505"/>
                </a:lnTo>
                <a:lnTo>
                  <a:pt x="724" y="506"/>
                </a:lnTo>
                <a:lnTo>
                  <a:pt x="722" y="506"/>
                </a:lnTo>
                <a:lnTo>
                  <a:pt x="718" y="508"/>
                </a:lnTo>
                <a:lnTo>
                  <a:pt x="716" y="508"/>
                </a:lnTo>
                <a:lnTo>
                  <a:pt x="714" y="509"/>
                </a:lnTo>
                <a:lnTo>
                  <a:pt x="712" y="510"/>
                </a:lnTo>
                <a:lnTo>
                  <a:pt x="707" y="513"/>
                </a:lnTo>
                <a:lnTo>
                  <a:pt x="704" y="514"/>
                </a:lnTo>
                <a:lnTo>
                  <a:pt x="701" y="516"/>
                </a:lnTo>
                <a:lnTo>
                  <a:pt x="696" y="520"/>
                </a:lnTo>
                <a:lnTo>
                  <a:pt x="694" y="521"/>
                </a:lnTo>
                <a:lnTo>
                  <a:pt x="692" y="522"/>
                </a:lnTo>
                <a:lnTo>
                  <a:pt x="690" y="522"/>
                </a:lnTo>
                <a:lnTo>
                  <a:pt x="689" y="523"/>
                </a:lnTo>
                <a:lnTo>
                  <a:pt x="688" y="523"/>
                </a:lnTo>
                <a:lnTo>
                  <a:pt x="686" y="523"/>
                </a:lnTo>
                <a:lnTo>
                  <a:pt x="685" y="523"/>
                </a:lnTo>
                <a:lnTo>
                  <a:pt x="684" y="523"/>
                </a:lnTo>
                <a:lnTo>
                  <a:pt x="683" y="523"/>
                </a:lnTo>
                <a:lnTo>
                  <a:pt x="680" y="522"/>
                </a:lnTo>
                <a:lnTo>
                  <a:pt x="675" y="521"/>
                </a:lnTo>
                <a:lnTo>
                  <a:pt x="673" y="520"/>
                </a:lnTo>
                <a:lnTo>
                  <a:pt x="671" y="520"/>
                </a:lnTo>
                <a:lnTo>
                  <a:pt x="669" y="519"/>
                </a:lnTo>
                <a:lnTo>
                  <a:pt x="665" y="519"/>
                </a:lnTo>
                <a:lnTo>
                  <a:pt x="660" y="518"/>
                </a:lnTo>
                <a:lnTo>
                  <a:pt x="658" y="518"/>
                </a:lnTo>
                <a:lnTo>
                  <a:pt x="656" y="518"/>
                </a:lnTo>
                <a:lnTo>
                  <a:pt x="653" y="518"/>
                </a:lnTo>
                <a:lnTo>
                  <a:pt x="648" y="519"/>
                </a:lnTo>
                <a:lnTo>
                  <a:pt x="640" y="521"/>
                </a:lnTo>
                <a:lnTo>
                  <a:pt x="638" y="521"/>
                </a:lnTo>
                <a:lnTo>
                  <a:pt x="635" y="522"/>
                </a:lnTo>
                <a:lnTo>
                  <a:pt x="633" y="522"/>
                </a:lnTo>
                <a:lnTo>
                  <a:pt x="632" y="522"/>
                </a:lnTo>
                <a:lnTo>
                  <a:pt x="630" y="521"/>
                </a:lnTo>
                <a:lnTo>
                  <a:pt x="629" y="521"/>
                </a:lnTo>
                <a:lnTo>
                  <a:pt x="628" y="521"/>
                </a:lnTo>
                <a:lnTo>
                  <a:pt x="627" y="520"/>
                </a:lnTo>
                <a:lnTo>
                  <a:pt x="624" y="519"/>
                </a:lnTo>
                <a:lnTo>
                  <a:pt x="622" y="518"/>
                </a:lnTo>
                <a:lnTo>
                  <a:pt x="621" y="518"/>
                </a:lnTo>
                <a:lnTo>
                  <a:pt x="619" y="518"/>
                </a:lnTo>
                <a:lnTo>
                  <a:pt x="618" y="518"/>
                </a:lnTo>
                <a:lnTo>
                  <a:pt x="617" y="518"/>
                </a:lnTo>
                <a:lnTo>
                  <a:pt x="615" y="518"/>
                </a:lnTo>
                <a:lnTo>
                  <a:pt x="613" y="518"/>
                </a:lnTo>
                <a:lnTo>
                  <a:pt x="612" y="519"/>
                </a:lnTo>
                <a:lnTo>
                  <a:pt x="611" y="519"/>
                </a:lnTo>
                <a:lnTo>
                  <a:pt x="610" y="519"/>
                </a:lnTo>
                <a:lnTo>
                  <a:pt x="609" y="520"/>
                </a:lnTo>
                <a:lnTo>
                  <a:pt x="607" y="521"/>
                </a:lnTo>
                <a:lnTo>
                  <a:pt x="606" y="521"/>
                </a:lnTo>
                <a:lnTo>
                  <a:pt x="605" y="522"/>
                </a:lnTo>
                <a:lnTo>
                  <a:pt x="603" y="523"/>
                </a:lnTo>
                <a:lnTo>
                  <a:pt x="603" y="524"/>
                </a:lnTo>
                <a:lnTo>
                  <a:pt x="602" y="526"/>
                </a:lnTo>
                <a:lnTo>
                  <a:pt x="601" y="527"/>
                </a:lnTo>
                <a:lnTo>
                  <a:pt x="600" y="528"/>
                </a:lnTo>
                <a:lnTo>
                  <a:pt x="600" y="529"/>
                </a:lnTo>
                <a:lnTo>
                  <a:pt x="600" y="530"/>
                </a:lnTo>
                <a:lnTo>
                  <a:pt x="600" y="531"/>
                </a:lnTo>
                <a:lnTo>
                  <a:pt x="599" y="532"/>
                </a:lnTo>
                <a:lnTo>
                  <a:pt x="599" y="534"/>
                </a:lnTo>
                <a:lnTo>
                  <a:pt x="599" y="538"/>
                </a:lnTo>
                <a:lnTo>
                  <a:pt x="600" y="540"/>
                </a:lnTo>
                <a:lnTo>
                  <a:pt x="599" y="541"/>
                </a:lnTo>
                <a:lnTo>
                  <a:pt x="599" y="542"/>
                </a:lnTo>
                <a:lnTo>
                  <a:pt x="599" y="544"/>
                </a:lnTo>
                <a:lnTo>
                  <a:pt x="598" y="545"/>
                </a:lnTo>
                <a:lnTo>
                  <a:pt x="598" y="546"/>
                </a:lnTo>
                <a:lnTo>
                  <a:pt x="597" y="548"/>
                </a:lnTo>
                <a:lnTo>
                  <a:pt x="595" y="551"/>
                </a:lnTo>
                <a:lnTo>
                  <a:pt x="592" y="555"/>
                </a:lnTo>
                <a:lnTo>
                  <a:pt x="590" y="557"/>
                </a:lnTo>
                <a:lnTo>
                  <a:pt x="586" y="562"/>
                </a:lnTo>
                <a:lnTo>
                  <a:pt x="582" y="567"/>
                </a:lnTo>
                <a:lnTo>
                  <a:pt x="581" y="568"/>
                </a:lnTo>
                <a:lnTo>
                  <a:pt x="580" y="571"/>
                </a:lnTo>
                <a:lnTo>
                  <a:pt x="577" y="575"/>
                </a:lnTo>
                <a:lnTo>
                  <a:pt x="573" y="581"/>
                </a:lnTo>
                <a:lnTo>
                  <a:pt x="573" y="582"/>
                </a:lnTo>
                <a:lnTo>
                  <a:pt x="571" y="584"/>
                </a:lnTo>
                <a:lnTo>
                  <a:pt x="570" y="585"/>
                </a:lnTo>
                <a:lnTo>
                  <a:pt x="569" y="587"/>
                </a:lnTo>
                <a:lnTo>
                  <a:pt x="567" y="588"/>
                </a:lnTo>
                <a:lnTo>
                  <a:pt x="566" y="589"/>
                </a:lnTo>
                <a:lnTo>
                  <a:pt x="564" y="590"/>
                </a:lnTo>
                <a:lnTo>
                  <a:pt x="562" y="591"/>
                </a:lnTo>
                <a:lnTo>
                  <a:pt x="561" y="592"/>
                </a:lnTo>
                <a:lnTo>
                  <a:pt x="559" y="592"/>
                </a:lnTo>
                <a:lnTo>
                  <a:pt x="558" y="593"/>
                </a:lnTo>
                <a:lnTo>
                  <a:pt x="556" y="593"/>
                </a:lnTo>
                <a:lnTo>
                  <a:pt x="555" y="593"/>
                </a:lnTo>
                <a:lnTo>
                  <a:pt x="553" y="593"/>
                </a:lnTo>
                <a:lnTo>
                  <a:pt x="551" y="593"/>
                </a:lnTo>
                <a:lnTo>
                  <a:pt x="550" y="593"/>
                </a:lnTo>
                <a:lnTo>
                  <a:pt x="544" y="593"/>
                </a:lnTo>
                <a:lnTo>
                  <a:pt x="544" y="593"/>
                </a:lnTo>
                <a:lnTo>
                  <a:pt x="544" y="593"/>
                </a:lnTo>
                <a:lnTo>
                  <a:pt x="543" y="593"/>
                </a:lnTo>
                <a:lnTo>
                  <a:pt x="543" y="593"/>
                </a:lnTo>
                <a:lnTo>
                  <a:pt x="541" y="592"/>
                </a:lnTo>
                <a:lnTo>
                  <a:pt x="540" y="592"/>
                </a:lnTo>
                <a:lnTo>
                  <a:pt x="538" y="591"/>
                </a:lnTo>
                <a:lnTo>
                  <a:pt x="537" y="590"/>
                </a:lnTo>
                <a:lnTo>
                  <a:pt x="535" y="589"/>
                </a:lnTo>
                <a:lnTo>
                  <a:pt x="534" y="588"/>
                </a:lnTo>
                <a:lnTo>
                  <a:pt x="533" y="587"/>
                </a:lnTo>
                <a:lnTo>
                  <a:pt x="533" y="586"/>
                </a:lnTo>
                <a:lnTo>
                  <a:pt x="532" y="585"/>
                </a:lnTo>
                <a:lnTo>
                  <a:pt x="531" y="584"/>
                </a:lnTo>
                <a:lnTo>
                  <a:pt x="531" y="583"/>
                </a:lnTo>
                <a:lnTo>
                  <a:pt x="530" y="581"/>
                </a:lnTo>
                <a:lnTo>
                  <a:pt x="528" y="575"/>
                </a:lnTo>
                <a:lnTo>
                  <a:pt x="527" y="574"/>
                </a:lnTo>
                <a:lnTo>
                  <a:pt x="526" y="573"/>
                </a:lnTo>
                <a:lnTo>
                  <a:pt x="526" y="572"/>
                </a:lnTo>
                <a:lnTo>
                  <a:pt x="525" y="571"/>
                </a:lnTo>
                <a:lnTo>
                  <a:pt x="522" y="567"/>
                </a:lnTo>
                <a:lnTo>
                  <a:pt x="521" y="565"/>
                </a:lnTo>
                <a:lnTo>
                  <a:pt x="520" y="565"/>
                </a:lnTo>
                <a:lnTo>
                  <a:pt x="519" y="564"/>
                </a:lnTo>
                <a:lnTo>
                  <a:pt x="517" y="562"/>
                </a:lnTo>
                <a:lnTo>
                  <a:pt x="510" y="557"/>
                </a:lnTo>
                <a:lnTo>
                  <a:pt x="508" y="556"/>
                </a:lnTo>
                <a:lnTo>
                  <a:pt x="507" y="555"/>
                </a:lnTo>
                <a:lnTo>
                  <a:pt x="506" y="554"/>
                </a:lnTo>
                <a:lnTo>
                  <a:pt x="505" y="552"/>
                </a:lnTo>
                <a:lnTo>
                  <a:pt x="504" y="551"/>
                </a:lnTo>
                <a:lnTo>
                  <a:pt x="503" y="549"/>
                </a:lnTo>
                <a:lnTo>
                  <a:pt x="501" y="547"/>
                </a:lnTo>
                <a:lnTo>
                  <a:pt x="498" y="542"/>
                </a:lnTo>
                <a:lnTo>
                  <a:pt x="498" y="541"/>
                </a:lnTo>
                <a:lnTo>
                  <a:pt x="497" y="539"/>
                </a:lnTo>
                <a:lnTo>
                  <a:pt x="496" y="538"/>
                </a:lnTo>
                <a:lnTo>
                  <a:pt x="495" y="537"/>
                </a:lnTo>
                <a:lnTo>
                  <a:pt x="494" y="536"/>
                </a:lnTo>
                <a:lnTo>
                  <a:pt x="492" y="536"/>
                </a:lnTo>
                <a:lnTo>
                  <a:pt x="490" y="535"/>
                </a:lnTo>
                <a:lnTo>
                  <a:pt x="489" y="535"/>
                </a:lnTo>
                <a:lnTo>
                  <a:pt x="488" y="535"/>
                </a:lnTo>
                <a:lnTo>
                  <a:pt x="486" y="535"/>
                </a:lnTo>
                <a:lnTo>
                  <a:pt x="486" y="535"/>
                </a:lnTo>
                <a:lnTo>
                  <a:pt x="484" y="535"/>
                </a:lnTo>
                <a:lnTo>
                  <a:pt x="479" y="536"/>
                </a:lnTo>
                <a:lnTo>
                  <a:pt x="478" y="536"/>
                </a:lnTo>
                <a:lnTo>
                  <a:pt x="476" y="537"/>
                </a:lnTo>
                <a:lnTo>
                  <a:pt x="475" y="537"/>
                </a:lnTo>
                <a:lnTo>
                  <a:pt x="474" y="537"/>
                </a:lnTo>
                <a:lnTo>
                  <a:pt x="472" y="537"/>
                </a:lnTo>
                <a:lnTo>
                  <a:pt x="468" y="536"/>
                </a:lnTo>
                <a:lnTo>
                  <a:pt x="466" y="536"/>
                </a:lnTo>
                <a:lnTo>
                  <a:pt x="458" y="534"/>
                </a:lnTo>
                <a:lnTo>
                  <a:pt x="456" y="534"/>
                </a:lnTo>
                <a:lnTo>
                  <a:pt x="455" y="533"/>
                </a:lnTo>
                <a:lnTo>
                  <a:pt x="453" y="532"/>
                </a:lnTo>
                <a:lnTo>
                  <a:pt x="451" y="532"/>
                </a:lnTo>
                <a:lnTo>
                  <a:pt x="450" y="531"/>
                </a:lnTo>
                <a:lnTo>
                  <a:pt x="448" y="530"/>
                </a:lnTo>
                <a:lnTo>
                  <a:pt x="443" y="526"/>
                </a:lnTo>
                <a:lnTo>
                  <a:pt x="441" y="525"/>
                </a:lnTo>
                <a:lnTo>
                  <a:pt x="440" y="524"/>
                </a:lnTo>
                <a:lnTo>
                  <a:pt x="438" y="523"/>
                </a:lnTo>
                <a:lnTo>
                  <a:pt x="437" y="522"/>
                </a:lnTo>
                <a:lnTo>
                  <a:pt x="435" y="522"/>
                </a:lnTo>
                <a:lnTo>
                  <a:pt x="433" y="522"/>
                </a:lnTo>
                <a:lnTo>
                  <a:pt x="429" y="522"/>
                </a:lnTo>
                <a:lnTo>
                  <a:pt x="427" y="521"/>
                </a:lnTo>
                <a:lnTo>
                  <a:pt x="426" y="521"/>
                </a:lnTo>
                <a:lnTo>
                  <a:pt x="421" y="520"/>
                </a:lnTo>
                <a:lnTo>
                  <a:pt x="420" y="520"/>
                </a:lnTo>
                <a:lnTo>
                  <a:pt x="419" y="519"/>
                </a:lnTo>
                <a:lnTo>
                  <a:pt x="416" y="519"/>
                </a:lnTo>
                <a:lnTo>
                  <a:pt x="411" y="519"/>
                </a:lnTo>
                <a:lnTo>
                  <a:pt x="407" y="520"/>
                </a:lnTo>
                <a:lnTo>
                  <a:pt x="403" y="520"/>
                </a:lnTo>
                <a:lnTo>
                  <a:pt x="397" y="521"/>
                </a:lnTo>
                <a:lnTo>
                  <a:pt x="394" y="522"/>
                </a:lnTo>
                <a:lnTo>
                  <a:pt x="389" y="524"/>
                </a:lnTo>
                <a:lnTo>
                  <a:pt x="379" y="527"/>
                </a:lnTo>
                <a:lnTo>
                  <a:pt x="376" y="527"/>
                </a:lnTo>
                <a:lnTo>
                  <a:pt x="374" y="528"/>
                </a:lnTo>
                <a:lnTo>
                  <a:pt x="373" y="528"/>
                </a:lnTo>
                <a:lnTo>
                  <a:pt x="372" y="528"/>
                </a:lnTo>
                <a:lnTo>
                  <a:pt x="370" y="528"/>
                </a:lnTo>
                <a:lnTo>
                  <a:pt x="369" y="527"/>
                </a:lnTo>
                <a:lnTo>
                  <a:pt x="368" y="527"/>
                </a:lnTo>
                <a:lnTo>
                  <a:pt x="367" y="526"/>
                </a:lnTo>
                <a:lnTo>
                  <a:pt x="367" y="526"/>
                </a:lnTo>
                <a:lnTo>
                  <a:pt x="366" y="525"/>
                </a:lnTo>
                <a:lnTo>
                  <a:pt x="365" y="524"/>
                </a:lnTo>
                <a:lnTo>
                  <a:pt x="365" y="523"/>
                </a:lnTo>
                <a:lnTo>
                  <a:pt x="362" y="519"/>
                </a:lnTo>
                <a:lnTo>
                  <a:pt x="362" y="518"/>
                </a:lnTo>
                <a:lnTo>
                  <a:pt x="361" y="517"/>
                </a:lnTo>
                <a:lnTo>
                  <a:pt x="360" y="516"/>
                </a:lnTo>
                <a:lnTo>
                  <a:pt x="358" y="514"/>
                </a:lnTo>
                <a:lnTo>
                  <a:pt x="357" y="513"/>
                </a:lnTo>
                <a:lnTo>
                  <a:pt x="355" y="512"/>
                </a:lnTo>
                <a:lnTo>
                  <a:pt x="353" y="511"/>
                </a:lnTo>
                <a:lnTo>
                  <a:pt x="351" y="510"/>
                </a:lnTo>
                <a:lnTo>
                  <a:pt x="349" y="510"/>
                </a:lnTo>
                <a:lnTo>
                  <a:pt x="347" y="509"/>
                </a:lnTo>
                <a:lnTo>
                  <a:pt x="344" y="508"/>
                </a:lnTo>
                <a:lnTo>
                  <a:pt x="342" y="508"/>
                </a:lnTo>
                <a:lnTo>
                  <a:pt x="340" y="508"/>
                </a:lnTo>
                <a:lnTo>
                  <a:pt x="339" y="508"/>
                </a:lnTo>
                <a:lnTo>
                  <a:pt x="339" y="508"/>
                </a:lnTo>
                <a:lnTo>
                  <a:pt x="338" y="508"/>
                </a:lnTo>
                <a:lnTo>
                  <a:pt x="338" y="508"/>
                </a:lnTo>
                <a:lnTo>
                  <a:pt x="336" y="509"/>
                </a:lnTo>
                <a:lnTo>
                  <a:pt x="335" y="509"/>
                </a:lnTo>
                <a:lnTo>
                  <a:pt x="333" y="509"/>
                </a:lnTo>
                <a:lnTo>
                  <a:pt x="333" y="509"/>
                </a:lnTo>
                <a:lnTo>
                  <a:pt x="332" y="509"/>
                </a:lnTo>
                <a:lnTo>
                  <a:pt x="331" y="508"/>
                </a:lnTo>
                <a:lnTo>
                  <a:pt x="330" y="505"/>
                </a:lnTo>
                <a:lnTo>
                  <a:pt x="328" y="500"/>
                </a:lnTo>
                <a:lnTo>
                  <a:pt x="327" y="498"/>
                </a:lnTo>
                <a:lnTo>
                  <a:pt x="326" y="496"/>
                </a:lnTo>
                <a:lnTo>
                  <a:pt x="324" y="495"/>
                </a:lnTo>
                <a:lnTo>
                  <a:pt x="324" y="494"/>
                </a:lnTo>
                <a:lnTo>
                  <a:pt x="323" y="494"/>
                </a:lnTo>
                <a:lnTo>
                  <a:pt x="323" y="494"/>
                </a:lnTo>
                <a:lnTo>
                  <a:pt x="322" y="494"/>
                </a:lnTo>
                <a:lnTo>
                  <a:pt x="322" y="494"/>
                </a:lnTo>
                <a:lnTo>
                  <a:pt x="321" y="494"/>
                </a:lnTo>
                <a:lnTo>
                  <a:pt x="320" y="494"/>
                </a:lnTo>
                <a:lnTo>
                  <a:pt x="318" y="494"/>
                </a:lnTo>
                <a:lnTo>
                  <a:pt x="317" y="494"/>
                </a:lnTo>
                <a:lnTo>
                  <a:pt x="316" y="495"/>
                </a:lnTo>
                <a:lnTo>
                  <a:pt x="315" y="496"/>
                </a:lnTo>
                <a:lnTo>
                  <a:pt x="313" y="497"/>
                </a:lnTo>
                <a:lnTo>
                  <a:pt x="310" y="500"/>
                </a:lnTo>
                <a:lnTo>
                  <a:pt x="309" y="500"/>
                </a:lnTo>
                <a:lnTo>
                  <a:pt x="309" y="501"/>
                </a:lnTo>
                <a:lnTo>
                  <a:pt x="308" y="501"/>
                </a:lnTo>
                <a:lnTo>
                  <a:pt x="307" y="501"/>
                </a:lnTo>
                <a:lnTo>
                  <a:pt x="307" y="500"/>
                </a:lnTo>
                <a:lnTo>
                  <a:pt x="306" y="500"/>
                </a:lnTo>
                <a:lnTo>
                  <a:pt x="305" y="499"/>
                </a:lnTo>
                <a:lnTo>
                  <a:pt x="305" y="498"/>
                </a:lnTo>
                <a:lnTo>
                  <a:pt x="304" y="497"/>
                </a:lnTo>
                <a:lnTo>
                  <a:pt x="304" y="495"/>
                </a:lnTo>
                <a:lnTo>
                  <a:pt x="304" y="494"/>
                </a:lnTo>
                <a:lnTo>
                  <a:pt x="304" y="494"/>
                </a:lnTo>
                <a:lnTo>
                  <a:pt x="304" y="493"/>
                </a:lnTo>
                <a:lnTo>
                  <a:pt x="304" y="491"/>
                </a:lnTo>
                <a:lnTo>
                  <a:pt x="305" y="490"/>
                </a:lnTo>
                <a:lnTo>
                  <a:pt x="306" y="488"/>
                </a:lnTo>
                <a:lnTo>
                  <a:pt x="306" y="487"/>
                </a:lnTo>
                <a:lnTo>
                  <a:pt x="306" y="486"/>
                </a:lnTo>
                <a:lnTo>
                  <a:pt x="306" y="485"/>
                </a:lnTo>
                <a:lnTo>
                  <a:pt x="306" y="485"/>
                </a:lnTo>
                <a:lnTo>
                  <a:pt x="306" y="484"/>
                </a:lnTo>
                <a:lnTo>
                  <a:pt x="306" y="482"/>
                </a:lnTo>
                <a:lnTo>
                  <a:pt x="305" y="481"/>
                </a:lnTo>
                <a:lnTo>
                  <a:pt x="303" y="477"/>
                </a:lnTo>
                <a:lnTo>
                  <a:pt x="301" y="474"/>
                </a:lnTo>
                <a:lnTo>
                  <a:pt x="299" y="471"/>
                </a:lnTo>
                <a:lnTo>
                  <a:pt x="296" y="468"/>
                </a:lnTo>
                <a:lnTo>
                  <a:pt x="295" y="466"/>
                </a:lnTo>
                <a:lnTo>
                  <a:pt x="292" y="463"/>
                </a:lnTo>
                <a:lnTo>
                  <a:pt x="287" y="458"/>
                </a:lnTo>
                <a:lnTo>
                  <a:pt x="285" y="457"/>
                </a:lnTo>
                <a:lnTo>
                  <a:pt x="283" y="455"/>
                </a:lnTo>
                <a:lnTo>
                  <a:pt x="273" y="447"/>
                </a:lnTo>
                <a:lnTo>
                  <a:pt x="272" y="447"/>
                </a:lnTo>
                <a:lnTo>
                  <a:pt x="271" y="446"/>
                </a:lnTo>
                <a:lnTo>
                  <a:pt x="270" y="445"/>
                </a:lnTo>
                <a:lnTo>
                  <a:pt x="269" y="444"/>
                </a:lnTo>
                <a:lnTo>
                  <a:pt x="268" y="441"/>
                </a:lnTo>
                <a:lnTo>
                  <a:pt x="267" y="440"/>
                </a:lnTo>
                <a:lnTo>
                  <a:pt x="265" y="436"/>
                </a:lnTo>
                <a:lnTo>
                  <a:pt x="264" y="434"/>
                </a:lnTo>
                <a:lnTo>
                  <a:pt x="263" y="433"/>
                </a:lnTo>
                <a:lnTo>
                  <a:pt x="262" y="431"/>
                </a:lnTo>
                <a:lnTo>
                  <a:pt x="260" y="429"/>
                </a:lnTo>
                <a:lnTo>
                  <a:pt x="259" y="427"/>
                </a:lnTo>
                <a:lnTo>
                  <a:pt x="258" y="426"/>
                </a:lnTo>
                <a:lnTo>
                  <a:pt x="256" y="425"/>
                </a:lnTo>
                <a:lnTo>
                  <a:pt x="255" y="425"/>
                </a:lnTo>
                <a:lnTo>
                  <a:pt x="255" y="424"/>
                </a:lnTo>
                <a:lnTo>
                  <a:pt x="254" y="424"/>
                </a:lnTo>
                <a:lnTo>
                  <a:pt x="254" y="424"/>
                </a:lnTo>
                <a:lnTo>
                  <a:pt x="253" y="424"/>
                </a:lnTo>
                <a:lnTo>
                  <a:pt x="252" y="424"/>
                </a:lnTo>
                <a:lnTo>
                  <a:pt x="252" y="425"/>
                </a:lnTo>
                <a:lnTo>
                  <a:pt x="251" y="425"/>
                </a:lnTo>
                <a:lnTo>
                  <a:pt x="249" y="426"/>
                </a:lnTo>
                <a:lnTo>
                  <a:pt x="249" y="427"/>
                </a:lnTo>
                <a:lnTo>
                  <a:pt x="248" y="427"/>
                </a:lnTo>
                <a:lnTo>
                  <a:pt x="247" y="427"/>
                </a:lnTo>
                <a:lnTo>
                  <a:pt x="246" y="427"/>
                </a:lnTo>
                <a:lnTo>
                  <a:pt x="245" y="427"/>
                </a:lnTo>
                <a:lnTo>
                  <a:pt x="244" y="427"/>
                </a:lnTo>
                <a:lnTo>
                  <a:pt x="243" y="427"/>
                </a:lnTo>
                <a:lnTo>
                  <a:pt x="241" y="426"/>
                </a:lnTo>
                <a:lnTo>
                  <a:pt x="240" y="425"/>
                </a:lnTo>
                <a:lnTo>
                  <a:pt x="238" y="424"/>
                </a:lnTo>
                <a:lnTo>
                  <a:pt x="237" y="423"/>
                </a:lnTo>
                <a:lnTo>
                  <a:pt x="235" y="422"/>
                </a:lnTo>
                <a:lnTo>
                  <a:pt x="234" y="421"/>
                </a:lnTo>
                <a:lnTo>
                  <a:pt x="234" y="420"/>
                </a:lnTo>
                <a:lnTo>
                  <a:pt x="233" y="419"/>
                </a:lnTo>
                <a:lnTo>
                  <a:pt x="232" y="418"/>
                </a:lnTo>
                <a:lnTo>
                  <a:pt x="231" y="416"/>
                </a:lnTo>
                <a:lnTo>
                  <a:pt x="231" y="414"/>
                </a:lnTo>
                <a:lnTo>
                  <a:pt x="230" y="412"/>
                </a:lnTo>
                <a:lnTo>
                  <a:pt x="230" y="410"/>
                </a:lnTo>
                <a:lnTo>
                  <a:pt x="230" y="408"/>
                </a:lnTo>
                <a:lnTo>
                  <a:pt x="229" y="406"/>
                </a:lnTo>
                <a:lnTo>
                  <a:pt x="229" y="404"/>
                </a:lnTo>
                <a:lnTo>
                  <a:pt x="230" y="403"/>
                </a:lnTo>
                <a:lnTo>
                  <a:pt x="230" y="401"/>
                </a:lnTo>
                <a:lnTo>
                  <a:pt x="230" y="400"/>
                </a:lnTo>
                <a:lnTo>
                  <a:pt x="230" y="397"/>
                </a:lnTo>
                <a:lnTo>
                  <a:pt x="232" y="391"/>
                </a:lnTo>
                <a:lnTo>
                  <a:pt x="232" y="390"/>
                </a:lnTo>
                <a:lnTo>
                  <a:pt x="232" y="388"/>
                </a:lnTo>
                <a:lnTo>
                  <a:pt x="232" y="387"/>
                </a:lnTo>
                <a:lnTo>
                  <a:pt x="233" y="385"/>
                </a:lnTo>
                <a:lnTo>
                  <a:pt x="232" y="383"/>
                </a:lnTo>
                <a:lnTo>
                  <a:pt x="232" y="382"/>
                </a:lnTo>
                <a:lnTo>
                  <a:pt x="232" y="380"/>
                </a:lnTo>
                <a:lnTo>
                  <a:pt x="231" y="377"/>
                </a:lnTo>
                <a:lnTo>
                  <a:pt x="231" y="375"/>
                </a:lnTo>
                <a:lnTo>
                  <a:pt x="230" y="373"/>
                </a:lnTo>
                <a:lnTo>
                  <a:pt x="229" y="372"/>
                </a:lnTo>
                <a:lnTo>
                  <a:pt x="229" y="371"/>
                </a:lnTo>
                <a:lnTo>
                  <a:pt x="228" y="369"/>
                </a:lnTo>
                <a:lnTo>
                  <a:pt x="227" y="368"/>
                </a:lnTo>
                <a:lnTo>
                  <a:pt x="226" y="368"/>
                </a:lnTo>
                <a:lnTo>
                  <a:pt x="225" y="368"/>
                </a:lnTo>
                <a:lnTo>
                  <a:pt x="225" y="367"/>
                </a:lnTo>
                <a:lnTo>
                  <a:pt x="224" y="367"/>
                </a:lnTo>
                <a:lnTo>
                  <a:pt x="223" y="367"/>
                </a:lnTo>
                <a:lnTo>
                  <a:pt x="222" y="367"/>
                </a:lnTo>
                <a:lnTo>
                  <a:pt x="222" y="367"/>
                </a:lnTo>
                <a:lnTo>
                  <a:pt x="221" y="367"/>
                </a:lnTo>
                <a:lnTo>
                  <a:pt x="217" y="368"/>
                </a:lnTo>
                <a:lnTo>
                  <a:pt x="215" y="368"/>
                </a:lnTo>
                <a:lnTo>
                  <a:pt x="208" y="371"/>
                </a:lnTo>
                <a:lnTo>
                  <a:pt x="206" y="371"/>
                </a:lnTo>
                <a:lnTo>
                  <a:pt x="204" y="372"/>
                </a:lnTo>
                <a:lnTo>
                  <a:pt x="201" y="373"/>
                </a:lnTo>
                <a:lnTo>
                  <a:pt x="198" y="375"/>
                </a:lnTo>
                <a:lnTo>
                  <a:pt x="197" y="375"/>
                </a:lnTo>
                <a:lnTo>
                  <a:pt x="196" y="375"/>
                </a:lnTo>
                <a:lnTo>
                  <a:pt x="195" y="375"/>
                </a:lnTo>
                <a:lnTo>
                  <a:pt x="194" y="375"/>
                </a:lnTo>
                <a:lnTo>
                  <a:pt x="193" y="375"/>
                </a:lnTo>
                <a:lnTo>
                  <a:pt x="188" y="374"/>
                </a:lnTo>
                <a:lnTo>
                  <a:pt x="187" y="374"/>
                </a:lnTo>
                <a:lnTo>
                  <a:pt x="186" y="374"/>
                </a:lnTo>
                <a:lnTo>
                  <a:pt x="183" y="373"/>
                </a:lnTo>
                <a:lnTo>
                  <a:pt x="177" y="370"/>
                </a:lnTo>
                <a:lnTo>
                  <a:pt x="176" y="369"/>
                </a:lnTo>
                <a:lnTo>
                  <a:pt x="174" y="368"/>
                </a:lnTo>
                <a:lnTo>
                  <a:pt x="173" y="367"/>
                </a:lnTo>
                <a:lnTo>
                  <a:pt x="171" y="365"/>
                </a:lnTo>
                <a:lnTo>
                  <a:pt x="169" y="364"/>
                </a:lnTo>
                <a:lnTo>
                  <a:pt x="168" y="363"/>
                </a:lnTo>
                <a:lnTo>
                  <a:pt x="167" y="362"/>
                </a:lnTo>
                <a:lnTo>
                  <a:pt x="164" y="361"/>
                </a:lnTo>
                <a:lnTo>
                  <a:pt x="164" y="361"/>
                </a:lnTo>
                <a:lnTo>
                  <a:pt x="162" y="360"/>
                </a:lnTo>
                <a:lnTo>
                  <a:pt x="161" y="359"/>
                </a:lnTo>
                <a:lnTo>
                  <a:pt x="160" y="358"/>
                </a:lnTo>
                <a:lnTo>
                  <a:pt x="159" y="357"/>
                </a:lnTo>
                <a:lnTo>
                  <a:pt x="158" y="355"/>
                </a:lnTo>
                <a:lnTo>
                  <a:pt x="157" y="353"/>
                </a:lnTo>
                <a:lnTo>
                  <a:pt x="156" y="351"/>
                </a:lnTo>
                <a:lnTo>
                  <a:pt x="155" y="350"/>
                </a:lnTo>
                <a:lnTo>
                  <a:pt x="151" y="346"/>
                </a:lnTo>
                <a:lnTo>
                  <a:pt x="150" y="345"/>
                </a:lnTo>
                <a:lnTo>
                  <a:pt x="150" y="344"/>
                </a:lnTo>
                <a:lnTo>
                  <a:pt x="149" y="343"/>
                </a:lnTo>
                <a:lnTo>
                  <a:pt x="149" y="342"/>
                </a:lnTo>
                <a:lnTo>
                  <a:pt x="149" y="340"/>
                </a:lnTo>
                <a:lnTo>
                  <a:pt x="148" y="338"/>
                </a:lnTo>
                <a:lnTo>
                  <a:pt x="148" y="337"/>
                </a:lnTo>
                <a:lnTo>
                  <a:pt x="148" y="336"/>
                </a:lnTo>
                <a:lnTo>
                  <a:pt x="148" y="335"/>
                </a:lnTo>
                <a:lnTo>
                  <a:pt x="147" y="334"/>
                </a:lnTo>
                <a:lnTo>
                  <a:pt x="146" y="333"/>
                </a:lnTo>
                <a:lnTo>
                  <a:pt x="146" y="332"/>
                </a:lnTo>
                <a:lnTo>
                  <a:pt x="144" y="328"/>
                </a:lnTo>
                <a:lnTo>
                  <a:pt x="143" y="327"/>
                </a:lnTo>
                <a:lnTo>
                  <a:pt x="142" y="324"/>
                </a:lnTo>
                <a:lnTo>
                  <a:pt x="142" y="323"/>
                </a:lnTo>
                <a:lnTo>
                  <a:pt x="141" y="321"/>
                </a:lnTo>
                <a:lnTo>
                  <a:pt x="141" y="320"/>
                </a:lnTo>
                <a:lnTo>
                  <a:pt x="141" y="317"/>
                </a:lnTo>
                <a:lnTo>
                  <a:pt x="141" y="315"/>
                </a:lnTo>
                <a:lnTo>
                  <a:pt x="141" y="313"/>
                </a:lnTo>
                <a:lnTo>
                  <a:pt x="140" y="311"/>
                </a:lnTo>
                <a:lnTo>
                  <a:pt x="139" y="309"/>
                </a:lnTo>
                <a:lnTo>
                  <a:pt x="137" y="305"/>
                </a:lnTo>
                <a:lnTo>
                  <a:pt x="135" y="302"/>
                </a:lnTo>
                <a:lnTo>
                  <a:pt x="135" y="301"/>
                </a:lnTo>
                <a:lnTo>
                  <a:pt x="134" y="300"/>
                </a:lnTo>
                <a:lnTo>
                  <a:pt x="134" y="300"/>
                </a:lnTo>
                <a:lnTo>
                  <a:pt x="134" y="299"/>
                </a:lnTo>
                <a:lnTo>
                  <a:pt x="133" y="299"/>
                </a:lnTo>
                <a:lnTo>
                  <a:pt x="131" y="299"/>
                </a:lnTo>
                <a:lnTo>
                  <a:pt x="130" y="299"/>
                </a:lnTo>
                <a:lnTo>
                  <a:pt x="129" y="299"/>
                </a:lnTo>
                <a:lnTo>
                  <a:pt x="128" y="299"/>
                </a:lnTo>
                <a:lnTo>
                  <a:pt x="128" y="300"/>
                </a:lnTo>
                <a:lnTo>
                  <a:pt x="127" y="300"/>
                </a:lnTo>
                <a:lnTo>
                  <a:pt x="127" y="301"/>
                </a:lnTo>
                <a:lnTo>
                  <a:pt x="127" y="302"/>
                </a:lnTo>
                <a:lnTo>
                  <a:pt x="127" y="303"/>
                </a:lnTo>
                <a:lnTo>
                  <a:pt x="127" y="305"/>
                </a:lnTo>
                <a:lnTo>
                  <a:pt x="129" y="315"/>
                </a:lnTo>
                <a:lnTo>
                  <a:pt x="130" y="316"/>
                </a:lnTo>
                <a:lnTo>
                  <a:pt x="130" y="317"/>
                </a:lnTo>
                <a:lnTo>
                  <a:pt x="130" y="319"/>
                </a:lnTo>
                <a:lnTo>
                  <a:pt x="130" y="320"/>
                </a:lnTo>
                <a:lnTo>
                  <a:pt x="129" y="321"/>
                </a:lnTo>
                <a:lnTo>
                  <a:pt x="129" y="321"/>
                </a:lnTo>
                <a:lnTo>
                  <a:pt x="129" y="322"/>
                </a:lnTo>
                <a:lnTo>
                  <a:pt x="128" y="323"/>
                </a:lnTo>
                <a:lnTo>
                  <a:pt x="126" y="324"/>
                </a:lnTo>
                <a:lnTo>
                  <a:pt x="126" y="325"/>
                </a:lnTo>
                <a:lnTo>
                  <a:pt x="125" y="326"/>
                </a:lnTo>
                <a:lnTo>
                  <a:pt x="124" y="326"/>
                </a:lnTo>
                <a:lnTo>
                  <a:pt x="123" y="326"/>
                </a:lnTo>
                <a:lnTo>
                  <a:pt x="123" y="326"/>
                </a:lnTo>
                <a:lnTo>
                  <a:pt x="122" y="326"/>
                </a:lnTo>
                <a:lnTo>
                  <a:pt x="121" y="326"/>
                </a:lnTo>
                <a:lnTo>
                  <a:pt x="120" y="325"/>
                </a:lnTo>
                <a:lnTo>
                  <a:pt x="120" y="325"/>
                </a:lnTo>
                <a:lnTo>
                  <a:pt x="119" y="325"/>
                </a:lnTo>
                <a:lnTo>
                  <a:pt x="119" y="326"/>
                </a:lnTo>
                <a:lnTo>
                  <a:pt x="118" y="326"/>
                </a:lnTo>
                <a:lnTo>
                  <a:pt x="117" y="327"/>
                </a:lnTo>
                <a:lnTo>
                  <a:pt x="116" y="327"/>
                </a:lnTo>
                <a:lnTo>
                  <a:pt x="114" y="329"/>
                </a:lnTo>
                <a:lnTo>
                  <a:pt x="113" y="329"/>
                </a:lnTo>
                <a:lnTo>
                  <a:pt x="112" y="330"/>
                </a:lnTo>
                <a:lnTo>
                  <a:pt x="112" y="330"/>
                </a:lnTo>
                <a:lnTo>
                  <a:pt x="111" y="331"/>
                </a:lnTo>
                <a:lnTo>
                  <a:pt x="111" y="332"/>
                </a:lnTo>
                <a:lnTo>
                  <a:pt x="110" y="334"/>
                </a:lnTo>
                <a:lnTo>
                  <a:pt x="109" y="335"/>
                </a:lnTo>
                <a:lnTo>
                  <a:pt x="109" y="336"/>
                </a:lnTo>
                <a:lnTo>
                  <a:pt x="108" y="336"/>
                </a:lnTo>
                <a:lnTo>
                  <a:pt x="105" y="340"/>
                </a:lnTo>
                <a:lnTo>
                  <a:pt x="104" y="340"/>
                </a:lnTo>
                <a:lnTo>
                  <a:pt x="103" y="341"/>
                </a:lnTo>
                <a:lnTo>
                  <a:pt x="102" y="344"/>
                </a:lnTo>
                <a:lnTo>
                  <a:pt x="101" y="346"/>
                </a:lnTo>
                <a:lnTo>
                  <a:pt x="100" y="346"/>
                </a:lnTo>
                <a:lnTo>
                  <a:pt x="100" y="346"/>
                </a:lnTo>
                <a:lnTo>
                  <a:pt x="99" y="346"/>
                </a:lnTo>
                <a:lnTo>
                  <a:pt x="99" y="347"/>
                </a:lnTo>
                <a:lnTo>
                  <a:pt x="98" y="347"/>
                </a:lnTo>
                <a:lnTo>
                  <a:pt x="98" y="346"/>
                </a:lnTo>
                <a:lnTo>
                  <a:pt x="97" y="346"/>
                </a:lnTo>
                <a:lnTo>
                  <a:pt x="96" y="345"/>
                </a:ln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Freeform 292">
            <a:extLst>
              <a:ext uri="{FF2B5EF4-FFF2-40B4-BE49-F238E27FC236}">
                <a16:creationId xmlns:a16="http://schemas.microsoft.com/office/drawing/2014/main" id="{0BFB0321-78B8-4AFC-B7BC-51A36D2A18F9}"/>
              </a:ext>
            </a:extLst>
          </p:cNvPr>
          <p:cNvSpPr>
            <a:spLocks/>
          </p:cNvSpPr>
          <p:nvPr/>
        </p:nvSpPr>
        <p:spPr bwMode="auto">
          <a:xfrm>
            <a:off x="10636830" y="3949210"/>
            <a:ext cx="1206958" cy="1233172"/>
          </a:xfrm>
          <a:custGeom>
            <a:avLst/>
            <a:gdLst>
              <a:gd name="T0" fmla="*/ 139 w 635"/>
              <a:gd name="T1" fmla="*/ 11 h 593"/>
              <a:gd name="T2" fmla="*/ 139 w 635"/>
              <a:gd name="T3" fmla="*/ 33 h 593"/>
              <a:gd name="T4" fmla="*/ 152 w 635"/>
              <a:gd name="T5" fmla="*/ 62 h 593"/>
              <a:gd name="T6" fmla="*/ 136 w 635"/>
              <a:gd name="T7" fmla="*/ 79 h 593"/>
              <a:gd name="T8" fmla="*/ 93 w 635"/>
              <a:gd name="T9" fmla="*/ 100 h 593"/>
              <a:gd name="T10" fmla="*/ 91 w 635"/>
              <a:gd name="T11" fmla="*/ 117 h 593"/>
              <a:gd name="T12" fmla="*/ 121 w 635"/>
              <a:gd name="T13" fmla="*/ 138 h 593"/>
              <a:gd name="T14" fmla="*/ 144 w 635"/>
              <a:gd name="T15" fmla="*/ 151 h 593"/>
              <a:gd name="T16" fmla="*/ 168 w 635"/>
              <a:gd name="T17" fmla="*/ 194 h 593"/>
              <a:gd name="T18" fmla="*/ 194 w 635"/>
              <a:gd name="T19" fmla="*/ 217 h 593"/>
              <a:gd name="T20" fmla="*/ 227 w 635"/>
              <a:gd name="T21" fmla="*/ 217 h 593"/>
              <a:gd name="T22" fmla="*/ 268 w 635"/>
              <a:gd name="T23" fmla="*/ 197 h 593"/>
              <a:gd name="T24" fmla="*/ 276 w 635"/>
              <a:gd name="T25" fmla="*/ 185 h 593"/>
              <a:gd name="T26" fmla="*/ 263 w 635"/>
              <a:gd name="T27" fmla="*/ 174 h 593"/>
              <a:gd name="T28" fmla="*/ 279 w 635"/>
              <a:gd name="T29" fmla="*/ 166 h 593"/>
              <a:gd name="T30" fmla="*/ 304 w 635"/>
              <a:gd name="T31" fmla="*/ 200 h 593"/>
              <a:gd name="T32" fmla="*/ 330 w 635"/>
              <a:gd name="T33" fmla="*/ 208 h 593"/>
              <a:gd name="T34" fmla="*/ 348 w 635"/>
              <a:gd name="T35" fmla="*/ 209 h 593"/>
              <a:gd name="T36" fmla="*/ 375 w 635"/>
              <a:gd name="T37" fmla="*/ 227 h 593"/>
              <a:gd name="T38" fmla="*/ 393 w 635"/>
              <a:gd name="T39" fmla="*/ 251 h 593"/>
              <a:gd name="T40" fmla="*/ 405 w 635"/>
              <a:gd name="T41" fmla="*/ 238 h 593"/>
              <a:gd name="T42" fmla="*/ 440 w 635"/>
              <a:gd name="T43" fmla="*/ 241 h 593"/>
              <a:gd name="T44" fmla="*/ 482 w 635"/>
              <a:gd name="T45" fmla="*/ 260 h 593"/>
              <a:gd name="T46" fmla="*/ 493 w 635"/>
              <a:gd name="T47" fmla="*/ 247 h 593"/>
              <a:gd name="T48" fmla="*/ 505 w 635"/>
              <a:gd name="T49" fmla="*/ 258 h 593"/>
              <a:gd name="T50" fmla="*/ 513 w 635"/>
              <a:gd name="T51" fmla="*/ 283 h 593"/>
              <a:gd name="T52" fmla="*/ 509 w 635"/>
              <a:gd name="T53" fmla="*/ 310 h 593"/>
              <a:gd name="T54" fmla="*/ 534 w 635"/>
              <a:gd name="T55" fmla="*/ 373 h 593"/>
              <a:gd name="T56" fmla="*/ 562 w 635"/>
              <a:gd name="T57" fmla="*/ 386 h 593"/>
              <a:gd name="T58" fmla="*/ 588 w 635"/>
              <a:gd name="T59" fmla="*/ 400 h 593"/>
              <a:gd name="T60" fmla="*/ 611 w 635"/>
              <a:gd name="T61" fmla="*/ 410 h 593"/>
              <a:gd name="T62" fmla="*/ 630 w 635"/>
              <a:gd name="T63" fmla="*/ 475 h 593"/>
              <a:gd name="T64" fmla="*/ 629 w 635"/>
              <a:gd name="T65" fmla="*/ 505 h 593"/>
              <a:gd name="T66" fmla="*/ 589 w 635"/>
              <a:gd name="T67" fmla="*/ 523 h 593"/>
              <a:gd name="T68" fmla="*/ 537 w 635"/>
              <a:gd name="T69" fmla="*/ 522 h 593"/>
              <a:gd name="T70" fmla="*/ 513 w 635"/>
              <a:gd name="T71" fmla="*/ 520 h 593"/>
              <a:gd name="T72" fmla="*/ 503 w 635"/>
              <a:gd name="T73" fmla="*/ 542 h 593"/>
              <a:gd name="T74" fmla="*/ 473 w 635"/>
              <a:gd name="T75" fmla="*/ 587 h 593"/>
              <a:gd name="T76" fmla="*/ 447 w 635"/>
              <a:gd name="T77" fmla="*/ 593 h 593"/>
              <a:gd name="T78" fmla="*/ 429 w 635"/>
              <a:gd name="T79" fmla="*/ 571 h 593"/>
              <a:gd name="T80" fmla="*/ 400 w 635"/>
              <a:gd name="T81" fmla="*/ 538 h 593"/>
              <a:gd name="T82" fmla="*/ 370 w 635"/>
              <a:gd name="T83" fmla="*/ 536 h 593"/>
              <a:gd name="T84" fmla="*/ 330 w 635"/>
              <a:gd name="T85" fmla="*/ 521 h 593"/>
              <a:gd name="T86" fmla="*/ 273 w 635"/>
              <a:gd name="T87" fmla="*/ 527 h 593"/>
              <a:gd name="T88" fmla="*/ 251 w 635"/>
              <a:gd name="T89" fmla="*/ 509 h 593"/>
              <a:gd name="T90" fmla="*/ 230 w 635"/>
              <a:gd name="T91" fmla="*/ 496 h 593"/>
              <a:gd name="T92" fmla="*/ 212 w 635"/>
              <a:gd name="T93" fmla="*/ 501 h 593"/>
              <a:gd name="T94" fmla="*/ 210 w 635"/>
              <a:gd name="T95" fmla="*/ 485 h 593"/>
              <a:gd name="T96" fmla="*/ 173 w 635"/>
              <a:gd name="T97" fmla="*/ 444 h 593"/>
              <a:gd name="T98" fmla="*/ 156 w 635"/>
              <a:gd name="T99" fmla="*/ 425 h 593"/>
              <a:gd name="T100" fmla="*/ 137 w 635"/>
              <a:gd name="T101" fmla="*/ 419 h 593"/>
              <a:gd name="T102" fmla="*/ 137 w 635"/>
              <a:gd name="T103" fmla="*/ 385 h 593"/>
              <a:gd name="T104" fmla="*/ 126 w 635"/>
              <a:gd name="T105" fmla="*/ 367 h 593"/>
              <a:gd name="T106" fmla="*/ 87 w 635"/>
              <a:gd name="T107" fmla="*/ 373 h 593"/>
              <a:gd name="T108" fmla="*/ 60 w 635"/>
              <a:gd name="T109" fmla="*/ 351 h 593"/>
              <a:gd name="T110" fmla="*/ 46 w 635"/>
              <a:gd name="T111" fmla="*/ 324 h 593"/>
              <a:gd name="T112" fmla="*/ 34 w 635"/>
              <a:gd name="T113" fmla="*/ 299 h 593"/>
              <a:gd name="T114" fmla="*/ 32 w 635"/>
              <a:gd name="T115" fmla="*/ 323 h 593"/>
              <a:gd name="T116" fmla="*/ 17 w 635"/>
              <a:gd name="T117" fmla="*/ 329 h 593"/>
              <a:gd name="T118" fmla="*/ 3 w 635"/>
              <a:gd name="T119" fmla="*/ 347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35" h="593">
                <a:moveTo>
                  <a:pt x="126" y="0"/>
                </a:moveTo>
                <a:lnTo>
                  <a:pt x="126" y="0"/>
                </a:lnTo>
                <a:lnTo>
                  <a:pt x="127" y="0"/>
                </a:lnTo>
                <a:lnTo>
                  <a:pt x="128" y="1"/>
                </a:lnTo>
                <a:lnTo>
                  <a:pt x="129" y="1"/>
                </a:lnTo>
                <a:lnTo>
                  <a:pt x="130" y="2"/>
                </a:lnTo>
                <a:lnTo>
                  <a:pt x="132" y="3"/>
                </a:lnTo>
                <a:lnTo>
                  <a:pt x="132" y="3"/>
                </a:lnTo>
                <a:lnTo>
                  <a:pt x="133" y="4"/>
                </a:lnTo>
                <a:lnTo>
                  <a:pt x="135" y="5"/>
                </a:lnTo>
                <a:lnTo>
                  <a:pt x="135" y="6"/>
                </a:lnTo>
                <a:lnTo>
                  <a:pt x="136" y="7"/>
                </a:lnTo>
                <a:lnTo>
                  <a:pt x="137" y="8"/>
                </a:lnTo>
                <a:lnTo>
                  <a:pt x="137" y="10"/>
                </a:lnTo>
                <a:lnTo>
                  <a:pt x="137" y="10"/>
                </a:lnTo>
                <a:lnTo>
                  <a:pt x="137" y="10"/>
                </a:lnTo>
                <a:lnTo>
                  <a:pt x="139" y="11"/>
                </a:lnTo>
                <a:lnTo>
                  <a:pt x="140" y="11"/>
                </a:lnTo>
                <a:lnTo>
                  <a:pt x="141" y="11"/>
                </a:lnTo>
                <a:lnTo>
                  <a:pt x="142" y="12"/>
                </a:lnTo>
                <a:lnTo>
                  <a:pt x="143" y="12"/>
                </a:lnTo>
                <a:lnTo>
                  <a:pt x="143" y="13"/>
                </a:lnTo>
                <a:lnTo>
                  <a:pt x="144" y="14"/>
                </a:lnTo>
                <a:lnTo>
                  <a:pt x="144" y="14"/>
                </a:lnTo>
                <a:lnTo>
                  <a:pt x="144" y="15"/>
                </a:lnTo>
                <a:lnTo>
                  <a:pt x="144" y="16"/>
                </a:lnTo>
                <a:lnTo>
                  <a:pt x="144" y="17"/>
                </a:lnTo>
                <a:lnTo>
                  <a:pt x="144" y="18"/>
                </a:lnTo>
                <a:lnTo>
                  <a:pt x="143" y="20"/>
                </a:lnTo>
                <a:lnTo>
                  <a:pt x="141" y="26"/>
                </a:lnTo>
                <a:lnTo>
                  <a:pt x="140" y="28"/>
                </a:lnTo>
                <a:lnTo>
                  <a:pt x="140" y="30"/>
                </a:lnTo>
                <a:lnTo>
                  <a:pt x="139" y="31"/>
                </a:lnTo>
                <a:lnTo>
                  <a:pt x="139" y="33"/>
                </a:lnTo>
                <a:lnTo>
                  <a:pt x="139" y="35"/>
                </a:lnTo>
                <a:lnTo>
                  <a:pt x="139" y="36"/>
                </a:lnTo>
                <a:lnTo>
                  <a:pt x="140" y="38"/>
                </a:lnTo>
                <a:lnTo>
                  <a:pt x="140" y="39"/>
                </a:lnTo>
                <a:lnTo>
                  <a:pt x="141" y="41"/>
                </a:lnTo>
                <a:lnTo>
                  <a:pt x="141" y="42"/>
                </a:lnTo>
                <a:lnTo>
                  <a:pt x="142" y="44"/>
                </a:lnTo>
                <a:lnTo>
                  <a:pt x="144" y="45"/>
                </a:lnTo>
                <a:lnTo>
                  <a:pt x="147" y="50"/>
                </a:lnTo>
                <a:lnTo>
                  <a:pt x="149" y="52"/>
                </a:lnTo>
                <a:lnTo>
                  <a:pt x="150" y="53"/>
                </a:lnTo>
                <a:lnTo>
                  <a:pt x="150" y="54"/>
                </a:lnTo>
                <a:lnTo>
                  <a:pt x="151" y="55"/>
                </a:lnTo>
                <a:lnTo>
                  <a:pt x="151" y="56"/>
                </a:lnTo>
                <a:lnTo>
                  <a:pt x="151" y="58"/>
                </a:lnTo>
                <a:lnTo>
                  <a:pt x="152" y="60"/>
                </a:lnTo>
                <a:lnTo>
                  <a:pt x="152" y="62"/>
                </a:lnTo>
                <a:lnTo>
                  <a:pt x="152" y="64"/>
                </a:lnTo>
                <a:lnTo>
                  <a:pt x="151" y="66"/>
                </a:lnTo>
                <a:lnTo>
                  <a:pt x="151" y="67"/>
                </a:lnTo>
                <a:lnTo>
                  <a:pt x="151" y="69"/>
                </a:lnTo>
                <a:lnTo>
                  <a:pt x="150" y="70"/>
                </a:lnTo>
                <a:lnTo>
                  <a:pt x="150" y="71"/>
                </a:lnTo>
                <a:lnTo>
                  <a:pt x="149" y="72"/>
                </a:lnTo>
                <a:lnTo>
                  <a:pt x="149" y="72"/>
                </a:lnTo>
                <a:lnTo>
                  <a:pt x="148" y="73"/>
                </a:lnTo>
                <a:lnTo>
                  <a:pt x="146" y="74"/>
                </a:lnTo>
                <a:lnTo>
                  <a:pt x="145" y="75"/>
                </a:lnTo>
                <a:lnTo>
                  <a:pt x="144" y="75"/>
                </a:lnTo>
                <a:lnTo>
                  <a:pt x="143" y="76"/>
                </a:lnTo>
                <a:lnTo>
                  <a:pt x="140" y="77"/>
                </a:lnTo>
                <a:lnTo>
                  <a:pt x="139" y="77"/>
                </a:lnTo>
                <a:lnTo>
                  <a:pt x="137" y="78"/>
                </a:lnTo>
                <a:lnTo>
                  <a:pt x="136" y="79"/>
                </a:lnTo>
                <a:lnTo>
                  <a:pt x="135" y="80"/>
                </a:lnTo>
                <a:lnTo>
                  <a:pt x="134" y="81"/>
                </a:lnTo>
                <a:lnTo>
                  <a:pt x="133" y="81"/>
                </a:lnTo>
                <a:lnTo>
                  <a:pt x="131" y="84"/>
                </a:lnTo>
                <a:lnTo>
                  <a:pt x="131" y="85"/>
                </a:lnTo>
                <a:lnTo>
                  <a:pt x="130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6" y="89"/>
                </a:lnTo>
                <a:lnTo>
                  <a:pt x="125" y="89"/>
                </a:lnTo>
                <a:lnTo>
                  <a:pt x="124" y="90"/>
                </a:lnTo>
                <a:lnTo>
                  <a:pt x="121" y="91"/>
                </a:lnTo>
                <a:lnTo>
                  <a:pt x="114" y="93"/>
                </a:lnTo>
                <a:lnTo>
                  <a:pt x="105" y="96"/>
                </a:lnTo>
                <a:lnTo>
                  <a:pt x="101" y="97"/>
                </a:lnTo>
                <a:lnTo>
                  <a:pt x="93" y="100"/>
                </a:lnTo>
                <a:lnTo>
                  <a:pt x="92" y="100"/>
                </a:lnTo>
                <a:lnTo>
                  <a:pt x="91" y="101"/>
                </a:lnTo>
                <a:lnTo>
                  <a:pt x="90" y="102"/>
                </a:lnTo>
                <a:lnTo>
                  <a:pt x="89" y="103"/>
                </a:lnTo>
                <a:lnTo>
                  <a:pt x="88" y="103"/>
                </a:lnTo>
                <a:lnTo>
                  <a:pt x="88" y="104"/>
                </a:lnTo>
                <a:lnTo>
                  <a:pt x="88" y="105"/>
                </a:lnTo>
                <a:lnTo>
                  <a:pt x="87" y="106"/>
                </a:lnTo>
                <a:lnTo>
                  <a:pt x="87" y="107"/>
                </a:lnTo>
                <a:lnTo>
                  <a:pt x="87" y="109"/>
                </a:lnTo>
                <a:lnTo>
                  <a:pt x="88" y="109"/>
                </a:lnTo>
                <a:lnTo>
                  <a:pt x="88" y="110"/>
                </a:lnTo>
                <a:lnTo>
                  <a:pt x="88" y="112"/>
                </a:lnTo>
                <a:lnTo>
                  <a:pt x="89" y="113"/>
                </a:lnTo>
                <a:lnTo>
                  <a:pt x="90" y="114"/>
                </a:lnTo>
                <a:lnTo>
                  <a:pt x="91" y="115"/>
                </a:lnTo>
                <a:lnTo>
                  <a:pt x="91" y="117"/>
                </a:lnTo>
                <a:lnTo>
                  <a:pt x="92" y="118"/>
                </a:lnTo>
                <a:lnTo>
                  <a:pt x="93" y="119"/>
                </a:lnTo>
                <a:lnTo>
                  <a:pt x="95" y="121"/>
                </a:lnTo>
                <a:lnTo>
                  <a:pt x="100" y="125"/>
                </a:lnTo>
                <a:lnTo>
                  <a:pt x="102" y="127"/>
                </a:lnTo>
                <a:lnTo>
                  <a:pt x="104" y="129"/>
                </a:lnTo>
                <a:lnTo>
                  <a:pt x="107" y="132"/>
                </a:lnTo>
                <a:lnTo>
                  <a:pt x="108" y="134"/>
                </a:lnTo>
                <a:lnTo>
                  <a:pt x="109" y="135"/>
                </a:lnTo>
                <a:lnTo>
                  <a:pt x="111" y="136"/>
                </a:lnTo>
                <a:lnTo>
                  <a:pt x="112" y="137"/>
                </a:lnTo>
                <a:lnTo>
                  <a:pt x="114" y="138"/>
                </a:lnTo>
                <a:lnTo>
                  <a:pt x="116" y="138"/>
                </a:lnTo>
                <a:lnTo>
                  <a:pt x="118" y="139"/>
                </a:lnTo>
                <a:lnTo>
                  <a:pt x="119" y="139"/>
                </a:lnTo>
                <a:lnTo>
                  <a:pt x="120" y="138"/>
                </a:lnTo>
                <a:lnTo>
                  <a:pt x="121" y="138"/>
                </a:lnTo>
                <a:lnTo>
                  <a:pt x="124" y="137"/>
                </a:lnTo>
                <a:lnTo>
                  <a:pt x="125" y="137"/>
                </a:lnTo>
                <a:lnTo>
                  <a:pt x="126" y="137"/>
                </a:lnTo>
                <a:lnTo>
                  <a:pt x="127" y="137"/>
                </a:lnTo>
                <a:lnTo>
                  <a:pt x="128" y="137"/>
                </a:lnTo>
                <a:lnTo>
                  <a:pt x="130" y="137"/>
                </a:lnTo>
                <a:lnTo>
                  <a:pt x="131" y="138"/>
                </a:lnTo>
                <a:lnTo>
                  <a:pt x="132" y="138"/>
                </a:lnTo>
                <a:lnTo>
                  <a:pt x="133" y="138"/>
                </a:lnTo>
                <a:lnTo>
                  <a:pt x="134" y="139"/>
                </a:lnTo>
                <a:lnTo>
                  <a:pt x="135" y="140"/>
                </a:lnTo>
                <a:lnTo>
                  <a:pt x="137" y="141"/>
                </a:lnTo>
                <a:lnTo>
                  <a:pt x="138" y="142"/>
                </a:lnTo>
                <a:lnTo>
                  <a:pt x="139" y="144"/>
                </a:lnTo>
                <a:lnTo>
                  <a:pt x="141" y="145"/>
                </a:lnTo>
                <a:lnTo>
                  <a:pt x="142" y="146"/>
                </a:lnTo>
                <a:lnTo>
                  <a:pt x="144" y="151"/>
                </a:lnTo>
                <a:lnTo>
                  <a:pt x="146" y="153"/>
                </a:lnTo>
                <a:lnTo>
                  <a:pt x="151" y="159"/>
                </a:lnTo>
                <a:lnTo>
                  <a:pt x="152" y="161"/>
                </a:lnTo>
                <a:lnTo>
                  <a:pt x="154" y="164"/>
                </a:lnTo>
                <a:lnTo>
                  <a:pt x="154" y="165"/>
                </a:lnTo>
                <a:lnTo>
                  <a:pt x="155" y="166"/>
                </a:lnTo>
                <a:lnTo>
                  <a:pt x="156" y="169"/>
                </a:lnTo>
                <a:lnTo>
                  <a:pt x="157" y="170"/>
                </a:lnTo>
                <a:lnTo>
                  <a:pt x="159" y="176"/>
                </a:lnTo>
                <a:lnTo>
                  <a:pt x="160" y="178"/>
                </a:lnTo>
                <a:lnTo>
                  <a:pt x="161" y="180"/>
                </a:lnTo>
                <a:lnTo>
                  <a:pt x="162" y="185"/>
                </a:lnTo>
                <a:lnTo>
                  <a:pt x="164" y="190"/>
                </a:lnTo>
                <a:lnTo>
                  <a:pt x="165" y="191"/>
                </a:lnTo>
                <a:lnTo>
                  <a:pt x="166" y="192"/>
                </a:lnTo>
                <a:lnTo>
                  <a:pt x="167" y="193"/>
                </a:lnTo>
                <a:lnTo>
                  <a:pt x="168" y="194"/>
                </a:lnTo>
                <a:lnTo>
                  <a:pt x="169" y="195"/>
                </a:lnTo>
                <a:lnTo>
                  <a:pt x="170" y="196"/>
                </a:lnTo>
                <a:lnTo>
                  <a:pt x="173" y="198"/>
                </a:lnTo>
                <a:lnTo>
                  <a:pt x="175" y="199"/>
                </a:lnTo>
                <a:lnTo>
                  <a:pt x="180" y="201"/>
                </a:lnTo>
                <a:lnTo>
                  <a:pt x="181" y="202"/>
                </a:lnTo>
                <a:lnTo>
                  <a:pt x="183" y="203"/>
                </a:lnTo>
                <a:lnTo>
                  <a:pt x="184" y="204"/>
                </a:lnTo>
                <a:lnTo>
                  <a:pt x="185" y="205"/>
                </a:lnTo>
                <a:lnTo>
                  <a:pt x="186" y="206"/>
                </a:lnTo>
                <a:lnTo>
                  <a:pt x="187" y="207"/>
                </a:lnTo>
                <a:lnTo>
                  <a:pt x="188" y="210"/>
                </a:lnTo>
                <a:lnTo>
                  <a:pt x="189" y="211"/>
                </a:lnTo>
                <a:lnTo>
                  <a:pt x="190" y="212"/>
                </a:lnTo>
                <a:lnTo>
                  <a:pt x="191" y="213"/>
                </a:lnTo>
                <a:lnTo>
                  <a:pt x="193" y="215"/>
                </a:lnTo>
                <a:lnTo>
                  <a:pt x="194" y="217"/>
                </a:lnTo>
                <a:lnTo>
                  <a:pt x="198" y="219"/>
                </a:lnTo>
                <a:lnTo>
                  <a:pt x="199" y="220"/>
                </a:lnTo>
                <a:lnTo>
                  <a:pt x="200" y="220"/>
                </a:lnTo>
                <a:lnTo>
                  <a:pt x="202" y="221"/>
                </a:lnTo>
                <a:lnTo>
                  <a:pt x="204" y="222"/>
                </a:lnTo>
                <a:lnTo>
                  <a:pt x="205" y="222"/>
                </a:lnTo>
                <a:lnTo>
                  <a:pt x="206" y="222"/>
                </a:lnTo>
                <a:lnTo>
                  <a:pt x="207" y="222"/>
                </a:lnTo>
                <a:lnTo>
                  <a:pt x="208" y="222"/>
                </a:lnTo>
                <a:lnTo>
                  <a:pt x="210" y="222"/>
                </a:lnTo>
                <a:lnTo>
                  <a:pt x="215" y="221"/>
                </a:lnTo>
                <a:lnTo>
                  <a:pt x="218" y="221"/>
                </a:lnTo>
                <a:lnTo>
                  <a:pt x="220" y="221"/>
                </a:lnTo>
                <a:lnTo>
                  <a:pt x="222" y="220"/>
                </a:lnTo>
                <a:lnTo>
                  <a:pt x="223" y="219"/>
                </a:lnTo>
                <a:lnTo>
                  <a:pt x="225" y="218"/>
                </a:lnTo>
                <a:lnTo>
                  <a:pt x="227" y="217"/>
                </a:lnTo>
                <a:lnTo>
                  <a:pt x="228" y="216"/>
                </a:lnTo>
                <a:lnTo>
                  <a:pt x="230" y="215"/>
                </a:lnTo>
                <a:lnTo>
                  <a:pt x="236" y="209"/>
                </a:lnTo>
                <a:lnTo>
                  <a:pt x="238" y="207"/>
                </a:lnTo>
                <a:lnTo>
                  <a:pt x="239" y="206"/>
                </a:lnTo>
                <a:lnTo>
                  <a:pt x="241" y="205"/>
                </a:lnTo>
                <a:lnTo>
                  <a:pt x="243" y="204"/>
                </a:lnTo>
                <a:lnTo>
                  <a:pt x="245" y="202"/>
                </a:lnTo>
                <a:lnTo>
                  <a:pt x="247" y="202"/>
                </a:lnTo>
                <a:lnTo>
                  <a:pt x="251" y="200"/>
                </a:lnTo>
                <a:lnTo>
                  <a:pt x="255" y="198"/>
                </a:lnTo>
                <a:lnTo>
                  <a:pt x="256" y="198"/>
                </a:lnTo>
                <a:lnTo>
                  <a:pt x="258" y="197"/>
                </a:lnTo>
                <a:lnTo>
                  <a:pt x="259" y="197"/>
                </a:lnTo>
                <a:lnTo>
                  <a:pt x="260" y="197"/>
                </a:lnTo>
                <a:lnTo>
                  <a:pt x="262" y="197"/>
                </a:lnTo>
                <a:lnTo>
                  <a:pt x="268" y="197"/>
                </a:lnTo>
                <a:lnTo>
                  <a:pt x="270" y="197"/>
                </a:lnTo>
                <a:lnTo>
                  <a:pt x="273" y="197"/>
                </a:lnTo>
                <a:lnTo>
                  <a:pt x="274" y="197"/>
                </a:lnTo>
                <a:lnTo>
                  <a:pt x="275" y="197"/>
                </a:lnTo>
                <a:lnTo>
                  <a:pt x="276" y="197"/>
                </a:lnTo>
                <a:lnTo>
                  <a:pt x="276" y="197"/>
                </a:lnTo>
                <a:lnTo>
                  <a:pt x="277" y="196"/>
                </a:lnTo>
                <a:lnTo>
                  <a:pt x="277" y="196"/>
                </a:lnTo>
                <a:lnTo>
                  <a:pt x="277" y="195"/>
                </a:lnTo>
                <a:lnTo>
                  <a:pt x="277" y="193"/>
                </a:lnTo>
                <a:lnTo>
                  <a:pt x="277" y="191"/>
                </a:lnTo>
                <a:lnTo>
                  <a:pt x="277" y="190"/>
                </a:lnTo>
                <a:lnTo>
                  <a:pt x="277" y="188"/>
                </a:lnTo>
                <a:lnTo>
                  <a:pt x="277" y="187"/>
                </a:lnTo>
                <a:lnTo>
                  <a:pt x="276" y="186"/>
                </a:lnTo>
                <a:lnTo>
                  <a:pt x="276" y="185"/>
                </a:lnTo>
                <a:lnTo>
                  <a:pt x="276" y="185"/>
                </a:lnTo>
                <a:lnTo>
                  <a:pt x="275" y="184"/>
                </a:lnTo>
                <a:lnTo>
                  <a:pt x="274" y="183"/>
                </a:lnTo>
                <a:lnTo>
                  <a:pt x="273" y="183"/>
                </a:lnTo>
                <a:lnTo>
                  <a:pt x="272" y="182"/>
                </a:lnTo>
                <a:lnTo>
                  <a:pt x="270" y="182"/>
                </a:lnTo>
                <a:lnTo>
                  <a:pt x="267" y="181"/>
                </a:lnTo>
                <a:lnTo>
                  <a:pt x="266" y="181"/>
                </a:lnTo>
                <a:lnTo>
                  <a:pt x="265" y="180"/>
                </a:lnTo>
                <a:lnTo>
                  <a:pt x="265" y="180"/>
                </a:lnTo>
                <a:lnTo>
                  <a:pt x="264" y="180"/>
                </a:lnTo>
                <a:lnTo>
                  <a:pt x="264" y="179"/>
                </a:lnTo>
                <a:lnTo>
                  <a:pt x="264" y="179"/>
                </a:lnTo>
                <a:lnTo>
                  <a:pt x="263" y="178"/>
                </a:lnTo>
                <a:lnTo>
                  <a:pt x="263" y="177"/>
                </a:lnTo>
                <a:lnTo>
                  <a:pt x="263" y="176"/>
                </a:lnTo>
                <a:lnTo>
                  <a:pt x="263" y="175"/>
                </a:lnTo>
                <a:lnTo>
                  <a:pt x="263" y="174"/>
                </a:lnTo>
                <a:lnTo>
                  <a:pt x="263" y="173"/>
                </a:lnTo>
                <a:lnTo>
                  <a:pt x="263" y="172"/>
                </a:lnTo>
                <a:lnTo>
                  <a:pt x="264" y="171"/>
                </a:lnTo>
                <a:lnTo>
                  <a:pt x="264" y="170"/>
                </a:lnTo>
                <a:lnTo>
                  <a:pt x="265" y="169"/>
                </a:lnTo>
                <a:lnTo>
                  <a:pt x="266" y="168"/>
                </a:lnTo>
                <a:lnTo>
                  <a:pt x="267" y="167"/>
                </a:lnTo>
                <a:lnTo>
                  <a:pt x="268" y="166"/>
                </a:lnTo>
                <a:lnTo>
                  <a:pt x="269" y="166"/>
                </a:lnTo>
                <a:lnTo>
                  <a:pt x="270" y="165"/>
                </a:lnTo>
                <a:lnTo>
                  <a:pt x="271" y="165"/>
                </a:lnTo>
                <a:lnTo>
                  <a:pt x="272" y="165"/>
                </a:lnTo>
                <a:lnTo>
                  <a:pt x="273" y="165"/>
                </a:lnTo>
                <a:lnTo>
                  <a:pt x="274" y="165"/>
                </a:lnTo>
                <a:lnTo>
                  <a:pt x="276" y="165"/>
                </a:lnTo>
                <a:lnTo>
                  <a:pt x="277" y="165"/>
                </a:lnTo>
                <a:lnTo>
                  <a:pt x="279" y="166"/>
                </a:lnTo>
                <a:lnTo>
                  <a:pt x="281" y="167"/>
                </a:lnTo>
                <a:lnTo>
                  <a:pt x="283" y="168"/>
                </a:lnTo>
                <a:lnTo>
                  <a:pt x="284" y="169"/>
                </a:lnTo>
                <a:lnTo>
                  <a:pt x="285" y="170"/>
                </a:lnTo>
                <a:lnTo>
                  <a:pt x="290" y="173"/>
                </a:lnTo>
                <a:lnTo>
                  <a:pt x="291" y="175"/>
                </a:lnTo>
                <a:lnTo>
                  <a:pt x="292" y="176"/>
                </a:lnTo>
                <a:lnTo>
                  <a:pt x="293" y="177"/>
                </a:lnTo>
                <a:lnTo>
                  <a:pt x="294" y="179"/>
                </a:lnTo>
                <a:lnTo>
                  <a:pt x="298" y="187"/>
                </a:lnTo>
                <a:lnTo>
                  <a:pt x="299" y="188"/>
                </a:lnTo>
                <a:lnTo>
                  <a:pt x="299" y="189"/>
                </a:lnTo>
                <a:lnTo>
                  <a:pt x="301" y="194"/>
                </a:lnTo>
                <a:lnTo>
                  <a:pt x="301" y="196"/>
                </a:lnTo>
                <a:lnTo>
                  <a:pt x="302" y="197"/>
                </a:lnTo>
                <a:lnTo>
                  <a:pt x="303" y="199"/>
                </a:lnTo>
                <a:lnTo>
                  <a:pt x="304" y="200"/>
                </a:lnTo>
                <a:lnTo>
                  <a:pt x="305" y="202"/>
                </a:lnTo>
                <a:lnTo>
                  <a:pt x="306" y="202"/>
                </a:lnTo>
                <a:lnTo>
                  <a:pt x="307" y="203"/>
                </a:lnTo>
                <a:lnTo>
                  <a:pt x="308" y="204"/>
                </a:lnTo>
                <a:lnTo>
                  <a:pt x="309" y="204"/>
                </a:lnTo>
                <a:lnTo>
                  <a:pt x="310" y="205"/>
                </a:lnTo>
                <a:lnTo>
                  <a:pt x="311" y="205"/>
                </a:lnTo>
                <a:lnTo>
                  <a:pt x="315" y="207"/>
                </a:lnTo>
                <a:lnTo>
                  <a:pt x="322" y="209"/>
                </a:lnTo>
                <a:lnTo>
                  <a:pt x="323" y="210"/>
                </a:lnTo>
                <a:lnTo>
                  <a:pt x="324" y="210"/>
                </a:lnTo>
                <a:lnTo>
                  <a:pt x="325" y="210"/>
                </a:lnTo>
                <a:lnTo>
                  <a:pt x="326" y="210"/>
                </a:lnTo>
                <a:lnTo>
                  <a:pt x="327" y="209"/>
                </a:lnTo>
                <a:lnTo>
                  <a:pt x="328" y="209"/>
                </a:lnTo>
                <a:lnTo>
                  <a:pt x="329" y="209"/>
                </a:lnTo>
                <a:lnTo>
                  <a:pt x="330" y="208"/>
                </a:lnTo>
                <a:lnTo>
                  <a:pt x="332" y="206"/>
                </a:lnTo>
                <a:lnTo>
                  <a:pt x="333" y="206"/>
                </a:lnTo>
                <a:lnTo>
                  <a:pt x="334" y="205"/>
                </a:lnTo>
                <a:lnTo>
                  <a:pt x="335" y="205"/>
                </a:lnTo>
                <a:lnTo>
                  <a:pt x="336" y="205"/>
                </a:lnTo>
                <a:lnTo>
                  <a:pt x="336" y="204"/>
                </a:lnTo>
                <a:lnTo>
                  <a:pt x="338" y="204"/>
                </a:lnTo>
                <a:lnTo>
                  <a:pt x="339" y="204"/>
                </a:lnTo>
                <a:lnTo>
                  <a:pt x="340" y="205"/>
                </a:lnTo>
                <a:lnTo>
                  <a:pt x="341" y="205"/>
                </a:lnTo>
                <a:lnTo>
                  <a:pt x="343" y="205"/>
                </a:lnTo>
                <a:lnTo>
                  <a:pt x="344" y="206"/>
                </a:lnTo>
                <a:lnTo>
                  <a:pt x="345" y="206"/>
                </a:lnTo>
                <a:lnTo>
                  <a:pt x="345" y="207"/>
                </a:lnTo>
                <a:lnTo>
                  <a:pt x="346" y="207"/>
                </a:lnTo>
                <a:lnTo>
                  <a:pt x="347" y="208"/>
                </a:lnTo>
                <a:lnTo>
                  <a:pt x="348" y="209"/>
                </a:lnTo>
                <a:lnTo>
                  <a:pt x="349" y="211"/>
                </a:lnTo>
                <a:lnTo>
                  <a:pt x="351" y="214"/>
                </a:lnTo>
                <a:lnTo>
                  <a:pt x="352" y="215"/>
                </a:lnTo>
                <a:lnTo>
                  <a:pt x="353" y="217"/>
                </a:lnTo>
                <a:lnTo>
                  <a:pt x="354" y="217"/>
                </a:lnTo>
                <a:lnTo>
                  <a:pt x="355" y="218"/>
                </a:lnTo>
                <a:lnTo>
                  <a:pt x="356" y="219"/>
                </a:lnTo>
                <a:lnTo>
                  <a:pt x="358" y="219"/>
                </a:lnTo>
                <a:lnTo>
                  <a:pt x="359" y="220"/>
                </a:lnTo>
                <a:lnTo>
                  <a:pt x="366" y="222"/>
                </a:lnTo>
                <a:lnTo>
                  <a:pt x="367" y="222"/>
                </a:lnTo>
                <a:lnTo>
                  <a:pt x="369" y="223"/>
                </a:lnTo>
                <a:lnTo>
                  <a:pt x="371" y="224"/>
                </a:lnTo>
                <a:lnTo>
                  <a:pt x="372" y="225"/>
                </a:lnTo>
                <a:lnTo>
                  <a:pt x="374" y="226"/>
                </a:lnTo>
                <a:lnTo>
                  <a:pt x="375" y="226"/>
                </a:lnTo>
                <a:lnTo>
                  <a:pt x="375" y="227"/>
                </a:lnTo>
                <a:lnTo>
                  <a:pt x="376" y="228"/>
                </a:lnTo>
                <a:lnTo>
                  <a:pt x="377" y="229"/>
                </a:lnTo>
                <a:lnTo>
                  <a:pt x="378" y="230"/>
                </a:lnTo>
                <a:lnTo>
                  <a:pt x="379" y="233"/>
                </a:lnTo>
                <a:lnTo>
                  <a:pt x="380" y="238"/>
                </a:lnTo>
                <a:lnTo>
                  <a:pt x="381" y="239"/>
                </a:lnTo>
                <a:lnTo>
                  <a:pt x="382" y="241"/>
                </a:lnTo>
                <a:lnTo>
                  <a:pt x="383" y="242"/>
                </a:lnTo>
                <a:lnTo>
                  <a:pt x="384" y="244"/>
                </a:lnTo>
                <a:lnTo>
                  <a:pt x="385" y="245"/>
                </a:lnTo>
                <a:lnTo>
                  <a:pt x="386" y="246"/>
                </a:lnTo>
                <a:lnTo>
                  <a:pt x="387" y="247"/>
                </a:lnTo>
                <a:lnTo>
                  <a:pt x="388" y="248"/>
                </a:lnTo>
                <a:lnTo>
                  <a:pt x="390" y="249"/>
                </a:lnTo>
                <a:lnTo>
                  <a:pt x="391" y="250"/>
                </a:lnTo>
                <a:lnTo>
                  <a:pt x="392" y="250"/>
                </a:lnTo>
                <a:lnTo>
                  <a:pt x="393" y="251"/>
                </a:lnTo>
                <a:lnTo>
                  <a:pt x="394" y="251"/>
                </a:lnTo>
                <a:lnTo>
                  <a:pt x="395" y="251"/>
                </a:lnTo>
                <a:lnTo>
                  <a:pt x="397" y="251"/>
                </a:lnTo>
                <a:lnTo>
                  <a:pt x="398" y="251"/>
                </a:lnTo>
                <a:lnTo>
                  <a:pt x="398" y="250"/>
                </a:lnTo>
                <a:lnTo>
                  <a:pt x="399" y="250"/>
                </a:lnTo>
                <a:lnTo>
                  <a:pt x="402" y="248"/>
                </a:lnTo>
                <a:lnTo>
                  <a:pt x="404" y="247"/>
                </a:lnTo>
                <a:lnTo>
                  <a:pt x="405" y="246"/>
                </a:lnTo>
                <a:lnTo>
                  <a:pt x="405" y="245"/>
                </a:lnTo>
                <a:lnTo>
                  <a:pt x="406" y="244"/>
                </a:lnTo>
                <a:lnTo>
                  <a:pt x="406" y="244"/>
                </a:lnTo>
                <a:lnTo>
                  <a:pt x="406" y="242"/>
                </a:lnTo>
                <a:lnTo>
                  <a:pt x="406" y="241"/>
                </a:lnTo>
                <a:lnTo>
                  <a:pt x="406" y="240"/>
                </a:lnTo>
                <a:lnTo>
                  <a:pt x="405" y="238"/>
                </a:lnTo>
                <a:lnTo>
                  <a:pt x="405" y="238"/>
                </a:lnTo>
                <a:lnTo>
                  <a:pt x="405" y="237"/>
                </a:lnTo>
                <a:lnTo>
                  <a:pt x="405" y="237"/>
                </a:lnTo>
                <a:lnTo>
                  <a:pt x="406" y="236"/>
                </a:lnTo>
                <a:lnTo>
                  <a:pt x="406" y="236"/>
                </a:lnTo>
                <a:lnTo>
                  <a:pt x="407" y="236"/>
                </a:lnTo>
                <a:lnTo>
                  <a:pt x="408" y="236"/>
                </a:lnTo>
                <a:lnTo>
                  <a:pt x="410" y="237"/>
                </a:lnTo>
                <a:lnTo>
                  <a:pt x="412" y="237"/>
                </a:lnTo>
                <a:lnTo>
                  <a:pt x="417" y="238"/>
                </a:lnTo>
                <a:lnTo>
                  <a:pt x="420" y="239"/>
                </a:lnTo>
                <a:lnTo>
                  <a:pt x="422" y="239"/>
                </a:lnTo>
                <a:lnTo>
                  <a:pt x="424" y="239"/>
                </a:lnTo>
                <a:lnTo>
                  <a:pt x="427" y="240"/>
                </a:lnTo>
                <a:lnTo>
                  <a:pt x="433" y="240"/>
                </a:lnTo>
                <a:lnTo>
                  <a:pt x="436" y="240"/>
                </a:lnTo>
                <a:lnTo>
                  <a:pt x="438" y="240"/>
                </a:lnTo>
                <a:lnTo>
                  <a:pt x="440" y="241"/>
                </a:lnTo>
                <a:lnTo>
                  <a:pt x="440" y="241"/>
                </a:lnTo>
                <a:lnTo>
                  <a:pt x="442" y="241"/>
                </a:lnTo>
                <a:lnTo>
                  <a:pt x="443" y="242"/>
                </a:lnTo>
                <a:lnTo>
                  <a:pt x="450" y="246"/>
                </a:lnTo>
                <a:lnTo>
                  <a:pt x="454" y="248"/>
                </a:lnTo>
                <a:lnTo>
                  <a:pt x="456" y="249"/>
                </a:lnTo>
                <a:lnTo>
                  <a:pt x="458" y="250"/>
                </a:lnTo>
                <a:lnTo>
                  <a:pt x="466" y="256"/>
                </a:lnTo>
                <a:lnTo>
                  <a:pt x="468" y="257"/>
                </a:lnTo>
                <a:lnTo>
                  <a:pt x="469" y="257"/>
                </a:lnTo>
                <a:lnTo>
                  <a:pt x="470" y="258"/>
                </a:lnTo>
                <a:lnTo>
                  <a:pt x="473" y="259"/>
                </a:lnTo>
                <a:lnTo>
                  <a:pt x="475" y="260"/>
                </a:lnTo>
                <a:lnTo>
                  <a:pt x="477" y="260"/>
                </a:lnTo>
                <a:lnTo>
                  <a:pt x="479" y="260"/>
                </a:lnTo>
                <a:lnTo>
                  <a:pt x="481" y="260"/>
                </a:lnTo>
                <a:lnTo>
                  <a:pt x="482" y="260"/>
                </a:lnTo>
                <a:lnTo>
                  <a:pt x="483" y="260"/>
                </a:lnTo>
                <a:lnTo>
                  <a:pt x="484" y="260"/>
                </a:lnTo>
                <a:lnTo>
                  <a:pt x="485" y="260"/>
                </a:lnTo>
                <a:lnTo>
                  <a:pt x="486" y="259"/>
                </a:lnTo>
                <a:lnTo>
                  <a:pt x="487" y="259"/>
                </a:lnTo>
                <a:lnTo>
                  <a:pt x="488" y="258"/>
                </a:lnTo>
                <a:lnTo>
                  <a:pt x="488" y="257"/>
                </a:lnTo>
                <a:lnTo>
                  <a:pt x="489" y="256"/>
                </a:lnTo>
                <a:lnTo>
                  <a:pt x="489" y="256"/>
                </a:lnTo>
                <a:lnTo>
                  <a:pt x="490" y="255"/>
                </a:lnTo>
                <a:lnTo>
                  <a:pt x="490" y="254"/>
                </a:lnTo>
                <a:lnTo>
                  <a:pt x="491" y="251"/>
                </a:lnTo>
                <a:lnTo>
                  <a:pt x="492" y="249"/>
                </a:lnTo>
                <a:lnTo>
                  <a:pt x="492" y="249"/>
                </a:lnTo>
                <a:lnTo>
                  <a:pt x="492" y="248"/>
                </a:lnTo>
                <a:lnTo>
                  <a:pt x="493" y="248"/>
                </a:lnTo>
                <a:lnTo>
                  <a:pt x="493" y="247"/>
                </a:lnTo>
                <a:lnTo>
                  <a:pt x="494" y="247"/>
                </a:lnTo>
                <a:lnTo>
                  <a:pt x="495" y="247"/>
                </a:lnTo>
                <a:lnTo>
                  <a:pt x="495" y="247"/>
                </a:lnTo>
                <a:lnTo>
                  <a:pt x="496" y="247"/>
                </a:lnTo>
                <a:lnTo>
                  <a:pt x="497" y="247"/>
                </a:lnTo>
                <a:lnTo>
                  <a:pt x="498" y="248"/>
                </a:lnTo>
                <a:lnTo>
                  <a:pt x="499" y="248"/>
                </a:lnTo>
                <a:lnTo>
                  <a:pt x="500" y="248"/>
                </a:lnTo>
                <a:lnTo>
                  <a:pt x="501" y="249"/>
                </a:lnTo>
                <a:lnTo>
                  <a:pt x="502" y="249"/>
                </a:lnTo>
                <a:lnTo>
                  <a:pt x="502" y="250"/>
                </a:lnTo>
                <a:lnTo>
                  <a:pt x="503" y="251"/>
                </a:lnTo>
                <a:lnTo>
                  <a:pt x="503" y="252"/>
                </a:lnTo>
                <a:lnTo>
                  <a:pt x="504" y="253"/>
                </a:lnTo>
                <a:lnTo>
                  <a:pt x="504" y="254"/>
                </a:lnTo>
                <a:lnTo>
                  <a:pt x="505" y="256"/>
                </a:lnTo>
                <a:lnTo>
                  <a:pt x="505" y="258"/>
                </a:lnTo>
                <a:lnTo>
                  <a:pt x="505" y="260"/>
                </a:lnTo>
                <a:lnTo>
                  <a:pt x="505" y="265"/>
                </a:lnTo>
                <a:lnTo>
                  <a:pt x="505" y="268"/>
                </a:lnTo>
                <a:lnTo>
                  <a:pt x="505" y="270"/>
                </a:lnTo>
                <a:lnTo>
                  <a:pt x="505" y="271"/>
                </a:lnTo>
                <a:lnTo>
                  <a:pt x="505" y="272"/>
                </a:lnTo>
                <a:lnTo>
                  <a:pt x="505" y="272"/>
                </a:lnTo>
                <a:lnTo>
                  <a:pt x="506" y="274"/>
                </a:lnTo>
                <a:lnTo>
                  <a:pt x="506" y="275"/>
                </a:lnTo>
                <a:lnTo>
                  <a:pt x="506" y="276"/>
                </a:lnTo>
                <a:lnTo>
                  <a:pt x="507" y="276"/>
                </a:lnTo>
                <a:lnTo>
                  <a:pt x="508" y="277"/>
                </a:lnTo>
                <a:lnTo>
                  <a:pt x="508" y="278"/>
                </a:lnTo>
                <a:lnTo>
                  <a:pt x="509" y="279"/>
                </a:lnTo>
                <a:lnTo>
                  <a:pt x="510" y="280"/>
                </a:lnTo>
                <a:lnTo>
                  <a:pt x="512" y="282"/>
                </a:lnTo>
                <a:lnTo>
                  <a:pt x="513" y="283"/>
                </a:lnTo>
                <a:lnTo>
                  <a:pt x="514" y="284"/>
                </a:lnTo>
                <a:lnTo>
                  <a:pt x="514" y="284"/>
                </a:lnTo>
                <a:lnTo>
                  <a:pt x="514" y="285"/>
                </a:lnTo>
                <a:lnTo>
                  <a:pt x="515" y="285"/>
                </a:lnTo>
                <a:lnTo>
                  <a:pt x="515" y="286"/>
                </a:lnTo>
                <a:lnTo>
                  <a:pt x="515" y="287"/>
                </a:lnTo>
                <a:lnTo>
                  <a:pt x="514" y="288"/>
                </a:lnTo>
                <a:lnTo>
                  <a:pt x="514" y="289"/>
                </a:lnTo>
                <a:lnTo>
                  <a:pt x="512" y="292"/>
                </a:lnTo>
                <a:lnTo>
                  <a:pt x="511" y="296"/>
                </a:lnTo>
                <a:lnTo>
                  <a:pt x="509" y="300"/>
                </a:lnTo>
                <a:lnTo>
                  <a:pt x="509" y="301"/>
                </a:lnTo>
                <a:lnTo>
                  <a:pt x="508" y="302"/>
                </a:lnTo>
                <a:lnTo>
                  <a:pt x="508" y="304"/>
                </a:lnTo>
                <a:lnTo>
                  <a:pt x="508" y="306"/>
                </a:lnTo>
                <a:lnTo>
                  <a:pt x="508" y="308"/>
                </a:lnTo>
                <a:lnTo>
                  <a:pt x="509" y="310"/>
                </a:lnTo>
                <a:lnTo>
                  <a:pt x="509" y="312"/>
                </a:lnTo>
                <a:lnTo>
                  <a:pt x="511" y="315"/>
                </a:lnTo>
                <a:lnTo>
                  <a:pt x="511" y="317"/>
                </a:lnTo>
                <a:lnTo>
                  <a:pt x="512" y="319"/>
                </a:lnTo>
                <a:lnTo>
                  <a:pt x="513" y="321"/>
                </a:lnTo>
                <a:lnTo>
                  <a:pt x="515" y="325"/>
                </a:lnTo>
                <a:lnTo>
                  <a:pt x="517" y="330"/>
                </a:lnTo>
                <a:lnTo>
                  <a:pt x="519" y="336"/>
                </a:lnTo>
                <a:lnTo>
                  <a:pt x="524" y="345"/>
                </a:lnTo>
                <a:lnTo>
                  <a:pt x="527" y="353"/>
                </a:lnTo>
                <a:lnTo>
                  <a:pt x="529" y="358"/>
                </a:lnTo>
                <a:lnTo>
                  <a:pt x="530" y="360"/>
                </a:lnTo>
                <a:lnTo>
                  <a:pt x="531" y="361"/>
                </a:lnTo>
                <a:lnTo>
                  <a:pt x="531" y="363"/>
                </a:lnTo>
                <a:lnTo>
                  <a:pt x="533" y="369"/>
                </a:lnTo>
                <a:lnTo>
                  <a:pt x="534" y="371"/>
                </a:lnTo>
                <a:lnTo>
                  <a:pt x="534" y="373"/>
                </a:lnTo>
                <a:lnTo>
                  <a:pt x="535" y="374"/>
                </a:lnTo>
                <a:lnTo>
                  <a:pt x="535" y="375"/>
                </a:lnTo>
                <a:lnTo>
                  <a:pt x="536" y="376"/>
                </a:lnTo>
                <a:lnTo>
                  <a:pt x="537" y="377"/>
                </a:lnTo>
                <a:lnTo>
                  <a:pt x="538" y="378"/>
                </a:lnTo>
                <a:lnTo>
                  <a:pt x="538" y="379"/>
                </a:lnTo>
                <a:lnTo>
                  <a:pt x="539" y="380"/>
                </a:lnTo>
                <a:lnTo>
                  <a:pt x="541" y="380"/>
                </a:lnTo>
                <a:lnTo>
                  <a:pt x="542" y="381"/>
                </a:lnTo>
                <a:lnTo>
                  <a:pt x="543" y="382"/>
                </a:lnTo>
                <a:lnTo>
                  <a:pt x="544" y="382"/>
                </a:lnTo>
                <a:lnTo>
                  <a:pt x="546" y="383"/>
                </a:lnTo>
                <a:lnTo>
                  <a:pt x="552" y="385"/>
                </a:lnTo>
                <a:lnTo>
                  <a:pt x="554" y="385"/>
                </a:lnTo>
                <a:lnTo>
                  <a:pt x="559" y="386"/>
                </a:lnTo>
                <a:lnTo>
                  <a:pt x="561" y="386"/>
                </a:lnTo>
                <a:lnTo>
                  <a:pt x="562" y="386"/>
                </a:lnTo>
                <a:lnTo>
                  <a:pt x="563" y="387"/>
                </a:lnTo>
                <a:lnTo>
                  <a:pt x="565" y="388"/>
                </a:lnTo>
                <a:lnTo>
                  <a:pt x="567" y="388"/>
                </a:lnTo>
                <a:lnTo>
                  <a:pt x="568" y="390"/>
                </a:lnTo>
                <a:lnTo>
                  <a:pt x="570" y="392"/>
                </a:lnTo>
                <a:lnTo>
                  <a:pt x="573" y="395"/>
                </a:lnTo>
                <a:lnTo>
                  <a:pt x="574" y="396"/>
                </a:lnTo>
                <a:lnTo>
                  <a:pt x="575" y="397"/>
                </a:lnTo>
                <a:lnTo>
                  <a:pt x="576" y="397"/>
                </a:lnTo>
                <a:lnTo>
                  <a:pt x="578" y="398"/>
                </a:lnTo>
                <a:lnTo>
                  <a:pt x="580" y="399"/>
                </a:lnTo>
                <a:lnTo>
                  <a:pt x="582" y="399"/>
                </a:lnTo>
                <a:lnTo>
                  <a:pt x="583" y="400"/>
                </a:lnTo>
                <a:lnTo>
                  <a:pt x="585" y="400"/>
                </a:lnTo>
                <a:lnTo>
                  <a:pt x="586" y="400"/>
                </a:lnTo>
                <a:lnTo>
                  <a:pt x="587" y="400"/>
                </a:lnTo>
                <a:lnTo>
                  <a:pt x="588" y="400"/>
                </a:lnTo>
                <a:lnTo>
                  <a:pt x="592" y="399"/>
                </a:lnTo>
                <a:lnTo>
                  <a:pt x="595" y="399"/>
                </a:lnTo>
                <a:lnTo>
                  <a:pt x="597" y="399"/>
                </a:lnTo>
                <a:lnTo>
                  <a:pt x="598" y="399"/>
                </a:lnTo>
                <a:lnTo>
                  <a:pt x="599" y="399"/>
                </a:lnTo>
                <a:lnTo>
                  <a:pt x="600" y="399"/>
                </a:lnTo>
                <a:lnTo>
                  <a:pt x="602" y="400"/>
                </a:lnTo>
                <a:lnTo>
                  <a:pt x="604" y="400"/>
                </a:lnTo>
                <a:lnTo>
                  <a:pt x="605" y="401"/>
                </a:lnTo>
                <a:lnTo>
                  <a:pt x="606" y="402"/>
                </a:lnTo>
                <a:lnTo>
                  <a:pt x="607" y="403"/>
                </a:lnTo>
                <a:lnTo>
                  <a:pt x="608" y="403"/>
                </a:lnTo>
                <a:lnTo>
                  <a:pt x="609" y="404"/>
                </a:lnTo>
                <a:lnTo>
                  <a:pt x="610" y="405"/>
                </a:lnTo>
                <a:lnTo>
                  <a:pt x="610" y="407"/>
                </a:lnTo>
                <a:lnTo>
                  <a:pt x="610" y="408"/>
                </a:lnTo>
                <a:lnTo>
                  <a:pt x="611" y="410"/>
                </a:lnTo>
                <a:lnTo>
                  <a:pt x="612" y="413"/>
                </a:lnTo>
                <a:lnTo>
                  <a:pt x="613" y="419"/>
                </a:lnTo>
                <a:lnTo>
                  <a:pt x="615" y="427"/>
                </a:lnTo>
                <a:lnTo>
                  <a:pt x="619" y="439"/>
                </a:lnTo>
                <a:lnTo>
                  <a:pt x="621" y="447"/>
                </a:lnTo>
                <a:lnTo>
                  <a:pt x="621" y="449"/>
                </a:lnTo>
                <a:lnTo>
                  <a:pt x="622" y="450"/>
                </a:lnTo>
                <a:lnTo>
                  <a:pt x="623" y="452"/>
                </a:lnTo>
                <a:lnTo>
                  <a:pt x="624" y="455"/>
                </a:lnTo>
                <a:lnTo>
                  <a:pt x="625" y="456"/>
                </a:lnTo>
                <a:lnTo>
                  <a:pt x="625" y="458"/>
                </a:lnTo>
                <a:lnTo>
                  <a:pt x="626" y="464"/>
                </a:lnTo>
                <a:lnTo>
                  <a:pt x="627" y="466"/>
                </a:lnTo>
                <a:lnTo>
                  <a:pt x="627" y="468"/>
                </a:lnTo>
                <a:lnTo>
                  <a:pt x="628" y="471"/>
                </a:lnTo>
                <a:lnTo>
                  <a:pt x="629" y="474"/>
                </a:lnTo>
                <a:lnTo>
                  <a:pt x="630" y="475"/>
                </a:lnTo>
                <a:lnTo>
                  <a:pt x="632" y="479"/>
                </a:lnTo>
                <a:lnTo>
                  <a:pt x="634" y="482"/>
                </a:lnTo>
                <a:lnTo>
                  <a:pt x="634" y="484"/>
                </a:lnTo>
                <a:lnTo>
                  <a:pt x="635" y="485"/>
                </a:lnTo>
                <a:lnTo>
                  <a:pt x="635" y="487"/>
                </a:lnTo>
                <a:lnTo>
                  <a:pt x="635" y="488"/>
                </a:lnTo>
                <a:lnTo>
                  <a:pt x="635" y="490"/>
                </a:lnTo>
                <a:lnTo>
                  <a:pt x="635" y="491"/>
                </a:lnTo>
                <a:lnTo>
                  <a:pt x="634" y="492"/>
                </a:lnTo>
                <a:lnTo>
                  <a:pt x="633" y="496"/>
                </a:lnTo>
                <a:lnTo>
                  <a:pt x="632" y="499"/>
                </a:lnTo>
                <a:lnTo>
                  <a:pt x="631" y="502"/>
                </a:lnTo>
                <a:lnTo>
                  <a:pt x="631" y="503"/>
                </a:lnTo>
                <a:lnTo>
                  <a:pt x="631" y="504"/>
                </a:lnTo>
                <a:lnTo>
                  <a:pt x="630" y="504"/>
                </a:lnTo>
                <a:lnTo>
                  <a:pt x="629" y="505"/>
                </a:lnTo>
                <a:lnTo>
                  <a:pt x="629" y="505"/>
                </a:lnTo>
                <a:lnTo>
                  <a:pt x="628" y="506"/>
                </a:lnTo>
                <a:lnTo>
                  <a:pt x="626" y="506"/>
                </a:lnTo>
                <a:lnTo>
                  <a:pt x="622" y="508"/>
                </a:lnTo>
                <a:lnTo>
                  <a:pt x="620" y="508"/>
                </a:lnTo>
                <a:lnTo>
                  <a:pt x="618" y="509"/>
                </a:lnTo>
                <a:lnTo>
                  <a:pt x="616" y="510"/>
                </a:lnTo>
                <a:lnTo>
                  <a:pt x="611" y="513"/>
                </a:lnTo>
                <a:lnTo>
                  <a:pt x="608" y="514"/>
                </a:lnTo>
                <a:lnTo>
                  <a:pt x="605" y="516"/>
                </a:lnTo>
                <a:lnTo>
                  <a:pt x="600" y="520"/>
                </a:lnTo>
                <a:lnTo>
                  <a:pt x="598" y="521"/>
                </a:lnTo>
                <a:lnTo>
                  <a:pt x="596" y="522"/>
                </a:lnTo>
                <a:lnTo>
                  <a:pt x="594" y="522"/>
                </a:lnTo>
                <a:lnTo>
                  <a:pt x="593" y="523"/>
                </a:lnTo>
                <a:lnTo>
                  <a:pt x="592" y="523"/>
                </a:lnTo>
                <a:lnTo>
                  <a:pt x="590" y="523"/>
                </a:lnTo>
                <a:lnTo>
                  <a:pt x="589" y="523"/>
                </a:lnTo>
                <a:lnTo>
                  <a:pt x="588" y="523"/>
                </a:lnTo>
                <a:lnTo>
                  <a:pt x="587" y="523"/>
                </a:lnTo>
                <a:lnTo>
                  <a:pt x="584" y="522"/>
                </a:lnTo>
                <a:lnTo>
                  <a:pt x="579" y="521"/>
                </a:lnTo>
                <a:lnTo>
                  <a:pt x="577" y="520"/>
                </a:lnTo>
                <a:lnTo>
                  <a:pt x="575" y="520"/>
                </a:lnTo>
                <a:lnTo>
                  <a:pt x="573" y="519"/>
                </a:lnTo>
                <a:lnTo>
                  <a:pt x="569" y="519"/>
                </a:lnTo>
                <a:lnTo>
                  <a:pt x="564" y="518"/>
                </a:lnTo>
                <a:lnTo>
                  <a:pt x="562" y="518"/>
                </a:lnTo>
                <a:lnTo>
                  <a:pt x="560" y="518"/>
                </a:lnTo>
                <a:lnTo>
                  <a:pt x="557" y="518"/>
                </a:lnTo>
                <a:lnTo>
                  <a:pt x="552" y="519"/>
                </a:lnTo>
                <a:lnTo>
                  <a:pt x="544" y="521"/>
                </a:lnTo>
                <a:lnTo>
                  <a:pt x="542" y="521"/>
                </a:lnTo>
                <a:lnTo>
                  <a:pt x="539" y="522"/>
                </a:lnTo>
                <a:lnTo>
                  <a:pt x="537" y="522"/>
                </a:lnTo>
                <a:lnTo>
                  <a:pt x="536" y="522"/>
                </a:lnTo>
                <a:lnTo>
                  <a:pt x="534" y="521"/>
                </a:lnTo>
                <a:lnTo>
                  <a:pt x="533" y="521"/>
                </a:lnTo>
                <a:lnTo>
                  <a:pt x="532" y="521"/>
                </a:lnTo>
                <a:lnTo>
                  <a:pt x="531" y="520"/>
                </a:lnTo>
                <a:lnTo>
                  <a:pt x="528" y="519"/>
                </a:lnTo>
                <a:lnTo>
                  <a:pt x="526" y="518"/>
                </a:lnTo>
                <a:lnTo>
                  <a:pt x="525" y="518"/>
                </a:lnTo>
                <a:lnTo>
                  <a:pt x="523" y="518"/>
                </a:lnTo>
                <a:lnTo>
                  <a:pt x="522" y="518"/>
                </a:lnTo>
                <a:lnTo>
                  <a:pt x="521" y="518"/>
                </a:lnTo>
                <a:lnTo>
                  <a:pt x="519" y="518"/>
                </a:lnTo>
                <a:lnTo>
                  <a:pt x="517" y="518"/>
                </a:lnTo>
                <a:lnTo>
                  <a:pt x="516" y="519"/>
                </a:lnTo>
                <a:lnTo>
                  <a:pt x="515" y="519"/>
                </a:lnTo>
                <a:lnTo>
                  <a:pt x="514" y="519"/>
                </a:lnTo>
                <a:lnTo>
                  <a:pt x="513" y="520"/>
                </a:lnTo>
                <a:lnTo>
                  <a:pt x="511" y="521"/>
                </a:lnTo>
                <a:lnTo>
                  <a:pt x="510" y="521"/>
                </a:lnTo>
                <a:lnTo>
                  <a:pt x="509" y="522"/>
                </a:lnTo>
                <a:lnTo>
                  <a:pt x="507" y="523"/>
                </a:lnTo>
                <a:lnTo>
                  <a:pt x="507" y="524"/>
                </a:lnTo>
                <a:lnTo>
                  <a:pt x="506" y="526"/>
                </a:lnTo>
                <a:lnTo>
                  <a:pt x="505" y="527"/>
                </a:lnTo>
                <a:lnTo>
                  <a:pt x="504" y="528"/>
                </a:lnTo>
                <a:lnTo>
                  <a:pt x="504" y="529"/>
                </a:lnTo>
                <a:lnTo>
                  <a:pt x="504" y="530"/>
                </a:lnTo>
                <a:lnTo>
                  <a:pt x="504" y="531"/>
                </a:lnTo>
                <a:lnTo>
                  <a:pt x="503" y="532"/>
                </a:lnTo>
                <a:lnTo>
                  <a:pt x="503" y="534"/>
                </a:lnTo>
                <a:lnTo>
                  <a:pt x="503" y="538"/>
                </a:lnTo>
                <a:lnTo>
                  <a:pt x="504" y="540"/>
                </a:lnTo>
                <a:lnTo>
                  <a:pt x="503" y="541"/>
                </a:lnTo>
                <a:lnTo>
                  <a:pt x="503" y="542"/>
                </a:lnTo>
                <a:lnTo>
                  <a:pt x="503" y="544"/>
                </a:lnTo>
                <a:lnTo>
                  <a:pt x="502" y="545"/>
                </a:lnTo>
                <a:lnTo>
                  <a:pt x="502" y="546"/>
                </a:lnTo>
                <a:lnTo>
                  <a:pt x="501" y="548"/>
                </a:lnTo>
                <a:lnTo>
                  <a:pt x="499" y="551"/>
                </a:lnTo>
                <a:lnTo>
                  <a:pt x="496" y="555"/>
                </a:lnTo>
                <a:lnTo>
                  <a:pt x="494" y="557"/>
                </a:lnTo>
                <a:lnTo>
                  <a:pt x="490" y="562"/>
                </a:lnTo>
                <a:lnTo>
                  <a:pt x="486" y="567"/>
                </a:lnTo>
                <a:lnTo>
                  <a:pt x="485" y="568"/>
                </a:lnTo>
                <a:lnTo>
                  <a:pt x="484" y="571"/>
                </a:lnTo>
                <a:lnTo>
                  <a:pt x="481" y="575"/>
                </a:lnTo>
                <a:lnTo>
                  <a:pt x="477" y="581"/>
                </a:lnTo>
                <a:lnTo>
                  <a:pt x="477" y="582"/>
                </a:lnTo>
                <a:lnTo>
                  <a:pt x="475" y="584"/>
                </a:lnTo>
                <a:lnTo>
                  <a:pt x="474" y="585"/>
                </a:lnTo>
                <a:lnTo>
                  <a:pt x="473" y="587"/>
                </a:lnTo>
                <a:lnTo>
                  <a:pt x="471" y="588"/>
                </a:lnTo>
                <a:lnTo>
                  <a:pt x="470" y="589"/>
                </a:lnTo>
                <a:lnTo>
                  <a:pt x="468" y="590"/>
                </a:lnTo>
                <a:lnTo>
                  <a:pt x="466" y="591"/>
                </a:lnTo>
                <a:lnTo>
                  <a:pt x="465" y="592"/>
                </a:lnTo>
                <a:lnTo>
                  <a:pt x="463" y="592"/>
                </a:lnTo>
                <a:lnTo>
                  <a:pt x="462" y="593"/>
                </a:lnTo>
                <a:lnTo>
                  <a:pt x="460" y="593"/>
                </a:lnTo>
                <a:lnTo>
                  <a:pt x="459" y="593"/>
                </a:lnTo>
                <a:lnTo>
                  <a:pt x="457" y="593"/>
                </a:lnTo>
                <a:lnTo>
                  <a:pt x="455" y="593"/>
                </a:lnTo>
                <a:lnTo>
                  <a:pt x="454" y="593"/>
                </a:lnTo>
                <a:lnTo>
                  <a:pt x="448" y="593"/>
                </a:lnTo>
                <a:lnTo>
                  <a:pt x="448" y="593"/>
                </a:lnTo>
                <a:lnTo>
                  <a:pt x="448" y="593"/>
                </a:lnTo>
                <a:lnTo>
                  <a:pt x="447" y="593"/>
                </a:lnTo>
                <a:lnTo>
                  <a:pt x="447" y="593"/>
                </a:lnTo>
                <a:lnTo>
                  <a:pt x="445" y="592"/>
                </a:lnTo>
                <a:lnTo>
                  <a:pt x="444" y="592"/>
                </a:lnTo>
                <a:lnTo>
                  <a:pt x="442" y="591"/>
                </a:lnTo>
                <a:lnTo>
                  <a:pt x="441" y="590"/>
                </a:lnTo>
                <a:lnTo>
                  <a:pt x="439" y="589"/>
                </a:lnTo>
                <a:lnTo>
                  <a:pt x="438" y="588"/>
                </a:lnTo>
                <a:lnTo>
                  <a:pt x="437" y="587"/>
                </a:lnTo>
                <a:lnTo>
                  <a:pt x="437" y="586"/>
                </a:lnTo>
                <a:lnTo>
                  <a:pt x="436" y="585"/>
                </a:lnTo>
                <a:lnTo>
                  <a:pt x="435" y="584"/>
                </a:lnTo>
                <a:lnTo>
                  <a:pt x="435" y="583"/>
                </a:lnTo>
                <a:lnTo>
                  <a:pt x="434" y="581"/>
                </a:lnTo>
                <a:lnTo>
                  <a:pt x="432" y="575"/>
                </a:lnTo>
                <a:lnTo>
                  <a:pt x="431" y="574"/>
                </a:lnTo>
                <a:lnTo>
                  <a:pt x="430" y="573"/>
                </a:lnTo>
                <a:lnTo>
                  <a:pt x="430" y="572"/>
                </a:lnTo>
                <a:lnTo>
                  <a:pt x="429" y="571"/>
                </a:lnTo>
                <a:lnTo>
                  <a:pt x="426" y="567"/>
                </a:lnTo>
                <a:lnTo>
                  <a:pt x="425" y="565"/>
                </a:lnTo>
                <a:lnTo>
                  <a:pt x="424" y="565"/>
                </a:lnTo>
                <a:lnTo>
                  <a:pt x="423" y="564"/>
                </a:lnTo>
                <a:lnTo>
                  <a:pt x="421" y="562"/>
                </a:lnTo>
                <a:lnTo>
                  <a:pt x="414" y="557"/>
                </a:lnTo>
                <a:lnTo>
                  <a:pt x="412" y="556"/>
                </a:lnTo>
                <a:lnTo>
                  <a:pt x="411" y="555"/>
                </a:lnTo>
                <a:lnTo>
                  <a:pt x="410" y="554"/>
                </a:lnTo>
                <a:lnTo>
                  <a:pt x="409" y="552"/>
                </a:lnTo>
                <a:lnTo>
                  <a:pt x="408" y="551"/>
                </a:lnTo>
                <a:lnTo>
                  <a:pt x="407" y="549"/>
                </a:lnTo>
                <a:lnTo>
                  <a:pt x="405" y="547"/>
                </a:lnTo>
                <a:lnTo>
                  <a:pt x="402" y="542"/>
                </a:lnTo>
                <a:lnTo>
                  <a:pt x="402" y="541"/>
                </a:lnTo>
                <a:lnTo>
                  <a:pt x="401" y="539"/>
                </a:lnTo>
                <a:lnTo>
                  <a:pt x="400" y="538"/>
                </a:lnTo>
                <a:lnTo>
                  <a:pt x="399" y="537"/>
                </a:lnTo>
                <a:lnTo>
                  <a:pt x="398" y="536"/>
                </a:lnTo>
                <a:lnTo>
                  <a:pt x="396" y="536"/>
                </a:lnTo>
                <a:lnTo>
                  <a:pt x="394" y="535"/>
                </a:lnTo>
                <a:lnTo>
                  <a:pt x="393" y="535"/>
                </a:lnTo>
                <a:lnTo>
                  <a:pt x="392" y="535"/>
                </a:lnTo>
                <a:lnTo>
                  <a:pt x="390" y="535"/>
                </a:lnTo>
                <a:lnTo>
                  <a:pt x="390" y="535"/>
                </a:lnTo>
                <a:lnTo>
                  <a:pt x="388" y="535"/>
                </a:lnTo>
                <a:lnTo>
                  <a:pt x="383" y="536"/>
                </a:lnTo>
                <a:lnTo>
                  <a:pt x="382" y="536"/>
                </a:lnTo>
                <a:lnTo>
                  <a:pt x="380" y="537"/>
                </a:lnTo>
                <a:lnTo>
                  <a:pt x="379" y="537"/>
                </a:lnTo>
                <a:lnTo>
                  <a:pt x="378" y="537"/>
                </a:lnTo>
                <a:lnTo>
                  <a:pt x="376" y="537"/>
                </a:lnTo>
                <a:lnTo>
                  <a:pt x="372" y="536"/>
                </a:lnTo>
                <a:lnTo>
                  <a:pt x="370" y="536"/>
                </a:lnTo>
                <a:lnTo>
                  <a:pt x="362" y="534"/>
                </a:lnTo>
                <a:lnTo>
                  <a:pt x="360" y="534"/>
                </a:lnTo>
                <a:lnTo>
                  <a:pt x="359" y="533"/>
                </a:lnTo>
                <a:lnTo>
                  <a:pt x="357" y="532"/>
                </a:lnTo>
                <a:lnTo>
                  <a:pt x="355" y="532"/>
                </a:lnTo>
                <a:lnTo>
                  <a:pt x="354" y="531"/>
                </a:lnTo>
                <a:lnTo>
                  <a:pt x="352" y="530"/>
                </a:lnTo>
                <a:lnTo>
                  <a:pt x="347" y="526"/>
                </a:lnTo>
                <a:lnTo>
                  <a:pt x="345" y="525"/>
                </a:lnTo>
                <a:lnTo>
                  <a:pt x="344" y="524"/>
                </a:lnTo>
                <a:lnTo>
                  <a:pt x="342" y="523"/>
                </a:lnTo>
                <a:lnTo>
                  <a:pt x="341" y="522"/>
                </a:lnTo>
                <a:lnTo>
                  <a:pt x="339" y="522"/>
                </a:lnTo>
                <a:lnTo>
                  <a:pt x="337" y="522"/>
                </a:lnTo>
                <a:lnTo>
                  <a:pt x="333" y="522"/>
                </a:lnTo>
                <a:lnTo>
                  <a:pt x="331" y="521"/>
                </a:lnTo>
                <a:lnTo>
                  <a:pt x="330" y="521"/>
                </a:lnTo>
                <a:lnTo>
                  <a:pt x="325" y="520"/>
                </a:lnTo>
                <a:lnTo>
                  <a:pt x="324" y="520"/>
                </a:lnTo>
                <a:lnTo>
                  <a:pt x="323" y="519"/>
                </a:lnTo>
                <a:lnTo>
                  <a:pt x="320" y="519"/>
                </a:lnTo>
                <a:lnTo>
                  <a:pt x="315" y="519"/>
                </a:lnTo>
                <a:lnTo>
                  <a:pt x="311" y="520"/>
                </a:lnTo>
                <a:lnTo>
                  <a:pt x="307" y="520"/>
                </a:lnTo>
                <a:lnTo>
                  <a:pt x="301" y="521"/>
                </a:lnTo>
                <a:lnTo>
                  <a:pt x="298" y="522"/>
                </a:lnTo>
                <a:lnTo>
                  <a:pt x="293" y="524"/>
                </a:lnTo>
                <a:lnTo>
                  <a:pt x="283" y="527"/>
                </a:lnTo>
                <a:lnTo>
                  <a:pt x="280" y="527"/>
                </a:lnTo>
                <a:lnTo>
                  <a:pt x="278" y="528"/>
                </a:lnTo>
                <a:lnTo>
                  <a:pt x="277" y="528"/>
                </a:lnTo>
                <a:lnTo>
                  <a:pt x="276" y="528"/>
                </a:lnTo>
                <a:lnTo>
                  <a:pt x="274" y="528"/>
                </a:lnTo>
                <a:lnTo>
                  <a:pt x="273" y="527"/>
                </a:lnTo>
                <a:lnTo>
                  <a:pt x="272" y="527"/>
                </a:lnTo>
                <a:lnTo>
                  <a:pt x="271" y="526"/>
                </a:lnTo>
                <a:lnTo>
                  <a:pt x="271" y="526"/>
                </a:lnTo>
                <a:lnTo>
                  <a:pt x="270" y="525"/>
                </a:lnTo>
                <a:lnTo>
                  <a:pt x="269" y="524"/>
                </a:lnTo>
                <a:lnTo>
                  <a:pt x="269" y="523"/>
                </a:lnTo>
                <a:lnTo>
                  <a:pt x="266" y="519"/>
                </a:lnTo>
                <a:lnTo>
                  <a:pt x="266" y="518"/>
                </a:lnTo>
                <a:lnTo>
                  <a:pt x="265" y="517"/>
                </a:lnTo>
                <a:lnTo>
                  <a:pt x="264" y="516"/>
                </a:lnTo>
                <a:lnTo>
                  <a:pt x="262" y="514"/>
                </a:lnTo>
                <a:lnTo>
                  <a:pt x="261" y="513"/>
                </a:lnTo>
                <a:lnTo>
                  <a:pt x="259" y="512"/>
                </a:lnTo>
                <a:lnTo>
                  <a:pt x="257" y="511"/>
                </a:lnTo>
                <a:lnTo>
                  <a:pt x="255" y="510"/>
                </a:lnTo>
                <a:lnTo>
                  <a:pt x="253" y="510"/>
                </a:lnTo>
                <a:lnTo>
                  <a:pt x="251" y="509"/>
                </a:lnTo>
                <a:lnTo>
                  <a:pt x="248" y="508"/>
                </a:lnTo>
                <a:lnTo>
                  <a:pt x="246" y="508"/>
                </a:lnTo>
                <a:lnTo>
                  <a:pt x="244" y="508"/>
                </a:lnTo>
                <a:lnTo>
                  <a:pt x="243" y="508"/>
                </a:lnTo>
                <a:lnTo>
                  <a:pt x="243" y="508"/>
                </a:lnTo>
                <a:lnTo>
                  <a:pt x="242" y="508"/>
                </a:lnTo>
                <a:lnTo>
                  <a:pt x="242" y="508"/>
                </a:lnTo>
                <a:lnTo>
                  <a:pt x="240" y="509"/>
                </a:lnTo>
                <a:lnTo>
                  <a:pt x="239" y="509"/>
                </a:lnTo>
                <a:lnTo>
                  <a:pt x="237" y="509"/>
                </a:lnTo>
                <a:lnTo>
                  <a:pt x="237" y="509"/>
                </a:lnTo>
                <a:lnTo>
                  <a:pt x="236" y="509"/>
                </a:lnTo>
                <a:lnTo>
                  <a:pt x="235" y="508"/>
                </a:lnTo>
                <a:lnTo>
                  <a:pt x="234" y="505"/>
                </a:lnTo>
                <a:lnTo>
                  <a:pt x="232" y="500"/>
                </a:lnTo>
                <a:lnTo>
                  <a:pt x="231" y="498"/>
                </a:lnTo>
                <a:lnTo>
                  <a:pt x="230" y="496"/>
                </a:lnTo>
                <a:lnTo>
                  <a:pt x="228" y="495"/>
                </a:lnTo>
                <a:lnTo>
                  <a:pt x="228" y="494"/>
                </a:lnTo>
                <a:lnTo>
                  <a:pt x="227" y="494"/>
                </a:lnTo>
                <a:lnTo>
                  <a:pt x="227" y="494"/>
                </a:lnTo>
                <a:lnTo>
                  <a:pt x="226" y="494"/>
                </a:lnTo>
                <a:lnTo>
                  <a:pt x="226" y="494"/>
                </a:lnTo>
                <a:lnTo>
                  <a:pt x="225" y="494"/>
                </a:lnTo>
                <a:lnTo>
                  <a:pt x="224" y="494"/>
                </a:lnTo>
                <a:lnTo>
                  <a:pt x="222" y="494"/>
                </a:lnTo>
                <a:lnTo>
                  <a:pt x="221" y="494"/>
                </a:lnTo>
                <a:lnTo>
                  <a:pt x="220" y="495"/>
                </a:lnTo>
                <a:lnTo>
                  <a:pt x="219" y="496"/>
                </a:lnTo>
                <a:lnTo>
                  <a:pt x="217" y="497"/>
                </a:lnTo>
                <a:lnTo>
                  <a:pt x="214" y="500"/>
                </a:lnTo>
                <a:lnTo>
                  <a:pt x="213" y="500"/>
                </a:lnTo>
                <a:lnTo>
                  <a:pt x="213" y="501"/>
                </a:lnTo>
                <a:lnTo>
                  <a:pt x="212" y="501"/>
                </a:lnTo>
                <a:lnTo>
                  <a:pt x="211" y="501"/>
                </a:lnTo>
                <a:lnTo>
                  <a:pt x="211" y="500"/>
                </a:lnTo>
                <a:lnTo>
                  <a:pt x="210" y="500"/>
                </a:lnTo>
                <a:lnTo>
                  <a:pt x="209" y="499"/>
                </a:lnTo>
                <a:lnTo>
                  <a:pt x="209" y="498"/>
                </a:lnTo>
                <a:lnTo>
                  <a:pt x="208" y="497"/>
                </a:lnTo>
                <a:lnTo>
                  <a:pt x="208" y="495"/>
                </a:lnTo>
                <a:lnTo>
                  <a:pt x="208" y="494"/>
                </a:lnTo>
                <a:lnTo>
                  <a:pt x="208" y="494"/>
                </a:lnTo>
                <a:lnTo>
                  <a:pt x="208" y="493"/>
                </a:lnTo>
                <a:lnTo>
                  <a:pt x="208" y="491"/>
                </a:lnTo>
                <a:lnTo>
                  <a:pt x="209" y="490"/>
                </a:lnTo>
                <a:lnTo>
                  <a:pt x="210" y="488"/>
                </a:lnTo>
                <a:lnTo>
                  <a:pt x="210" y="487"/>
                </a:lnTo>
                <a:lnTo>
                  <a:pt x="210" y="486"/>
                </a:lnTo>
                <a:lnTo>
                  <a:pt x="210" y="485"/>
                </a:lnTo>
                <a:lnTo>
                  <a:pt x="210" y="485"/>
                </a:lnTo>
                <a:lnTo>
                  <a:pt x="210" y="484"/>
                </a:lnTo>
                <a:lnTo>
                  <a:pt x="210" y="482"/>
                </a:lnTo>
                <a:lnTo>
                  <a:pt x="209" y="481"/>
                </a:lnTo>
                <a:lnTo>
                  <a:pt x="207" y="477"/>
                </a:lnTo>
                <a:lnTo>
                  <a:pt x="205" y="474"/>
                </a:lnTo>
                <a:lnTo>
                  <a:pt x="203" y="471"/>
                </a:lnTo>
                <a:lnTo>
                  <a:pt x="200" y="468"/>
                </a:lnTo>
                <a:lnTo>
                  <a:pt x="199" y="466"/>
                </a:lnTo>
                <a:lnTo>
                  <a:pt x="196" y="463"/>
                </a:lnTo>
                <a:lnTo>
                  <a:pt x="191" y="458"/>
                </a:lnTo>
                <a:lnTo>
                  <a:pt x="189" y="457"/>
                </a:lnTo>
                <a:lnTo>
                  <a:pt x="187" y="455"/>
                </a:lnTo>
                <a:lnTo>
                  <a:pt x="177" y="447"/>
                </a:lnTo>
                <a:lnTo>
                  <a:pt x="176" y="447"/>
                </a:lnTo>
                <a:lnTo>
                  <a:pt x="175" y="446"/>
                </a:lnTo>
                <a:lnTo>
                  <a:pt x="174" y="445"/>
                </a:lnTo>
                <a:lnTo>
                  <a:pt x="173" y="444"/>
                </a:lnTo>
                <a:lnTo>
                  <a:pt x="172" y="441"/>
                </a:lnTo>
                <a:lnTo>
                  <a:pt x="171" y="440"/>
                </a:lnTo>
                <a:lnTo>
                  <a:pt x="169" y="436"/>
                </a:lnTo>
                <a:lnTo>
                  <a:pt x="168" y="434"/>
                </a:lnTo>
                <a:lnTo>
                  <a:pt x="167" y="433"/>
                </a:lnTo>
                <a:lnTo>
                  <a:pt x="166" y="431"/>
                </a:lnTo>
                <a:lnTo>
                  <a:pt x="164" y="429"/>
                </a:lnTo>
                <a:lnTo>
                  <a:pt x="163" y="427"/>
                </a:lnTo>
                <a:lnTo>
                  <a:pt x="162" y="426"/>
                </a:lnTo>
                <a:lnTo>
                  <a:pt x="160" y="425"/>
                </a:lnTo>
                <a:lnTo>
                  <a:pt x="159" y="425"/>
                </a:lnTo>
                <a:lnTo>
                  <a:pt x="159" y="424"/>
                </a:lnTo>
                <a:lnTo>
                  <a:pt x="158" y="424"/>
                </a:lnTo>
                <a:lnTo>
                  <a:pt x="158" y="424"/>
                </a:lnTo>
                <a:lnTo>
                  <a:pt x="157" y="424"/>
                </a:lnTo>
                <a:lnTo>
                  <a:pt x="156" y="424"/>
                </a:lnTo>
                <a:lnTo>
                  <a:pt x="156" y="425"/>
                </a:lnTo>
                <a:lnTo>
                  <a:pt x="155" y="425"/>
                </a:lnTo>
                <a:lnTo>
                  <a:pt x="153" y="426"/>
                </a:lnTo>
                <a:lnTo>
                  <a:pt x="153" y="427"/>
                </a:lnTo>
                <a:lnTo>
                  <a:pt x="152" y="427"/>
                </a:lnTo>
                <a:lnTo>
                  <a:pt x="151" y="427"/>
                </a:lnTo>
                <a:lnTo>
                  <a:pt x="150" y="427"/>
                </a:lnTo>
                <a:lnTo>
                  <a:pt x="149" y="427"/>
                </a:lnTo>
                <a:lnTo>
                  <a:pt x="148" y="427"/>
                </a:lnTo>
                <a:lnTo>
                  <a:pt x="147" y="427"/>
                </a:lnTo>
                <a:lnTo>
                  <a:pt x="145" y="426"/>
                </a:lnTo>
                <a:lnTo>
                  <a:pt x="144" y="425"/>
                </a:lnTo>
                <a:lnTo>
                  <a:pt x="142" y="424"/>
                </a:lnTo>
                <a:lnTo>
                  <a:pt x="141" y="423"/>
                </a:lnTo>
                <a:lnTo>
                  <a:pt x="139" y="422"/>
                </a:lnTo>
                <a:lnTo>
                  <a:pt x="138" y="421"/>
                </a:lnTo>
                <a:lnTo>
                  <a:pt x="138" y="420"/>
                </a:lnTo>
                <a:lnTo>
                  <a:pt x="137" y="419"/>
                </a:lnTo>
                <a:lnTo>
                  <a:pt x="136" y="418"/>
                </a:lnTo>
                <a:lnTo>
                  <a:pt x="135" y="416"/>
                </a:lnTo>
                <a:lnTo>
                  <a:pt x="135" y="414"/>
                </a:lnTo>
                <a:lnTo>
                  <a:pt x="134" y="412"/>
                </a:lnTo>
                <a:lnTo>
                  <a:pt x="134" y="410"/>
                </a:lnTo>
                <a:lnTo>
                  <a:pt x="134" y="408"/>
                </a:lnTo>
                <a:lnTo>
                  <a:pt x="133" y="406"/>
                </a:lnTo>
                <a:lnTo>
                  <a:pt x="133" y="404"/>
                </a:lnTo>
                <a:lnTo>
                  <a:pt x="134" y="403"/>
                </a:lnTo>
                <a:lnTo>
                  <a:pt x="134" y="401"/>
                </a:lnTo>
                <a:lnTo>
                  <a:pt x="134" y="400"/>
                </a:lnTo>
                <a:lnTo>
                  <a:pt x="134" y="397"/>
                </a:lnTo>
                <a:lnTo>
                  <a:pt x="136" y="391"/>
                </a:lnTo>
                <a:lnTo>
                  <a:pt x="136" y="390"/>
                </a:lnTo>
                <a:lnTo>
                  <a:pt x="136" y="388"/>
                </a:lnTo>
                <a:lnTo>
                  <a:pt x="136" y="387"/>
                </a:lnTo>
                <a:lnTo>
                  <a:pt x="137" y="385"/>
                </a:lnTo>
                <a:lnTo>
                  <a:pt x="136" y="383"/>
                </a:lnTo>
                <a:lnTo>
                  <a:pt x="136" y="382"/>
                </a:lnTo>
                <a:lnTo>
                  <a:pt x="136" y="380"/>
                </a:lnTo>
                <a:lnTo>
                  <a:pt x="135" y="377"/>
                </a:lnTo>
                <a:lnTo>
                  <a:pt x="135" y="375"/>
                </a:lnTo>
                <a:lnTo>
                  <a:pt x="134" y="373"/>
                </a:lnTo>
                <a:lnTo>
                  <a:pt x="133" y="372"/>
                </a:lnTo>
                <a:lnTo>
                  <a:pt x="133" y="371"/>
                </a:lnTo>
                <a:lnTo>
                  <a:pt x="132" y="369"/>
                </a:lnTo>
                <a:lnTo>
                  <a:pt x="131" y="368"/>
                </a:lnTo>
                <a:lnTo>
                  <a:pt x="130" y="368"/>
                </a:lnTo>
                <a:lnTo>
                  <a:pt x="129" y="368"/>
                </a:lnTo>
                <a:lnTo>
                  <a:pt x="129" y="367"/>
                </a:lnTo>
                <a:lnTo>
                  <a:pt x="128" y="367"/>
                </a:lnTo>
                <a:lnTo>
                  <a:pt x="127" y="367"/>
                </a:lnTo>
                <a:lnTo>
                  <a:pt x="126" y="367"/>
                </a:lnTo>
                <a:lnTo>
                  <a:pt x="126" y="367"/>
                </a:lnTo>
                <a:lnTo>
                  <a:pt x="125" y="367"/>
                </a:lnTo>
                <a:lnTo>
                  <a:pt x="121" y="368"/>
                </a:lnTo>
                <a:lnTo>
                  <a:pt x="119" y="368"/>
                </a:lnTo>
                <a:lnTo>
                  <a:pt x="112" y="371"/>
                </a:lnTo>
                <a:lnTo>
                  <a:pt x="110" y="371"/>
                </a:lnTo>
                <a:lnTo>
                  <a:pt x="108" y="372"/>
                </a:lnTo>
                <a:lnTo>
                  <a:pt x="105" y="373"/>
                </a:lnTo>
                <a:lnTo>
                  <a:pt x="102" y="375"/>
                </a:lnTo>
                <a:lnTo>
                  <a:pt x="101" y="375"/>
                </a:lnTo>
                <a:lnTo>
                  <a:pt x="100" y="375"/>
                </a:lnTo>
                <a:lnTo>
                  <a:pt x="99" y="375"/>
                </a:lnTo>
                <a:lnTo>
                  <a:pt x="98" y="375"/>
                </a:lnTo>
                <a:lnTo>
                  <a:pt x="97" y="375"/>
                </a:lnTo>
                <a:lnTo>
                  <a:pt x="92" y="374"/>
                </a:lnTo>
                <a:lnTo>
                  <a:pt x="91" y="374"/>
                </a:lnTo>
                <a:lnTo>
                  <a:pt x="90" y="374"/>
                </a:lnTo>
                <a:lnTo>
                  <a:pt x="87" y="373"/>
                </a:lnTo>
                <a:lnTo>
                  <a:pt x="81" y="370"/>
                </a:lnTo>
                <a:lnTo>
                  <a:pt x="80" y="369"/>
                </a:lnTo>
                <a:lnTo>
                  <a:pt x="78" y="368"/>
                </a:lnTo>
                <a:lnTo>
                  <a:pt x="77" y="367"/>
                </a:lnTo>
                <a:lnTo>
                  <a:pt x="75" y="365"/>
                </a:lnTo>
                <a:lnTo>
                  <a:pt x="73" y="364"/>
                </a:lnTo>
                <a:lnTo>
                  <a:pt x="72" y="363"/>
                </a:lnTo>
                <a:lnTo>
                  <a:pt x="71" y="362"/>
                </a:lnTo>
                <a:lnTo>
                  <a:pt x="68" y="361"/>
                </a:lnTo>
                <a:lnTo>
                  <a:pt x="68" y="361"/>
                </a:lnTo>
                <a:lnTo>
                  <a:pt x="66" y="360"/>
                </a:lnTo>
                <a:lnTo>
                  <a:pt x="65" y="359"/>
                </a:lnTo>
                <a:lnTo>
                  <a:pt x="64" y="358"/>
                </a:lnTo>
                <a:lnTo>
                  <a:pt x="63" y="357"/>
                </a:lnTo>
                <a:lnTo>
                  <a:pt x="62" y="355"/>
                </a:lnTo>
                <a:lnTo>
                  <a:pt x="61" y="353"/>
                </a:lnTo>
                <a:lnTo>
                  <a:pt x="60" y="351"/>
                </a:lnTo>
                <a:lnTo>
                  <a:pt x="59" y="350"/>
                </a:lnTo>
                <a:lnTo>
                  <a:pt x="55" y="346"/>
                </a:lnTo>
                <a:lnTo>
                  <a:pt x="54" y="345"/>
                </a:lnTo>
                <a:lnTo>
                  <a:pt x="54" y="344"/>
                </a:lnTo>
                <a:lnTo>
                  <a:pt x="53" y="343"/>
                </a:lnTo>
                <a:lnTo>
                  <a:pt x="53" y="342"/>
                </a:lnTo>
                <a:lnTo>
                  <a:pt x="53" y="340"/>
                </a:lnTo>
                <a:lnTo>
                  <a:pt x="52" y="338"/>
                </a:lnTo>
                <a:lnTo>
                  <a:pt x="52" y="337"/>
                </a:lnTo>
                <a:lnTo>
                  <a:pt x="52" y="336"/>
                </a:lnTo>
                <a:lnTo>
                  <a:pt x="52" y="335"/>
                </a:lnTo>
                <a:lnTo>
                  <a:pt x="51" y="334"/>
                </a:lnTo>
                <a:lnTo>
                  <a:pt x="50" y="333"/>
                </a:lnTo>
                <a:lnTo>
                  <a:pt x="50" y="332"/>
                </a:lnTo>
                <a:lnTo>
                  <a:pt x="48" y="328"/>
                </a:lnTo>
                <a:lnTo>
                  <a:pt x="47" y="327"/>
                </a:lnTo>
                <a:lnTo>
                  <a:pt x="46" y="324"/>
                </a:lnTo>
                <a:lnTo>
                  <a:pt x="46" y="323"/>
                </a:lnTo>
                <a:lnTo>
                  <a:pt x="45" y="321"/>
                </a:lnTo>
                <a:lnTo>
                  <a:pt x="45" y="320"/>
                </a:lnTo>
                <a:lnTo>
                  <a:pt x="45" y="317"/>
                </a:lnTo>
                <a:lnTo>
                  <a:pt x="45" y="315"/>
                </a:lnTo>
                <a:lnTo>
                  <a:pt x="45" y="313"/>
                </a:lnTo>
                <a:lnTo>
                  <a:pt x="44" y="311"/>
                </a:lnTo>
                <a:lnTo>
                  <a:pt x="43" y="309"/>
                </a:lnTo>
                <a:lnTo>
                  <a:pt x="41" y="305"/>
                </a:lnTo>
                <a:lnTo>
                  <a:pt x="39" y="302"/>
                </a:lnTo>
                <a:lnTo>
                  <a:pt x="39" y="301"/>
                </a:lnTo>
                <a:lnTo>
                  <a:pt x="38" y="300"/>
                </a:lnTo>
                <a:lnTo>
                  <a:pt x="38" y="300"/>
                </a:lnTo>
                <a:lnTo>
                  <a:pt x="38" y="299"/>
                </a:lnTo>
                <a:lnTo>
                  <a:pt x="37" y="299"/>
                </a:lnTo>
                <a:lnTo>
                  <a:pt x="35" y="299"/>
                </a:lnTo>
                <a:lnTo>
                  <a:pt x="34" y="299"/>
                </a:lnTo>
                <a:lnTo>
                  <a:pt x="33" y="299"/>
                </a:lnTo>
                <a:lnTo>
                  <a:pt x="32" y="299"/>
                </a:lnTo>
                <a:lnTo>
                  <a:pt x="32" y="300"/>
                </a:lnTo>
                <a:lnTo>
                  <a:pt x="31" y="300"/>
                </a:lnTo>
                <a:lnTo>
                  <a:pt x="31" y="301"/>
                </a:lnTo>
                <a:lnTo>
                  <a:pt x="31" y="302"/>
                </a:lnTo>
                <a:lnTo>
                  <a:pt x="31" y="303"/>
                </a:lnTo>
                <a:lnTo>
                  <a:pt x="31" y="305"/>
                </a:lnTo>
                <a:lnTo>
                  <a:pt x="33" y="315"/>
                </a:lnTo>
                <a:lnTo>
                  <a:pt x="34" y="316"/>
                </a:lnTo>
                <a:lnTo>
                  <a:pt x="34" y="317"/>
                </a:lnTo>
                <a:lnTo>
                  <a:pt x="34" y="319"/>
                </a:lnTo>
                <a:lnTo>
                  <a:pt x="34" y="320"/>
                </a:lnTo>
                <a:lnTo>
                  <a:pt x="33" y="321"/>
                </a:lnTo>
                <a:lnTo>
                  <a:pt x="33" y="321"/>
                </a:lnTo>
                <a:lnTo>
                  <a:pt x="33" y="322"/>
                </a:lnTo>
                <a:lnTo>
                  <a:pt x="32" y="323"/>
                </a:lnTo>
                <a:lnTo>
                  <a:pt x="30" y="324"/>
                </a:lnTo>
                <a:lnTo>
                  <a:pt x="30" y="325"/>
                </a:lnTo>
                <a:lnTo>
                  <a:pt x="29" y="326"/>
                </a:lnTo>
                <a:lnTo>
                  <a:pt x="28" y="326"/>
                </a:lnTo>
                <a:lnTo>
                  <a:pt x="27" y="326"/>
                </a:lnTo>
                <a:lnTo>
                  <a:pt x="27" y="326"/>
                </a:lnTo>
                <a:lnTo>
                  <a:pt x="26" y="326"/>
                </a:lnTo>
                <a:lnTo>
                  <a:pt x="25" y="326"/>
                </a:lnTo>
                <a:lnTo>
                  <a:pt x="24" y="325"/>
                </a:lnTo>
                <a:lnTo>
                  <a:pt x="24" y="325"/>
                </a:lnTo>
                <a:lnTo>
                  <a:pt x="23" y="325"/>
                </a:lnTo>
                <a:lnTo>
                  <a:pt x="23" y="326"/>
                </a:lnTo>
                <a:lnTo>
                  <a:pt x="22" y="326"/>
                </a:lnTo>
                <a:lnTo>
                  <a:pt x="21" y="327"/>
                </a:lnTo>
                <a:lnTo>
                  <a:pt x="20" y="327"/>
                </a:lnTo>
                <a:lnTo>
                  <a:pt x="18" y="329"/>
                </a:lnTo>
                <a:lnTo>
                  <a:pt x="17" y="329"/>
                </a:lnTo>
                <a:lnTo>
                  <a:pt x="16" y="330"/>
                </a:lnTo>
                <a:lnTo>
                  <a:pt x="16" y="330"/>
                </a:lnTo>
                <a:lnTo>
                  <a:pt x="15" y="331"/>
                </a:lnTo>
                <a:lnTo>
                  <a:pt x="15" y="332"/>
                </a:lnTo>
                <a:lnTo>
                  <a:pt x="14" y="334"/>
                </a:lnTo>
                <a:lnTo>
                  <a:pt x="13" y="335"/>
                </a:lnTo>
                <a:lnTo>
                  <a:pt x="13" y="336"/>
                </a:lnTo>
                <a:lnTo>
                  <a:pt x="12" y="336"/>
                </a:lnTo>
                <a:lnTo>
                  <a:pt x="9" y="340"/>
                </a:lnTo>
                <a:lnTo>
                  <a:pt x="8" y="340"/>
                </a:lnTo>
                <a:lnTo>
                  <a:pt x="7" y="341"/>
                </a:lnTo>
                <a:lnTo>
                  <a:pt x="6" y="344"/>
                </a:lnTo>
                <a:lnTo>
                  <a:pt x="5" y="346"/>
                </a:lnTo>
                <a:lnTo>
                  <a:pt x="4" y="346"/>
                </a:lnTo>
                <a:lnTo>
                  <a:pt x="4" y="346"/>
                </a:lnTo>
                <a:lnTo>
                  <a:pt x="3" y="346"/>
                </a:lnTo>
                <a:lnTo>
                  <a:pt x="3" y="347"/>
                </a:lnTo>
                <a:lnTo>
                  <a:pt x="2" y="347"/>
                </a:lnTo>
                <a:lnTo>
                  <a:pt x="2" y="346"/>
                </a:lnTo>
                <a:lnTo>
                  <a:pt x="1" y="346"/>
                </a:lnTo>
                <a:lnTo>
                  <a:pt x="0" y="345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0" name="Freeform 293">
            <a:extLst>
              <a:ext uri="{FF2B5EF4-FFF2-40B4-BE49-F238E27FC236}">
                <a16:creationId xmlns:a16="http://schemas.microsoft.com/office/drawing/2014/main" id="{0162E864-9FAE-47BE-9CB3-0153C4C77351}"/>
              </a:ext>
            </a:extLst>
          </p:cNvPr>
          <p:cNvSpPr>
            <a:spLocks/>
          </p:cNvSpPr>
          <p:nvPr/>
        </p:nvSpPr>
        <p:spPr bwMode="auto">
          <a:xfrm>
            <a:off x="10454359" y="3949210"/>
            <a:ext cx="421960" cy="717445"/>
          </a:xfrm>
          <a:custGeom>
            <a:avLst/>
            <a:gdLst>
              <a:gd name="T0" fmla="*/ 92 w 222"/>
              <a:gd name="T1" fmla="*/ 339 h 345"/>
              <a:gd name="T2" fmla="*/ 91 w 222"/>
              <a:gd name="T3" fmla="*/ 332 h 345"/>
              <a:gd name="T4" fmla="*/ 93 w 222"/>
              <a:gd name="T5" fmla="*/ 316 h 345"/>
              <a:gd name="T6" fmla="*/ 92 w 222"/>
              <a:gd name="T7" fmla="*/ 311 h 345"/>
              <a:gd name="T8" fmla="*/ 87 w 222"/>
              <a:gd name="T9" fmla="*/ 308 h 345"/>
              <a:gd name="T10" fmla="*/ 79 w 222"/>
              <a:gd name="T11" fmla="*/ 308 h 345"/>
              <a:gd name="T12" fmla="*/ 70 w 222"/>
              <a:gd name="T13" fmla="*/ 311 h 345"/>
              <a:gd name="T14" fmla="*/ 62 w 222"/>
              <a:gd name="T15" fmla="*/ 317 h 345"/>
              <a:gd name="T16" fmla="*/ 50 w 222"/>
              <a:gd name="T17" fmla="*/ 327 h 345"/>
              <a:gd name="T18" fmla="*/ 45 w 222"/>
              <a:gd name="T19" fmla="*/ 332 h 345"/>
              <a:gd name="T20" fmla="*/ 32 w 222"/>
              <a:gd name="T21" fmla="*/ 333 h 345"/>
              <a:gd name="T22" fmla="*/ 29 w 222"/>
              <a:gd name="T23" fmla="*/ 331 h 345"/>
              <a:gd name="T24" fmla="*/ 28 w 222"/>
              <a:gd name="T25" fmla="*/ 326 h 345"/>
              <a:gd name="T26" fmla="*/ 28 w 222"/>
              <a:gd name="T27" fmla="*/ 315 h 345"/>
              <a:gd name="T28" fmla="*/ 27 w 222"/>
              <a:gd name="T29" fmla="*/ 313 h 345"/>
              <a:gd name="T30" fmla="*/ 18 w 222"/>
              <a:gd name="T31" fmla="*/ 315 h 345"/>
              <a:gd name="T32" fmla="*/ 13 w 222"/>
              <a:gd name="T33" fmla="*/ 315 h 345"/>
              <a:gd name="T34" fmla="*/ 7 w 222"/>
              <a:gd name="T35" fmla="*/ 308 h 345"/>
              <a:gd name="T36" fmla="*/ 1 w 222"/>
              <a:gd name="T37" fmla="*/ 299 h 345"/>
              <a:gd name="T38" fmla="*/ 0 w 222"/>
              <a:gd name="T39" fmla="*/ 295 h 345"/>
              <a:gd name="T40" fmla="*/ 3 w 222"/>
              <a:gd name="T41" fmla="*/ 284 h 345"/>
              <a:gd name="T42" fmla="*/ 5 w 222"/>
              <a:gd name="T43" fmla="*/ 276 h 345"/>
              <a:gd name="T44" fmla="*/ 6 w 222"/>
              <a:gd name="T45" fmla="*/ 269 h 345"/>
              <a:gd name="T46" fmla="*/ 14 w 222"/>
              <a:gd name="T47" fmla="*/ 259 h 345"/>
              <a:gd name="T48" fmla="*/ 17 w 222"/>
              <a:gd name="T49" fmla="*/ 251 h 345"/>
              <a:gd name="T50" fmla="*/ 16 w 222"/>
              <a:gd name="T51" fmla="*/ 246 h 345"/>
              <a:gd name="T52" fmla="*/ 13 w 222"/>
              <a:gd name="T53" fmla="*/ 241 h 345"/>
              <a:gd name="T54" fmla="*/ 4 w 222"/>
              <a:gd name="T55" fmla="*/ 230 h 345"/>
              <a:gd name="T56" fmla="*/ 3 w 222"/>
              <a:gd name="T57" fmla="*/ 226 h 345"/>
              <a:gd name="T58" fmla="*/ 6 w 222"/>
              <a:gd name="T59" fmla="*/ 211 h 345"/>
              <a:gd name="T60" fmla="*/ 11 w 222"/>
              <a:gd name="T61" fmla="*/ 201 h 345"/>
              <a:gd name="T62" fmla="*/ 24 w 222"/>
              <a:gd name="T63" fmla="*/ 185 h 345"/>
              <a:gd name="T64" fmla="*/ 28 w 222"/>
              <a:gd name="T65" fmla="*/ 176 h 345"/>
              <a:gd name="T66" fmla="*/ 28 w 222"/>
              <a:gd name="T67" fmla="*/ 162 h 345"/>
              <a:gd name="T68" fmla="*/ 29 w 222"/>
              <a:gd name="T69" fmla="*/ 148 h 345"/>
              <a:gd name="T70" fmla="*/ 33 w 222"/>
              <a:gd name="T71" fmla="*/ 137 h 345"/>
              <a:gd name="T72" fmla="*/ 35 w 222"/>
              <a:gd name="T73" fmla="*/ 125 h 345"/>
              <a:gd name="T74" fmla="*/ 48 w 222"/>
              <a:gd name="T75" fmla="*/ 107 h 345"/>
              <a:gd name="T76" fmla="*/ 56 w 222"/>
              <a:gd name="T77" fmla="*/ 100 h 345"/>
              <a:gd name="T78" fmla="*/ 65 w 222"/>
              <a:gd name="T79" fmla="*/ 93 h 345"/>
              <a:gd name="T80" fmla="*/ 74 w 222"/>
              <a:gd name="T81" fmla="*/ 88 h 345"/>
              <a:gd name="T82" fmla="*/ 86 w 222"/>
              <a:gd name="T83" fmla="*/ 76 h 345"/>
              <a:gd name="T84" fmla="*/ 91 w 222"/>
              <a:gd name="T85" fmla="*/ 74 h 345"/>
              <a:gd name="T86" fmla="*/ 100 w 222"/>
              <a:gd name="T87" fmla="*/ 75 h 345"/>
              <a:gd name="T88" fmla="*/ 105 w 222"/>
              <a:gd name="T89" fmla="*/ 74 h 345"/>
              <a:gd name="T90" fmla="*/ 107 w 222"/>
              <a:gd name="T91" fmla="*/ 69 h 345"/>
              <a:gd name="T92" fmla="*/ 109 w 222"/>
              <a:gd name="T93" fmla="*/ 48 h 345"/>
              <a:gd name="T94" fmla="*/ 114 w 222"/>
              <a:gd name="T95" fmla="*/ 46 h 345"/>
              <a:gd name="T96" fmla="*/ 124 w 222"/>
              <a:gd name="T97" fmla="*/ 38 h 345"/>
              <a:gd name="T98" fmla="*/ 137 w 222"/>
              <a:gd name="T99" fmla="*/ 34 h 345"/>
              <a:gd name="T100" fmla="*/ 156 w 222"/>
              <a:gd name="T101" fmla="*/ 34 h 345"/>
              <a:gd name="T102" fmla="*/ 166 w 222"/>
              <a:gd name="T103" fmla="*/ 33 h 345"/>
              <a:gd name="T104" fmla="*/ 176 w 222"/>
              <a:gd name="T105" fmla="*/ 32 h 345"/>
              <a:gd name="T106" fmla="*/ 185 w 222"/>
              <a:gd name="T107" fmla="*/ 34 h 345"/>
              <a:gd name="T108" fmla="*/ 195 w 222"/>
              <a:gd name="T109" fmla="*/ 32 h 345"/>
              <a:gd name="T110" fmla="*/ 206 w 222"/>
              <a:gd name="T111" fmla="*/ 23 h 345"/>
              <a:gd name="T112" fmla="*/ 214 w 222"/>
              <a:gd name="T113" fmla="*/ 14 h 345"/>
              <a:gd name="T114" fmla="*/ 218 w 222"/>
              <a:gd name="T115" fmla="*/ 2 h 345"/>
              <a:gd name="T116" fmla="*/ 221 w 222"/>
              <a:gd name="T117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22" h="345">
                <a:moveTo>
                  <a:pt x="96" y="345"/>
                </a:moveTo>
                <a:lnTo>
                  <a:pt x="95" y="344"/>
                </a:lnTo>
                <a:lnTo>
                  <a:pt x="94" y="343"/>
                </a:lnTo>
                <a:lnTo>
                  <a:pt x="93" y="341"/>
                </a:lnTo>
                <a:lnTo>
                  <a:pt x="92" y="339"/>
                </a:lnTo>
                <a:lnTo>
                  <a:pt x="91" y="338"/>
                </a:lnTo>
                <a:lnTo>
                  <a:pt x="91" y="336"/>
                </a:lnTo>
                <a:lnTo>
                  <a:pt x="91" y="335"/>
                </a:lnTo>
                <a:lnTo>
                  <a:pt x="91" y="334"/>
                </a:lnTo>
                <a:lnTo>
                  <a:pt x="91" y="332"/>
                </a:lnTo>
                <a:lnTo>
                  <a:pt x="91" y="329"/>
                </a:lnTo>
                <a:lnTo>
                  <a:pt x="92" y="323"/>
                </a:lnTo>
                <a:lnTo>
                  <a:pt x="93" y="320"/>
                </a:lnTo>
                <a:lnTo>
                  <a:pt x="93" y="317"/>
                </a:lnTo>
                <a:lnTo>
                  <a:pt x="93" y="316"/>
                </a:lnTo>
                <a:lnTo>
                  <a:pt x="93" y="316"/>
                </a:lnTo>
                <a:lnTo>
                  <a:pt x="93" y="315"/>
                </a:lnTo>
                <a:lnTo>
                  <a:pt x="93" y="313"/>
                </a:lnTo>
                <a:lnTo>
                  <a:pt x="92" y="312"/>
                </a:lnTo>
                <a:lnTo>
                  <a:pt x="92" y="311"/>
                </a:lnTo>
                <a:lnTo>
                  <a:pt x="91" y="310"/>
                </a:lnTo>
                <a:lnTo>
                  <a:pt x="90" y="310"/>
                </a:lnTo>
                <a:lnTo>
                  <a:pt x="89" y="309"/>
                </a:lnTo>
                <a:lnTo>
                  <a:pt x="88" y="308"/>
                </a:lnTo>
                <a:lnTo>
                  <a:pt x="87" y="308"/>
                </a:lnTo>
                <a:lnTo>
                  <a:pt x="86" y="308"/>
                </a:lnTo>
                <a:lnTo>
                  <a:pt x="85" y="307"/>
                </a:lnTo>
                <a:lnTo>
                  <a:pt x="84" y="307"/>
                </a:lnTo>
                <a:lnTo>
                  <a:pt x="82" y="308"/>
                </a:lnTo>
                <a:lnTo>
                  <a:pt x="79" y="308"/>
                </a:lnTo>
                <a:lnTo>
                  <a:pt x="77" y="308"/>
                </a:lnTo>
                <a:lnTo>
                  <a:pt x="76" y="309"/>
                </a:lnTo>
                <a:lnTo>
                  <a:pt x="75" y="309"/>
                </a:lnTo>
                <a:lnTo>
                  <a:pt x="73" y="310"/>
                </a:lnTo>
                <a:lnTo>
                  <a:pt x="70" y="311"/>
                </a:lnTo>
                <a:lnTo>
                  <a:pt x="69" y="312"/>
                </a:lnTo>
                <a:lnTo>
                  <a:pt x="68" y="312"/>
                </a:lnTo>
                <a:lnTo>
                  <a:pt x="67" y="313"/>
                </a:lnTo>
                <a:lnTo>
                  <a:pt x="64" y="315"/>
                </a:lnTo>
                <a:lnTo>
                  <a:pt x="62" y="317"/>
                </a:lnTo>
                <a:lnTo>
                  <a:pt x="58" y="320"/>
                </a:lnTo>
                <a:lnTo>
                  <a:pt x="53" y="323"/>
                </a:lnTo>
                <a:lnTo>
                  <a:pt x="52" y="325"/>
                </a:lnTo>
                <a:lnTo>
                  <a:pt x="51" y="326"/>
                </a:lnTo>
                <a:lnTo>
                  <a:pt x="50" y="327"/>
                </a:lnTo>
                <a:lnTo>
                  <a:pt x="49" y="328"/>
                </a:lnTo>
                <a:lnTo>
                  <a:pt x="47" y="330"/>
                </a:lnTo>
                <a:lnTo>
                  <a:pt x="47" y="331"/>
                </a:lnTo>
                <a:lnTo>
                  <a:pt x="46" y="332"/>
                </a:lnTo>
                <a:lnTo>
                  <a:pt x="45" y="332"/>
                </a:lnTo>
                <a:lnTo>
                  <a:pt x="44" y="332"/>
                </a:lnTo>
                <a:lnTo>
                  <a:pt x="43" y="332"/>
                </a:lnTo>
                <a:lnTo>
                  <a:pt x="38" y="332"/>
                </a:lnTo>
                <a:lnTo>
                  <a:pt x="33" y="333"/>
                </a:lnTo>
                <a:lnTo>
                  <a:pt x="32" y="333"/>
                </a:lnTo>
                <a:lnTo>
                  <a:pt x="31" y="332"/>
                </a:lnTo>
                <a:lnTo>
                  <a:pt x="30" y="332"/>
                </a:lnTo>
                <a:lnTo>
                  <a:pt x="30" y="332"/>
                </a:lnTo>
                <a:lnTo>
                  <a:pt x="29" y="332"/>
                </a:lnTo>
                <a:lnTo>
                  <a:pt x="29" y="331"/>
                </a:lnTo>
                <a:lnTo>
                  <a:pt x="28" y="330"/>
                </a:lnTo>
                <a:lnTo>
                  <a:pt x="28" y="329"/>
                </a:lnTo>
                <a:lnTo>
                  <a:pt x="28" y="329"/>
                </a:lnTo>
                <a:lnTo>
                  <a:pt x="27" y="327"/>
                </a:lnTo>
                <a:lnTo>
                  <a:pt x="28" y="326"/>
                </a:lnTo>
                <a:lnTo>
                  <a:pt x="28" y="324"/>
                </a:lnTo>
                <a:lnTo>
                  <a:pt x="28" y="320"/>
                </a:lnTo>
                <a:lnTo>
                  <a:pt x="29" y="317"/>
                </a:lnTo>
                <a:lnTo>
                  <a:pt x="29" y="316"/>
                </a:lnTo>
                <a:lnTo>
                  <a:pt x="28" y="315"/>
                </a:lnTo>
                <a:lnTo>
                  <a:pt x="28" y="314"/>
                </a:lnTo>
                <a:lnTo>
                  <a:pt x="28" y="314"/>
                </a:lnTo>
                <a:lnTo>
                  <a:pt x="28" y="313"/>
                </a:lnTo>
                <a:lnTo>
                  <a:pt x="27" y="313"/>
                </a:lnTo>
                <a:lnTo>
                  <a:pt x="27" y="313"/>
                </a:lnTo>
                <a:lnTo>
                  <a:pt x="26" y="313"/>
                </a:lnTo>
                <a:lnTo>
                  <a:pt x="25" y="314"/>
                </a:lnTo>
                <a:lnTo>
                  <a:pt x="23" y="314"/>
                </a:lnTo>
                <a:lnTo>
                  <a:pt x="22" y="315"/>
                </a:lnTo>
                <a:lnTo>
                  <a:pt x="18" y="315"/>
                </a:lnTo>
                <a:lnTo>
                  <a:pt x="17" y="315"/>
                </a:lnTo>
                <a:lnTo>
                  <a:pt x="16" y="315"/>
                </a:lnTo>
                <a:lnTo>
                  <a:pt x="15" y="315"/>
                </a:lnTo>
                <a:lnTo>
                  <a:pt x="14" y="315"/>
                </a:lnTo>
                <a:lnTo>
                  <a:pt x="13" y="315"/>
                </a:lnTo>
                <a:lnTo>
                  <a:pt x="12" y="314"/>
                </a:lnTo>
                <a:lnTo>
                  <a:pt x="12" y="314"/>
                </a:lnTo>
                <a:lnTo>
                  <a:pt x="10" y="312"/>
                </a:lnTo>
                <a:lnTo>
                  <a:pt x="9" y="311"/>
                </a:lnTo>
                <a:lnTo>
                  <a:pt x="7" y="308"/>
                </a:lnTo>
                <a:lnTo>
                  <a:pt x="4" y="305"/>
                </a:lnTo>
                <a:lnTo>
                  <a:pt x="4" y="304"/>
                </a:lnTo>
                <a:lnTo>
                  <a:pt x="3" y="303"/>
                </a:lnTo>
                <a:lnTo>
                  <a:pt x="2" y="301"/>
                </a:lnTo>
                <a:lnTo>
                  <a:pt x="1" y="299"/>
                </a:lnTo>
                <a:lnTo>
                  <a:pt x="0" y="298"/>
                </a:lnTo>
                <a:lnTo>
                  <a:pt x="0" y="297"/>
                </a:lnTo>
                <a:lnTo>
                  <a:pt x="0" y="296"/>
                </a:lnTo>
                <a:lnTo>
                  <a:pt x="0" y="295"/>
                </a:lnTo>
                <a:lnTo>
                  <a:pt x="0" y="295"/>
                </a:lnTo>
                <a:lnTo>
                  <a:pt x="0" y="293"/>
                </a:lnTo>
                <a:lnTo>
                  <a:pt x="0" y="292"/>
                </a:lnTo>
                <a:lnTo>
                  <a:pt x="0" y="291"/>
                </a:lnTo>
                <a:lnTo>
                  <a:pt x="1" y="289"/>
                </a:lnTo>
                <a:lnTo>
                  <a:pt x="3" y="284"/>
                </a:lnTo>
                <a:lnTo>
                  <a:pt x="4" y="282"/>
                </a:lnTo>
                <a:lnTo>
                  <a:pt x="5" y="280"/>
                </a:lnTo>
                <a:lnTo>
                  <a:pt x="5" y="279"/>
                </a:lnTo>
                <a:lnTo>
                  <a:pt x="5" y="277"/>
                </a:lnTo>
                <a:lnTo>
                  <a:pt x="5" y="276"/>
                </a:lnTo>
                <a:lnTo>
                  <a:pt x="5" y="274"/>
                </a:lnTo>
                <a:lnTo>
                  <a:pt x="5" y="273"/>
                </a:lnTo>
                <a:lnTo>
                  <a:pt x="5" y="271"/>
                </a:lnTo>
                <a:lnTo>
                  <a:pt x="6" y="270"/>
                </a:lnTo>
                <a:lnTo>
                  <a:pt x="6" y="269"/>
                </a:lnTo>
                <a:lnTo>
                  <a:pt x="6" y="268"/>
                </a:lnTo>
                <a:lnTo>
                  <a:pt x="8" y="266"/>
                </a:lnTo>
                <a:lnTo>
                  <a:pt x="10" y="264"/>
                </a:lnTo>
                <a:lnTo>
                  <a:pt x="13" y="260"/>
                </a:lnTo>
                <a:lnTo>
                  <a:pt x="14" y="259"/>
                </a:lnTo>
                <a:lnTo>
                  <a:pt x="15" y="257"/>
                </a:lnTo>
                <a:lnTo>
                  <a:pt x="16" y="255"/>
                </a:lnTo>
                <a:lnTo>
                  <a:pt x="16" y="254"/>
                </a:lnTo>
                <a:lnTo>
                  <a:pt x="17" y="252"/>
                </a:lnTo>
                <a:lnTo>
                  <a:pt x="17" y="251"/>
                </a:lnTo>
                <a:lnTo>
                  <a:pt x="17" y="250"/>
                </a:lnTo>
                <a:lnTo>
                  <a:pt x="17" y="249"/>
                </a:lnTo>
                <a:lnTo>
                  <a:pt x="17" y="248"/>
                </a:lnTo>
                <a:lnTo>
                  <a:pt x="16" y="247"/>
                </a:lnTo>
                <a:lnTo>
                  <a:pt x="16" y="246"/>
                </a:lnTo>
                <a:lnTo>
                  <a:pt x="16" y="245"/>
                </a:lnTo>
                <a:lnTo>
                  <a:pt x="15" y="244"/>
                </a:lnTo>
                <a:lnTo>
                  <a:pt x="15" y="244"/>
                </a:lnTo>
                <a:lnTo>
                  <a:pt x="14" y="242"/>
                </a:lnTo>
                <a:lnTo>
                  <a:pt x="13" y="241"/>
                </a:lnTo>
                <a:lnTo>
                  <a:pt x="7" y="235"/>
                </a:lnTo>
                <a:lnTo>
                  <a:pt x="6" y="233"/>
                </a:lnTo>
                <a:lnTo>
                  <a:pt x="5" y="232"/>
                </a:lnTo>
                <a:lnTo>
                  <a:pt x="4" y="231"/>
                </a:lnTo>
                <a:lnTo>
                  <a:pt x="4" y="230"/>
                </a:lnTo>
                <a:lnTo>
                  <a:pt x="4" y="230"/>
                </a:lnTo>
                <a:lnTo>
                  <a:pt x="4" y="229"/>
                </a:lnTo>
                <a:lnTo>
                  <a:pt x="3" y="228"/>
                </a:lnTo>
                <a:lnTo>
                  <a:pt x="3" y="227"/>
                </a:lnTo>
                <a:lnTo>
                  <a:pt x="3" y="226"/>
                </a:lnTo>
                <a:lnTo>
                  <a:pt x="4" y="221"/>
                </a:lnTo>
                <a:lnTo>
                  <a:pt x="5" y="216"/>
                </a:lnTo>
                <a:lnTo>
                  <a:pt x="5" y="214"/>
                </a:lnTo>
                <a:lnTo>
                  <a:pt x="5" y="213"/>
                </a:lnTo>
                <a:lnTo>
                  <a:pt x="6" y="211"/>
                </a:lnTo>
                <a:lnTo>
                  <a:pt x="6" y="210"/>
                </a:lnTo>
                <a:lnTo>
                  <a:pt x="7" y="209"/>
                </a:lnTo>
                <a:lnTo>
                  <a:pt x="8" y="205"/>
                </a:lnTo>
                <a:lnTo>
                  <a:pt x="9" y="203"/>
                </a:lnTo>
                <a:lnTo>
                  <a:pt x="11" y="201"/>
                </a:lnTo>
                <a:lnTo>
                  <a:pt x="12" y="199"/>
                </a:lnTo>
                <a:lnTo>
                  <a:pt x="14" y="196"/>
                </a:lnTo>
                <a:lnTo>
                  <a:pt x="22" y="187"/>
                </a:lnTo>
                <a:lnTo>
                  <a:pt x="23" y="186"/>
                </a:lnTo>
                <a:lnTo>
                  <a:pt x="24" y="185"/>
                </a:lnTo>
                <a:lnTo>
                  <a:pt x="25" y="183"/>
                </a:lnTo>
                <a:lnTo>
                  <a:pt x="26" y="181"/>
                </a:lnTo>
                <a:lnTo>
                  <a:pt x="26" y="180"/>
                </a:lnTo>
                <a:lnTo>
                  <a:pt x="27" y="178"/>
                </a:lnTo>
                <a:lnTo>
                  <a:pt x="28" y="176"/>
                </a:lnTo>
                <a:lnTo>
                  <a:pt x="28" y="175"/>
                </a:lnTo>
                <a:lnTo>
                  <a:pt x="28" y="173"/>
                </a:lnTo>
                <a:lnTo>
                  <a:pt x="28" y="171"/>
                </a:lnTo>
                <a:lnTo>
                  <a:pt x="28" y="168"/>
                </a:lnTo>
                <a:lnTo>
                  <a:pt x="28" y="162"/>
                </a:lnTo>
                <a:lnTo>
                  <a:pt x="28" y="155"/>
                </a:lnTo>
                <a:lnTo>
                  <a:pt x="28" y="153"/>
                </a:lnTo>
                <a:lnTo>
                  <a:pt x="28" y="151"/>
                </a:lnTo>
                <a:lnTo>
                  <a:pt x="28" y="149"/>
                </a:lnTo>
                <a:lnTo>
                  <a:pt x="29" y="148"/>
                </a:lnTo>
                <a:lnTo>
                  <a:pt x="29" y="146"/>
                </a:lnTo>
                <a:lnTo>
                  <a:pt x="31" y="141"/>
                </a:lnTo>
                <a:lnTo>
                  <a:pt x="32" y="139"/>
                </a:lnTo>
                <a:lnTo>
                  <a:pt x="32" y="138"/>
                </a:lnTo>
                <a:lnTo>
                  <a:pt x="33" y="137"/>
                </a:lnTo>
                <a:lnTo>
                  <a:pt x="33" y="135"/>
                </a:lnTo>
                <a:lnTo>
                  <a:pt x="33" y="131"/>
                </a:lnTo>
                <a:lnTo>
                  <a:pt x="34" y="128"/>
                </a:lnTo>
                <a:lnTo>
                  <a:pt x="34" y="126"/>
                </a:lnTo>
                <a:lnTo>
                  <a:pt x="35" y="125"/>
                </a:lnTo>
                <a:lnTo>
                  <a:pt x="35" y="124"/>
                </a:lnTo>
                <a:lnTo>
                  <a:pt x="36" y="122"/>
                </a:lnTo>
                <a:lnTo>
                  <a:pt x="38" y="119"/>
                </a:lnTo>
                <a:lnTo>
                  <a:pt x="45" y="111"/>
                </a:lnTo>
                <a:lnTo>
                  <a:pt x="48" y="107"/>
                </a:lnTo>
                <a:lnTo>
                  <a:pt x="50" y="105"/>
                </a:lnTo>
                <a:lnTo>
                  <a:pt x="51" y="104"/>
                </a:lnTo>
                <a:lnTo>
                  <a:pt x="54" y="102"/>
                </a:lnTo>
                <a:lnTo>
                  <a:pt x="55" y="101"/>
                </a:lnTo>
                <a:lnTo>
                  <a:pt x="56" y="100"/>
                </a:lnTo>
                <a:lnTo>
                  <a:pt x="60" y="97"/>
                </a:lnTo>
                <a:lnTo>
                  <a:pt x="61" y="96"/>
                </a:lnTo>
                <a:lnTo>
                  <a:pt x="62" y="95"/>
                </a:lnTo>
                <a:lnTo>
                  <a:pt x="63" y="94"/>
                </a:lnTo>
                <a:lnTo>
                  <a:pt x="65" y="93"/>
                </a:lnTo>
                <a:lnTo>
                  <a:pt x="66" y="92"/>
                </a:lnTo>
                <a:lnTo>
                  <a:pt x="69" y="91"/>
                </a:lnTo>
                <a:lnTo>
                  <a:pt x="71" y="91"/>
                </a:lnTo>
                <a:lnTo>
                  <a:pt x="72" y="90"/>
                </a:lnTo>
                <a:lnTo>
                  <a:pt x="74" y="88"/>
                </a:lnTo>
                <a:lnTo>
                  <a:pt x="75" y="87"/>
                </a:lnTo>
                <a:lnTo>
                  <a:pt x="77" y="86"/>
                </a:lnTo>
                <a:lnTo>
                  <a:pt x="81" y="81"/>
                </a:lnTo>
                <a:lnTo>
                  <a:pt x="84" y="78"/>
                </a:lnTo>
                <a:lnTo>
                  <a:pt x="86" y="76"/>
                </a:lnTo>
                <a:lnTo>
                  <a:pt x="87" y="75"/>
                </a:lnTo>
                <a:lnTo>
                  <a:pt x="88" y="75"/>
                </a:lnTo>
                <a:lnTo>
                  <a:pt x="89" y="74"/>
                </a:lnTo>
                <a:lnTo>
                  <a:pt x="90" y="74"/>
                </a:lnTo>
                <a:lnTo>
                  <a:pt x="91" y="74"/>
                </a:lnTo>
                <a:lnTo>
                  <a:pt x="93" y="74"/>
                </a:lnTo>
                <a:lnTo>
                  <a:pt x="95" y="75"/>
                </a:lnTo>
                <a:lnTo>
                  <a:pt x="97" y="75"/>
                </a:lnTo>
                <a:lnTo>
                  <a:pt x="99" y="75"/>
                </a:lnTo>
                <a:lnTo>
                  <a:pt x="100" y="75"/>
                </a:lnTo>
                <a:lnTo>
                  <a:pt x="101" y="75"/>
                </a:lnTo>
                <a:lnTo>
                  <a:pt x="102" y="75"/>
                </a:lnTo>
                <a:lnTo>
                  <a:pt x="103" y="75"/>
                </a:lnTo>
                <a:lnTo>
                  <a:pt x="104" y="74"/>
                </a:lnTo>
                <a:lnTo>
                  <a:pt x="105" y="74"/>
                </a:lnTo>
                <a:lnTo>
                  <a:pt x="105" y="73"/>
                </a:lnTo>
                <a:lnTo>
                  <a:pt x="106" y="73"/>
                </a:lnTo>
                <a:lnTo>
                  <a:pt x="106" y="71"/>
                </a:lnTo>
                <a:lnTo>
                  <a:pt x="107" y="70"/>
                </a:lnTo>
                <a:lnTo>
                  <a:pt x="107" y="69"/>
                </a:lnTo>
                <a:lnTo>
                  <a:pt x="108" y="66"/>
                </a:lnTo>
                <a:lnTo>
                  <a:pt x="108" y="63"/>
                </a:lnTo>
                <a:lnTo>
                  <a:pt x="108" y="60"/>
                </a:lnTo>
                <a:lnTo>
                  <a:pt x="109" y="48"/>
                </a:lnTo>
                <a:lnTo>
                  <a:pt x="109" y="48"/>
                </a:lnTo>
                <a:lnTo>
                  <a:pt x="110" y="48"/>
                </a:lnTo>
                <a:lnTo>
                  <a:pt x="110" y="48"/>
                </a:lnTo>
                <a:lnTo>
                  <a:pt x="111" y="47"/>
                </a:lnTo>
                <a:lnTo>
                  <a:pt x="112" y="47"/>
                </a:lnTo>
                <a:lnTo>
                  <a:pt x="114" y="46"/>
                </a:lnTo>
                <a:lnTo>
                  <a:pt x="115" y="45"/>
                </a:lnTo>
                <a:lnTo>
                  <a:pt x="118" y="42"/>
                </a:lnTo>
                <a:lnTo>
                  <a:pt x="120" y="40"/>
                </a:lnTo>
                <a:lnTo>
                  <a:pt x="122" y="39"/>
                </a:lnTo>
                <a:lnTo>
                  <a:pt x="124" y="38"/>
                </a:lnTo>
                <a:lnTo>
                  <a:pt x="127" y="37"/>
                </a:lnTo>
                <a:lnTo>
                  <a:pt x="130" y="36"/>
                </a:lnTo>
                <a:lnTo>
                  <a:pt x="133" y="35"/>
                </a:lnTo>
                <a:lnTo>
                  <a:pt x="135" y="34"/>
                </a:lnTo>
                <a:lnTo>
                  <a:pt x="137" y="34"/>
                </a:lnTo>
                <a:lnTo>
                  <a:pt x="139" y="34"/>
                </a:lnTo>
                <a:lnTo>
                  <a:pt x="142" y="34"/>
                </a:lnTo>
                <a:lnTo>
                  <a:pt x="144" y="34"/>
                </a:lnTo>
                <a:lnTo>
                  <a:pt x="148" y="34"/>
                </a:lnTo>
                <a:lnTo>
                  <a:pt x="156" y="34"/>
                </a:lnTo>
                <a:lnTo>
                  <a:pt x="158" y="34"/>
                </a:lnTo>
                <a:lnTo>
                  <a:pt x="160" y="34"/>
                </a:lnTo>
                <a:lnTo>
                  <a:pt x="162" y="34"/>
                </a:lnTo>
                <a:lnTo>
                  <a:pt x="164" y="33"/>
                </a:lnTo>
                <a:lnTo>
                  <a:pt x="166" y="33"/>
                </a:lnTo>
                <a:lnTo>
                  <a:pt x="170" y="32"/>
                </a:lnTo>
                <a:lnTo>
                  <a:pt x="172" y="32"/>
                </a:lnTo>
                <a:lnTo>
                  <a:pt x="173" y="31"/>
                </a:lnTo>
                <a:lnTo>
                  <a:pt x="175" y="32"/>
                </a:lnTo>
                <a:lnTo>
                  <a:pt x="176" y="32"/>
                </a:lnTo>
                <a:lnTo>
                  <a:pt x="178" y="32"/>
                </a:lnTo>
                <a:lnTo>
                  <a:pt x="181" y="33"/>
                </a:lnTo>
                <a:lnTo>
                  <a:pt x="182" y="34"/>
                </a:lnTo>
                <a:lnTo>
                  <a:pt x="183" y="34"/>
                </a:lnTo>
                <a:lnTo>
                  <a:pt x="185" y="34"/>
                </a:lnTo>
                <a:lnTo>
                  <a:pt x="186" y="34"/>
                </a:lnTo>
                <a:lnTo>
                  <a:pt x="188" y="34"/>
                </a:lnTo>
                <a:lnTo>
                  <a:pt x="190" y="34"/>
                </a:lnTo>
                <a:lnTo>
                  <a:pt x="192" y="33"/>
                </a:lnTo>
                <a:lnTo>
                  <a:pt x="195" y="32"/>
                </a:lnTo>
                <a:lnTo>
                  <a:pt x="197" y="30"/>
                </a:lnTo>
                <a:lnTo>
                  <a:pt x="199" y="29"/>
                </a:lnTo>
                <a:lnTo>
                  <a:pt x="201" y="28"/>
                </a:lnTo>
                <a:lnTo>
                  <a:pt x="203" y="26"/>
                </a:lnTo>
                <a:lnTo>
                  <a:pt x="206" y="23"/>
                </a:lnTo>
                <a:lnTo>
                  <a:pt x="208" y="21"/>
                </a:lnTo>
                <a:lnTo>
                  <a:pt x="210" y="19"/>
                </a:lnTo>
                <a:lnTo>
                  <a:pt x="212" y="17"/>
                </a:lnTo>
                <a:lnTo>
                  <a:pt x="213" y="15"/>
                </a:lnTo>
                <a:lnTo>
                  <a:pt x="214" y="14"/>
                </a:lnTo>
                <a:lnTo>
                  <a:pt x="214" y="12"/>
                </a:lnTo>
                <a:lnTo>
                  <a:pt x="215" y="11"/>
                </a:lnTo>
                <a:lnTo>
                  <a:pt x="215" y="10"/>
                </a:lnTo>
                <a:lnTo>
                  <a:pt x="217" y="3"/>
                </a:lnTo>
                <a:lnTo>
                  <a:pt x="218" y="2"/>
                </a:lnTo>
                <a:lnTo>
                  <a:pt x="218" y="1"/>
                </a:lnTo>
                <a:lnTo>
                  <a:pt x="219" y="1"/>
                </a:lnTo>
                <a:lnTo>
                  <a:pt x="219" y="0"/>
                </a:lnTo>
                <a:lnTo>
                  <a:pt x="220" y="0"/>
                </a:lnTo>
                <a:lnTo>
                  <a:pt x="221" y="0"/>
                </a:lnTo>
                <a:lnTo>
                  <a:pt x="222" y="0"/>
                </a:lnTo>
              </a:path>
            </a:pathLst>
          </a:custGeom>
          <a:noFill/>
          <a:ln w="26988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ctangle 294">
            <a:extLst>
              <a:ext uri="{FF2B5EF4-FFF2-40B4-BE49-F238E27FC236}">
                <a16:creationId xmlns:a16="http://schemas.microsoft.com/office/drawing/2014/main" id="{C28D643E-EE62-4E3C-8116-CD34AA13B1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743" y="4658674"/>
            <a:ext cx="3342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C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2" name="Rectangle 295">
            <a:extLst>
              <a:ext uri="{FF2B5EF4-FFF2-40B4-BE49-F238E27FC236}">
                <a16:creationId xmlns:a16="http://schemas.microsoft.com/office/drawing/2014/main" id="{D32E63CA-123B-424D-8D10-1741A98CE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1844" y="5609045"/>
            <a:ext cx="326653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HC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3" name="Rectangle 296">
            <a:extLst>
              <a:ext uri="{FF2B5EF4-FFF2-40B4-BE49-F238E27FC236}">
                <a16:creationId xmlns:a16="http://schemas.microsoft.com/office/drawing/2014/main" id="{BA08BA65-FA7B-4BE3-B75B-C40EBD1781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1615" y="4929613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4" name="Rectangle 297">
            <a:extLst>
              <a:ext uri="{FF2B5EF4-FFF2-40B4-BE49-F238E27FC236}">
                <a16:creationId xmlns:a16="http://schemas.microsoft.com/office/drawing/2014/main" id="{879AE9DB-9E6F-465B-81C7-754B6797D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7548" y="5586119"/>
            <a:ext cx="324960" cy="19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M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5" name="Rectangle 298">
            <a:extLst>
              <a:ext uri="{FF2B5EF4-FFF2-40B4-BE49-F238E27FC236}">
                <a16:creationId xmlns:a16="http://schemas.microsoft.com/office/drawing/2014/main" id="{943662ED-FDBA-4F9B-8CA5-9CA452771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5453" y="5146365"/>
            <a:ext cx="33045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YS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" name="Rectangle 299">
            <a:extLst>
              <a:ext uri="{FF2B5EF4-FFF2-40B4-BE49-F238E27FC236}">
                <a16:creationId xmlns:a16="http://schemas.microsoft.com/office/drawing/2014/main" id="{1CAD1657-3C71-431E-8EEB-C76D9638C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5071" y="5367284"/>
            <a:ext cx="226000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7" name="Rectangle 300">
            <a:extLst>
              <a:ext uri="{FF2B5EF4-FFF2-40B4-BE49-F238E27FC236}">
                <a16:creationId xmlns:a16="http://schemas.microsoft.com/office/drawing/2014/main" id="{40D68B8A-61C7-45E5-88C6-8D5059947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184" y="3674956"/>
            <a:ext cx="239292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8" name="Rectangle 301">
            <a:extLst>
              <a:ext uri="{FF2B5EF4-FFF2-40B4-BE49-F238E27FC236}">
                <a16:creationId xmlns:a16="http://schemas.microsoft.com/office/drawing/2014/main" id="{A7934045-FC72-49D0-848D-9FFC3A977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06262" y="4539877"/>
            <a:ext cx="353241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SK</a:t>
            </a:r>
            <a:endParaRPr kumimoji="0" lang="cs-CZ" alt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9" name="Rectangle 302">
            <a:extLst>
              <a:ext uri="{FF2B5EF4-FFF2-40B4-BE49-F238E27FC236}">
                <a16:creationId xmlns:a16="http://schemas.microsoft.com/office/drawing/2014/main" id="{62583F7F-B66A-4E21-8F46-70740F68CC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3225" y="4917108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L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0" name="Rectangle 303">
            <a:extLst>
              <a:ext uri="{FF2B5EF4-FFF2-40B4-BE49-F238E27FC236}">
                <a16:creationId xmlns:a16="http://schemas.microsoft.com/office/drawing/2014/main" id="{9B850361-0A99-41C5-9F6A-992542928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2256" y="447318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1" name="Rectangle 304">
            <a:extLst>
              <a:ext uri="{FF2B5EF4-FFF2-40B4-BE49-F238E27FC236}">
                <a16:creationId xmlns:a16="http://schemas.microsoft.com/office/drawing/2014/main" id="{2729B6C3-6722-4756-80EF-C4E3381A0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0524" y="3847923"/>
            <a:ext cx="252588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K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" name="Rectangle 305">
            <a:extLst>
              <a:ext uri="{FF2B5EF4-FFF2-40B4-BE49-F238E27FC236}">
                <a16:creationId xmlns:a16="http://schemas.microsoft.com/office/drawing/2014/main" id="{5529669F-886B-4D6A-ABB4-DC5297C0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614" y="3373340"/>
            <a:ext cx="233595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B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3" name="Rectangle 306">
            <a:extLst>
              <a:ext uri="{FF2B5EF4-FFF2-40B4-BE49-F238E27FC236}">
                <a16:creationId xmlns:a16="http://schemas.microsoft.com/office/drawing/2014/main" id="{178AB1FC-887A-4690-A016-B3D384B42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0660" y="4070944"/>
            <a:ext cx="246889" cy="16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VK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4" name="Rectangle 307">
            <a:extLst>
              <a:ext uri="{FF2B5EF4-FFF2-40B4-BE49-F238E27FC236}">
                <a16:creationId xmlns:a16="http://schemas.microsoft.com/office/drawing/2014/main" id="{8DAABAA8-62E8-4559-8C30-5D6C13A94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2852" y="4256433"/>
            <a:ext cx="341846" cy="20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HA</a:t>
            </a: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6" name="TextBox 7">
            <a:extLst>
              <a:ext uri="{FF2B5EF4-FFF2-40B4-BE49-F238E27FC236}">
                <a16:creationId xmlns:a16="http://schemas.microsoft.com/office/drawing/2014/main" id="{26B45494-8F6C-4C0C-ACA6-ADCA4E105859}"/>
              </a:ext>
            </a:extLst>
          </p:cNvPr>
          <p:cNvSpPr txBox="1"/>
          <p:nvPr/>
        </p:nvSpPr>
        <p:spPr>
          <a:xfrm>
            <a:off x="1319629" y="1136585"/>
            <a:ext cx="3958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vakcinovaných osob na 100 obyvatel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7EB195F-BFA8-4945-B916-741F39DC621A}"/>
              </a:ext>
            </a:extLst>
          </p:cNvPr>
          <p:cNvGraphicFramePr>
            <a:graphicFrameLocks noGrp="1"/>
          </p:cNvGraphicFramePr>
          <p:nvPr/>
        </p:nvGraphicFramePr>
        <p:xfrm>
          <a:off x="5200355" y="1223938"/>
          <a:ext cx="730372" cy="5192955"/>
        </p:xfrm>
        <a:graphic>
          <a:graphicData uri="http://schemas.openxmlformats.org/drawingml/2006/table">
            <a:tbl>
              <a:tblPr/>
              <a:tblGrid>
                <a:gridCol w="730372">
                  <a:extLst>
                    <a:ext uri="{9D8B030D-6E8A-4147-A177-3AD203B41FA5}">
                      <a16:colId xmlns:a16="http://schemas.microsoft.com/office/drawing/2014/main" val="1754736106"/>
                    </a:ext>
                  </a:extLst>
                </a:gridCol>
              </a:tblGrid>
              <a:tr h="29721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čet </a:t>
                      </a:r>
                      <a:r>
                        <a:rPr lang="cs-CZ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kcino-vaných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78743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 8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136238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 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109056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4 7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019969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6217483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3 0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34323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 3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531042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7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88264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 6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0276534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 0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817226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 5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471657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 8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659568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 3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9396529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 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36740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 9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829571"/>
                  </a:ext>
                </a:extLst>
              </a:tr>
              <a:tr h="308986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6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7793540"/>
                  </a:ext>
                </a:extLst>
              </a:tr>
            </a:tbl>
          </a:graphicData>
        </a:graphic>
      </p:graphicFrame>
      <p:sp>
        <p:nvSpPr>
          <p:cNvPr id="108" name="TextovéPole 107"/>
          <p:cNvSpPr txBox="1"/>
          <p:nvPr/>
        </p:nvSpPr>
        <p:spPr>
          <a:xfrm>
            <a:off x="783996" y="697148"/>
            <a:ext cx="3321565" cy="30777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unikátních osob (nikoli dávek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E91BDFE-6512-417D-AECA-5707BFBB91D5}"/>
              </a:ext>
            </a:extLst>
          </p:cNvPr>
          <p:cNvSpPr/>
          <p:nvPr/>
        </p:nvSpPr>
        <p:spPr>
          <a:xfrm>
            <a:off x="1214957" y="6481378"/>
            <a:ext cx="46794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dliště není uvedeno u 139 753 osob z počáteční fáze vakcinace</a:t>
            </a:r>
          </a:p>
        </p:txBody>
      </p:sp>
      <p:sp>
        <p:nvSpPr>
          <p:cNvPr id="103" name="Obdélník 102">
            <a:extLst>
              <a:ext uri="{FF2B5EF4-FFF2-40B4-BE49-F238E27FC236}">
                <a16:creationId xmlns:a16="http://schemas.microsoft.com/office/drawing/2014/main" id="{F994E4CD-FA4E-4A9F-877A-7C82D4A14E12}"/>
              </a:ext>
            </a:extLst>
          </p:cNvPr>
          <p:cNvSpPr/>
          <p:nvPr/>
        </p:nvSpPr>
        <p:spPr>
          <a:xfrm>
            <a:off x="6841454" y="6583680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09" name="TextBox 6">
            <a:extLst>
              <a:ext uri="{FF2B5EF4-FFF2-40B4-BE49-F238E27FC236}">
                <a16:creationId xmlns:a16="http://schemas.microsoft.com/office/drawing/2014/main" id="{A0843AE9-191E-4072-A375-50C11518A134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2740245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242D08DA-5D96-4FC6-A910-ECBE851CF3C7}"/>
              </a:ext>
            </a:extLst>
          </p:cNvPr>
          <p:cNvGraphicFramePr/>
          <p:nvPr/>
        </p:nvGraphicFramePr>
        <p:xfrm>
          <a:off x="133350" y="560619"/>
          <a:ext cx="11837679" cy="5971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FC0918-448C-4034-B0A1-65B8C6FA0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2"/>
            <a:ext cx="6590560" cy="576000"/>
          </a:xfrm>
        </p:spPr>
        <p:txBody>
          <a:bodyPr/>
          <a:lstStyle/>
          <a:p>
            <a:r>
              <a:rPr lang="cs-CZ" dirty="0"/>
              <a:t>Stav očkování obyvatel v ČR k 8. 1. 2022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3DEB4E0-C2B7-4E1B-8422-D7FAF9E7D74B}"/>
              </a:ext>
            </a:extLst>
          </p:cNvPr>
          <p:cNvSpPr/>
          <p:nvPr/>
        </p:nvSpPr>
        <p:spPr>
          <a:xfrm>
            <a:off x="3190753" y="6554824"/>
            <a:ext cx="597631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Centrální rezervační systém; ISIN / COVID-19 - Informační systém infekční nemoci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16925BD-8B42-4997-8EF2-01B33424556B}"/>
              </a:ext>
            </a:extLst>
          </p:cNvPr>
          <p:cNvSpPr/>
          <p:nvPr/>
        </p:nvSpPr>
        <p:spPr>
          <a:xfrm>
            <a:off x="1928241" y="560619"/>
            <a:ext cx="8650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oby na 100 obyvatel (% populace)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ACF933FC-AC8B-4DCF-85AE-AB663C334416}"/>
              </a:ext>
            </a:extLst>
          </p:cNvPr>
          <p:cNvGraphicFramePr>
            <a:graphicFrameLocks noGrp="1"/>
          </p:cNvGraphicFramePr>
          <p:nvPr/>
        </p:nvGraphicFramePr>
        <p:xfrm>
          <a:off x="10917014" y="1476376"/>
          <a:ext cx="975360" cy="4684335"/>
        </p:xfrm>
        <a:graphic>
          <a:graphicData uri="http://schemas.openxmlformats.org/drawingml/2006/table">
            <a:tbl>
              <a:tblPr/>
              <a:tblGrid>
                <a:gridCol w="975360">
                  <a:extLst>
                    <a:ext uri="{9D8B030D-6E8A-4147-A177-3AD203B41FA5}">
                      <a16:colId xmlns:a16="http://schemas.microsoft.com/office/drawing/2014/main" val="2643709246"/>
                    </a:ext>
                  </a:extLst>
                </a:gridCol>
              </a:tblGrid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7 99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8468862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8 8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1730508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3 5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547789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35 0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06972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701 7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4968834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0 8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60546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2 8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168544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 0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991601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 1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096052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5 3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069691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2 47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41063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 5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3574411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7 00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437837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2 8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7364134"/>
                  </a:ext>
                </a:extLst>
              </a:tr>
              <a:tr h="31228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 3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1223415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1C4DBC00-ABAA-47B0-8261-8DCC80EB334A}"/>
              </a:ext>
            </a:extLst>
          </p:cNvPr>
          <p:cNvSpPr/>
          <p:nvPr/>
        </p:nvSpPr>
        <p:spPr>
          <a:xfrm>
            <a:off x="10907728" y="1056852"/>
            <a:ext cx="10296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yvatelst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8. 1. 2021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E7A57465-528B-4053-B85D-89AD1321B541}"/>
              </a:ext>
            </a:extLst>
          </p:cNvPr>
          <p:cNvSpPr/>
          <p:nvPr/>
        </p:nvSpPr>
        <p:spPr>
          <a:xfrm>
            <a:off x="240021" y="6160718"/>
            <a:ext cx="117163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námka: Registrovaní, čekají na termín = provedli registraci na OČM nejdéle před dvěma měsíci; Mají rezervaci termínu = nejdéle před měsícem získali termín pro očkování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ělali onemocnění = osoby, které nebyly očkovány a ani nejsou přihlášeny k očkování a kdykoliv v minulosti prodělaly onemocnění COVID-19 podle dat ISIN.</a:t>
            </a:r>
          </a:p>
        </p:txBody>
      </p:sp>
    </p:spTree>
    <p:extLst>
      <p:ext uri="{BB962C8B-B14F-4D97-AF65-F5344CB8AC3E}">
        <p14:creationId xmlns:p14="http://schemas.microsoft.com/office/powerpoint/2010/main" val="26494550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AD5E98D5-CB36-45E3-86F6-CB6922FC0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247785" cy="576000"/>
          </a:xfrm>
        </p:spPr>
        <p:txBody>
          <a:bodyPr/>
          <a:lstStyle/>
          <a:p>
            <a:r>
              <a:rPr lang="cs-CZ" dirty="0"/>
              <a:t>Přehled míst podání vakcín u dětí 5–11 let</a:t>
            </a:r>
            <a:endParaRPr lang="en-US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9E304296-D302-4813-871D-968CF4CA78F1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A8738F4-9D32-4F4C-9F47-88A72364040E}"/>
              </a:ext>
            </a:extLst>
          </p:cNvPr>
          <p:cNvSpPr/>
          <p:nvPr/>
        </p:nvSpPr>
        <p:spPr>
          <a:xfrm>
            <a:off x="248389" y="6303258"/>
            <a:ext cx="631539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dravotnická zařízení MV a MO, zařízení sociálních služeb poskytující zdravotní služby a pod.</a:t>
            </a: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E300EC59-09E3-455E-9C64-4B93905DA24C}"/>
              </a:ext>
            </a:extLst>
          </p:cNvPr>
          <p:cNvGraphicFramePr>
            <a:graphicFrameLocks noGrp="1"/>
          </p:cNvGraphicFramePr>
          <p:nvPr/>
        </p:nvGraphicFramePr>
        <p:xfrm>
          <a:off x="203574" y="771525"/>
          <a:ext cx="7247785" cy="5508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2947">
                  <a:extLst>
                    <a:ext uri="{9D8B030D-6E8A-4147-A177-3AD203B41FA5}">
                      <a16:colId xmlns:a16="http://schemas.microsoft.com/office/drawing/2014/main" val="2507427930"/>
                    </a:ext>
                  </a:extLst>
                </a:gridCol>
                <a:gridCol w="1216779">
                  <a:extLst>
                    <a:ext uri="{9D8B030D-6E8A-4147-A177-3AD203B41FA5}">
                      <a16:colId xmlns:a16="http://schemas.microsoft.com/office/drawing/2014/main" val="1505726164"/>
                    </a:ext>
                  </a:extLst>
                </a:gridCol>
                <a:gridCol w="1066146">
                  <a:extLst>
                    <a:ext uri="{9D8B030D-6E8A-4147-A177-3AD203B41FA5}">
                      <a16:colId xmlns:a16="http://schemas.microsoft.com/office/drawing/2014/main" val="4172905718"/>
                    </a:ext>
                  </a:extLst>
                </a:gridCol>
                <a:gridCol w="1066146">
                  <a:extLst>
                    <a:ext uri="{9D8B030D-6E8A-4147-A177-3AD203B41FA5}">
                      <a16:colId xmlns:a16="http://schemas.microsoft.com/office/drawing/2014/main" val="4259194475"/>
                    </a:ext>
                  </a:extLst>
                </a:gridCol>
                <a:gridCol w="1066146">
                  <a:extLst>
                    <a:ext uri="{9D8B030D-6E8A-4147-A177-3AD203B41FA5}">
                      <a16:colId xmlns:a16="http://schemas.microsoft.com/office/drawing/2014/main" val="2414699702"/>
                    </a:ext>
                  </a:extLst>
                </a:gridCol>
                <a:gridCol w="709621">
                  <a:extLst>
                    <a:ext uri="{9D8B030D-6E8A-4147-A177-3AD203B41FA5}">
                      <a16:colId xmlns:a16="http://schemas.microsoft.com/office/drawing/2014/main" val="2216221750"/>
                    </a:ext>
                  </a:extLst>
                </a:gridCol>
              </a:tblGrid>
              <a:tr h="74041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čet (podíl %) dávek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čkovací míst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ktičtí lékař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aktičtí lékaři pro děti a doros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statní zaříze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90759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40 (84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 (3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8 (12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1337318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 (1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 (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5 (7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132841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9 (78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(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5 (2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27591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7 (43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(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 (5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8661355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 (8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(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(1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651130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 (3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(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 (55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(5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614305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(32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(6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(6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08348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 (4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 (59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80610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 (55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(0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 (4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1272220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6 (80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(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 (17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(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211063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3 (81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5 (18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186115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(59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 (4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860591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0 (77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 (21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(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154646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3 (8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(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 (14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5691884"/>
                  </a:ext>
                </a:extLst>
              </a:tr>
              <a:tr h="3178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34 (7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 (2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34 (26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(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6616089"/>
                  </a:ext>
                </a:extLst>
              </a:tr>
            </a:tbl>
          </a:graphicData>
        </a:graphic>
      </p:graphicFrame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DCAC3080-30EC-4A30-9F1D-68DC013F565E}"/>
              </a:ext>
            </a:extLst>
          </p:cNvPr>
          <p:cNvCxnSpPr>
            <a:cxnSpLocks/>
          </p:cNvCxnSpPr>
          <p:nvPr/>
        </p:nvCxnSpPr>
        <p:spPr>
          <a:xfrm>
            <a:off x="2566124" y="1447799"/>
            <a:ext cx="720000" cy="0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30A6862F-D45D-4185-8083-A56E779238B7}"/>
              </a:ext>
            </a:extLst>
          </p:cNvPr>
          <p:cNvCxnSpPr>
            <a:cxnSpLocks/>
          </p:cNvCxnSpPr>
          <p:nvPr/>
        </p:nvCxnSpPr>
        <p:spPr>
          <a:xfrm>
            <a:off x="3774110" y="1447799"/>
            <a:ext cx="720000" cy="0"/>
          </a:xfrm>
          <a:prstGeom prst="line">
            <a:avLst/>
          </a:prstGeom>
          <a:ln w="762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9B9BC236-AAA7-4F2D-B110-BAC5F8A3A746}"/>
              </a:ext>
            </a:extLst>
          </p:cNvPr>
          <p:cNvCxnSpPr>
            <a:cxnSpLocks/>
          </p:cNvCxnSpPr>
          <p:nvPr/>
        </p:nvCxnSpPr>
        <p:spPr>
          <a:xfrm>
            <a:off x="5859825" y="1447799"/>
            <a:ext cx="720000" cy="0"/>
          </a:xfrm>
          <a:prstGeom prst="line">
            <a:avLst/>
          </a:prstGeom>
          <a:ln w="762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033D2E76-AEC5-45C3-83B9-DCCCDA5926A9}"/>
              </a:ext>
            </a:extLst>
          </p:cNvPr>
          <p:cNvCxnSpPr>
            <a:cxnSpLocks/>
          </p:cNvCxnSpPr>
          <p:nvPr/>
        </p:nvCxnSpPr>
        <p:spPr>
          <a:xfrm>
            <a:off x="4816967" y="1447799"/>
            <a:ext cx="720000" cy="0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Graf 22">
            <a:extLst>
              <a:ext uri="{FF2B5EF4-FFF2-40B4-BE49-F238E27FC236}">
                <a16:creationId xmlns:a16="http://schemas.microsoft.com/office/drawing/2014/main" id="{AC1D4B82-602D-4768-A109-9B6A1955AEE5}"/>
              </a:ext>
            </a:extLst>
          </p:cNvPr>
          <p:cNvGraphicFramePr/>
          <p:nvPr/>
        </p:nvGraphicFramePr>
        <p:xfrm>
          <a:off x="7429500" y="647700"/>
          <a:ext cx="4610100" cy="5753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6">
            <a:extLst>
              <a:ext uri="{FF2B5EF4-FFF2-40B4-BE49-F238E27FC236}">
                <a16:creationId xmlns:a16="http://schemas.microsoft.com/office/drawing/2014/main" id="{D533713D-C834-486A-B31D-CA4023250ED1}"/>
              </a:ext>
            </a:extLst>
          </p:cNvPr>
          <p:cNvSpPr txBox="1"/>
          <p:nvPr/>
        </p:nvSpPr>
        <p:spPr>
          <a:xfrm>
            <a:off x="6657975" y="17609"/>
            <a:ext cx="1438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. 1. 2022</a:t>
            </a:r>
          </a:p>
        </p:txBody>
      </p:sp>
    </p:spTree>
    <p:extLst>
      <p:ext uri="{BB962C8B-B14F-4D97-AF65-F5344CB8AC3E}">
        <p14:creationId xmlns:p14="http://schemas.microsoft.com/office/powerpoint/2010/main" val="1459246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85" y="0"/>
            <a:ext cx="7434501" cy="576000"/>
          </a:xfrm>
        </p:spPr>
        <p:txBody>
          <a:bodyPr/>
          <a:lstStyle/>
          <a:p>
            <a:r>
              <a:rPr lang="cs-CZ" dirty="0"/>
              <a:t>Vakcinace posilující dávkou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B702ECB-2E9A-4E7A-904D-5B5431DFD06D}"/>
              </a:ext>
            </a:extLst>
          </p:cNvPr>
          <p:cNvGraphicFramePr>
            <a:graphicFrameLocks noGrp="1"/>
          </p:cNvGraphicFramePr>
          <p:nvPr/>
        </p:nvGraphicFramePr>
        <p:xfrm>
          <a:off x="534011" y="713269"/>
          <a:ext cx="4642987" cy="5420828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676963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483012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483012">
                  <a:extLst>
                    <a:ext uri="{9D8B030D-6E8A-4147-A177-3AD203B41FA5}">
                      <a16:colId xmlns:a16="http://schemas.microsoft.com/office/drawing/2014/main" val="3216406433"/>
                    </a:ext>
                  </a:extLst>
                </a:gridCol>
              </a:tblGrid>
              <a:tr h="59665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raj bydliště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Hlavní město Prah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 5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5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76035022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Středoče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 5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 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Jihoče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9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0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Plzeňs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5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1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arlovar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 0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Ústecký kraj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 4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iber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2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0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álovéhrade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 2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9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Pardubi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0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9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Kraj Vysočina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2557106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Jihomorav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 9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 0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Olomouc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5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0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Zlín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7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Moravskoslezský kraj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8 2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 3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52565138"/>
                  </a:ext>
                </a:extLst>
              </a:tr>
              <a:tr h="304645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neznámo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301302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5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652C7556-A4C1-40D2-A38E-27DDBBCE0320}"/>
              </a:ext>
            </a:extLst>
          </p:cNvPr>
          <p:cNvSpPr/>
          <p:nvPr/>
        </p:nvSpPr>
        <p:spPr>
          <a:xfrm>
            <a:off x="4010285" y="6574393"/>
            <a:ext cx="429797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nformační systém infekční nemoci (ISIN) – modul očkování</a:t>
            </a:r>
          </a:p>
        </p:txBody>
      </p:sp>
      <p:graphicFrame>
        <p:nvGraphicFramePr>
          <p:cNvPr id="7" name="Table 2">
            <a:extLst>
              <a:ext uri="{FF2B5EF4-FFF2-40B4-BE49-F238E27FC236}">
                <a16:creationId xmlns:a16="http://schemas.microsoft.com/office/drawing/2014/main" id="{BA49A4E1-B87F-4856-AE02-3A0205732F17}"/>
              </a:ext>
            </a:extLst>
          </p:cNvPr>
          <p:cNvGraphicFramePr>
            <a:graphicFrameLocks noGrp="1"/>
          </p:cNvGraphicFramePr>
          <p:nvPr/>
        </p:nvGraphicFramePr>
        <p:xfrm>
          <a:off x="6159269" y="713268"/>
          <a:ext cx="4499205" cy="5420828"/>
        </p:xfrm>
        <a:graphic>
          <a:graphicData uri="http://schemas.openxmlformats.org/drawingml/2006/table">
            <a:tbl>
              <a:tblPr firstRow="1" lastRow="1" bandRow="1">
                <a:tableStyleId>{74C1A8A3-306A-4EB7-A6B1-4F7E0EB9C5D6}</a:tableStyleId>
              </a:tblPr>
              <a:tblGrid>
                <a:gridCol w="1566279">
                  <a:extLst>
                    <a:ext uri="{9D8B030D-6E8A-4147-A177-3AD203B41FA5}">
                      <a16:colId xmlns:a16="http://schemas.microsoft.com/office/drawing/2014/main" val="2523158226"/>
                    </a:ext>
                  </a:extLst>
                </a:gridCol>
                <a:gridCol w="1466463">
                  <a:extLst>
                    <a:ext uri="{9D8B030D-6E8A-4147-A177-3AD203B41FA5}">
                      <a16:colId xmlns:a16="http://schemas.microsoft.com/office/drawing/2014/main" val="1593569998"/>
                    </a:ext>
                  </a:extLst>
                </a:gridCol>
                <a:gridCol w="1466463">
                  <a:extLst>
                    <a:ext uri="{9D8B030D-6E8A-4147-A177-3AD203B41FA5}">
                      <a16:colId xmlns:a16="http://schemas.microsoft.com/office/drawing/2014/main" val="3223156225"/>
                    </a:ext>
                  </a:extLst>
                </a:gridCol>
              </a:tblGrid>
              <a:tr h="56734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ěk při vakcinaci</a:t>
                      </a:r>
                    </a:p>
                  </a:txBody>
                  <a:tcPr marL="36000" marR="36000" marT="0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nárokem na posilující dávku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čet osob s posilující dávkou**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2634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 17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848947671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–2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44333786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–2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43186940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–3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5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47044073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–3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9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9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24894236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–4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1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0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28109536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–4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6 4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 0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42436200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–5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 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5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53730061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–5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 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85082474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–6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 9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 4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08664285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–6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 0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8 8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19525594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–7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 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50366277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–7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 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56435555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–8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 2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 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27962169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–89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3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93644269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–94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9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56090642"/>
                  </a:ext>
                </a:extLst>
              </a:tr>
              <a:tr h="27246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+ let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28310195"/>
                  </a:ext>
                </a:extLst>
              </a:tr>
              <a:tr h="26947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5 4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1976480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1589E7FA-4B9B-4A47-B644-52ADA5B56236}"/>
              </a:ext>
            </a:extLst>
          </p:cNvPr>
          <p:cNvSpPr/>
          <p:nvPr/>
        </p:nvSpPr>
        <p:spPr>
          <a:xfrm>
            <a:off x="467336" y="6170376"/>
            <a:ext cx="915507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Přeočkování posilující dávkou je možné pro osoby, které mají nejméně 6 měsíců (v této analýze 182 dnů) po aplikaci ukončovací (druhé) dáv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Průběžné počty osob již s aplikovanou posilující dávkou očkování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927A06F3-4E39-4980-923C-7EF843B38C5B}"/>
              </a:ext>
            </a:extLst>
          </p:cNvPr>
          <p:cNvSpPr txBox="1"/>
          <p:nvPr/>
        </p:nvSpPr>
        <p:spPr>
          <a:xfrm>
            <a:off x="5686425" y="103334"/>
            <a:ext cx="2371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v k 8. 1. 2022</a:t>
            </a:r>
          </a:p>
        </p:txBody>
      </p:sp>
    </p:spTree>
    <p:extLst>
      <p:ext uri="{BB962C8B-B14F-4D97-AF65-F5344CB8AC3E}">
        <p14:creationId xmlns:p14="http://schemas.microsoft.com/office/powerpoint/2010/main" val="14698139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čet podaných dávek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95714FEC-834D-480B-8B92-810FD14C08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9067533"/>
              </p:ext>
            </p:extLst>
          </p:nvPr>
        </p:nvGraphicFramePr>
        <p:xfrm>
          <a:off x="838201" y="1497105"/>
          <a:ext cx="10515598" cy="4716816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421827435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30653803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883251910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19352179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2400059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10877728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91277591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80722728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1752515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78165000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80028189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49613820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389519338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75395028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22948748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46897627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610814171"/>
                    </a:ext>
                  </a:extLst>
                </a:gridCol>
              </a:tblGrid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594595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0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 1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3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6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 2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0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6 4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0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6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3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8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 7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 3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35 3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0580956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6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6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6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3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88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2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6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0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2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6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 8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2 4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3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0 8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3142931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2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4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7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8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9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 0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6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0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7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9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8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8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6 2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596608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4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5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3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8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5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9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0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5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1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9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7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7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4 4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430162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9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3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3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9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5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4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7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1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9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 6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413771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1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8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6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2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5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6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3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 9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8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2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 2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5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40 6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187020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5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2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7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3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6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7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5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4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4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6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6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1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2 8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748903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4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1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3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9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7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4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7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0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9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9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7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9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 1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780045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9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3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1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1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2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8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0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7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2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6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2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9 2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930258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6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1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3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3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1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3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6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9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1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0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5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 2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009071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2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 2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5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0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6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 0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2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4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7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2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 9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 7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4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85 5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299437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7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7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0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3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7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1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1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3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4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9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0 8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684270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5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6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2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9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 3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5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 7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4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 2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1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1 1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268999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3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0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4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2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0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5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6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8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 1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0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2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 7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8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9 2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2946366"/>
                  </a:ext>
                </a:extLst>
              </a:tr>
              <a:tr h="292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5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 3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9 5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4 8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 2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5 4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26 0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1 8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8 6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3 9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6 4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 8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45 9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95 9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09 7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08810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7846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Ukončené očkování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BCA7BD69-E3DC-473E-9243-804831460D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9640358"/>
              </p:ext>
            </p:extLst>
          </p:nvPr>
        </p:nvGraphicFramePr>
        <p:xfrm>
          <a:off x="838201" y="1443317"/>
          <a:ext cx="10515598" cy="4748766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253423519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19396158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50230758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411523130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08274832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99827945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08630377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39069083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19176667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414619471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68961607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21224864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86691397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37272242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67834216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60309763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910968841"/>
                    </a:ext>
                  </a:extLst>
                </a:gridCol>
              </a:tblGrid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114412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2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4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5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2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1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 1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9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 7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6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3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5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2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2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50 7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4127016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1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3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1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2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5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3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3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1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6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7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 7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32875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5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6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9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5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2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5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5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8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7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0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9 0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97969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4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7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8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0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4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6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1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9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83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7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 6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6910943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5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9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7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3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2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5347932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4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0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6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9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6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6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1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4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0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7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8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8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3 7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10960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2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3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9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7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1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4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1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 4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672495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8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9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8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3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8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6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2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0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2 7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850385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4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1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3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8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9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4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1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7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4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7010623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2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8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03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2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2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1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9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1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 6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8699591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3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2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 1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6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6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5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4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0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8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2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 8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9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3 9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1501879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2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4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1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0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2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1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 7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9730289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2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4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5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3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0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0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3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6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2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5 2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8786378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0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2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93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8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0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3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5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5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8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8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7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0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4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 6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4960336"/>
                  </a:ext>
                </a:extLst>
              </a:tr>
              <a:tr h="295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 8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5 0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 0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9 7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 53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 8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 4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1 4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4 5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 8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 7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1 0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 7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9 2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17324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1259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situace v Královéhradeckém kraji</a:t>
            </a:r>
            <a:b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2079428"/>
              </p:ext>
            </p:extLst>
          </p:nvPr>
        </p:nvGraphicFramePr>
        <p:xfrm>
          <a:off x="1656121" y="1960331"/>
          <a:ext cx="9564329" cy="364006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144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06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denní počet nových případů na 100 tis. obyv.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89,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23240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1 (z toho JIP 27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458135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potvrzených případů od 1.3.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39.76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449809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vyléče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33.19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56811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úmr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0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3192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6329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silující očkování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EAEA2BA6-08F5-41B5-903D-1A216E45A57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5796948"/>
              </p:ext>
            </p:extLst>
          </p:nvPr>
        </p:nvGraphicFramePr>
        <p:xfrm>
          <a:off x="838201" y="1586753"/>
          <a:ext cx="10515598" cy="4614291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4073268750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5598499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4202390091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71818263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07073995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420826714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25399803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33610591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630108694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271890632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52767233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227481003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740626351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077245452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705888217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40394148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617221204"/>
                    </a:ext>
                  </a:extLst>
                </a:gridCol>
              </a:tblGrid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213454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4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3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2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1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1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9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3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7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0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 8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260967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2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7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1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8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 7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7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 4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033690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1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8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2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7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1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8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595228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5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9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6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7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5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751555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7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9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1664348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5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9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7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6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1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4782295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0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7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6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3288380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2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3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5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 5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139946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9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8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8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1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 4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290855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9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9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2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242678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68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5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9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8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 5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 2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5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8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1 9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8347433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56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8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1499996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4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5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04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5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795754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9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8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 2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7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5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32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 6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1410817"/>
                  </a:ext>
                </a:extLst>
              </a:tr>
              <a:tr h="286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9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62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2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 3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2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 7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 3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 8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2 0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 3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6 9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 90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61 6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318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186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aktičtí lékaři – dávky k 9. 1. 2022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364DAEAE-1B83-441A-B555-50569AC458D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8146091"/>
              </p:ext>
            </p:extLst>
          </p:nvPr>
        </p:nvGraphicFramePr>
        <p:xfrm>
          <a:off x="838201" y="1532965"/>
          <a:ext cx="10515598" cy="4664721"/>
        </p:xfrm>
        <a:graphic>
          <a:graphicData uri="http://schemas.openxmlformats.org/drawingml/2006/table">
            <a:tbl>
              <a:tblPr/>
              <a:tblGrid>
                <a:gridCol w="1167486">
                  <a:extLst>
                    <a:ext uri="{9D8B030D-6E8A-4147-A177-3AD203B41FA5}">
                      <a16:colId xmlns:a16="http://schemas.microsoft.com/office/drawing/2014/main" val="199695208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42530168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2628625044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567181039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825129315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774635645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183195692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213661784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292905269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639756308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110240649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443750858"/>
                    </a:ext>
                  </a:extLst>
                </a:gridCol>
                <a:gridCol w="585799">
                  <a:extLst>
                    <a:ext uri="{9D8B030D-6E8A-4147-A177-3AD203B41FA5}">
                      <a16:colId xmlns:a16="http://schemas.microsoft.com/office/drawing/2014/main" val="3269388608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996018503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320306416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729555086"/>
                    </a:ext>
                  </a:extLst>
                </a:gridCol>
                <a:gridCol w="583743">
                  <a:extLst>
                    <a:ext uri="{9D8B030D-6E8A-4147-A177-3AD203B41FA5}">
                      <a16:colId xmlns:a16="http://schemas.microsoft.com/office/drawing/2014/main" val="902525166"/>
                    </a:ext>
                  </a:extLst>
                </a:gridCol>
              </a:tblGrid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7695770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7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8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5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6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9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7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9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6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2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 8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979059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2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7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4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9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63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11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2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11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4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 6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5879268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0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2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7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2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3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3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71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625941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4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2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97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9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44575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3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4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 0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7510533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80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6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3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7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1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8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260392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64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7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9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3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9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2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6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2705717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3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8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03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1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9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2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0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2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9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740776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8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3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7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0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0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86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79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1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 51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1121584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4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6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0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2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18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 03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 26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6511711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9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6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4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1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41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3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1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5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6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 9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0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 0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4158858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1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0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8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6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4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7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1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83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 4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066887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0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5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3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48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7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07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20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450309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5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1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3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4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2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49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27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38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8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 08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308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05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3187140"/>
                  </a:ext>
                </a:extLst>
              </a:tr>
              <a:tr h="290250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76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91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212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62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02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 88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947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 05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79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805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5 05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5 141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 163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7 294</a:t>
                      </a:r>
                    </a:p>
                  </a:txBody>
                  <a:tcPr marL="6171" marR="6171" marT="6171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08134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0389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COVID-19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0E0F8C5-58C5-4603-9D08-494ED8906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cs-CZ" dirty="0">
                <a:hlinkClick r:id="rId3"/>
              </a:rPr>
              <a:t>COVID-19 | Královéhradecký kraj Onemocnění aktuálně od MZČR (mzcr.cz)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7C1AF37-8739-4D0B-9D9F-39D215256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3247" y="1766046"/>
            <a:ext cx="8516471" cy="4643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4373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20F01F22-7C8C-41CF-8FA4-176EFCF9E56F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E88F4AC-3EB6-4648-BF73-4809860F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E5C570B-BD7E-4700-B8B2-B4829E54E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725" y="2091108"/>
            <a:ext cx="5981700" cy="2675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48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ěkuji za pozornost</a:t>
            </a:r>
          </a:p>
          <a:p>
            <a:pPr marL="0" indent="0" algn="ctr">
              <a:buNone/>
            </a:pPr>
            <a:endParaRPr lang="cs-CZ" sz="4800" dirty="0">
              <a:solidFill>
                <a:srgbClr val="2B2B82"/>
              </a:solidFill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Demi" panose="020B0703020102020204" pitchFamily="34" charset="0"/>
              </a:rPr>
              <a:t>Martin Červíček</a:t>
            </a: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Book" panose="020B0503020102020204" pitchFamily="34" charset="0"/>
              </a:rPr>
              <a:t>hejtman</a:t>
            </a:r>
          </a:p>
        </p:txBody>
      </p:sp>
    </p:spTree>
    <p:extLst>
      <p:ext uri="{BB962C8B-B14F-4D97-AF65-F5344CB8AC3E}">
        <p14:creationId xmlns:p14="http://schemas.microsoft.com/office/powerpoint/2010/main" val="353492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5268904"/>
              </p:ext>
            </p:extLst>
          </p:nvPr>
        </p:nvGraphicFramePr>
        <p:xfrm>
          <a:off x="1656117" y="3911193"/>
          <a:ext cx="9564329" cy="81723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2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.564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652,0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43 (z toho JIP 54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1949544"/>
              </p:ext>
            </p:extLst>
          </p:nvPr>
        </p:nvGraphicFramePr>
        <p:xfrm>
          <a:off x="1656119" y="1078811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2. 1. 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046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292,3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20 (z toho JIP 22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1" name="Zástupný symbol pro obsah 8">
            <a:extLst>
              <a:ext uri="{FF2B5EF4-FFF2-40B4-BE49-F238E27FC236}">
                <a16:creationId xmlns:a16="http://schemas.microsoft.com/office/drawing/2014/main" id="{CB21B2A3-3C4C-404D-8E37-15D7EE03B6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9065105"/>
              </p:ext>
            </p:extLst>
          </p:nvPr>
        </p:nvGraphicFramePr>
        <p:xfrm>
          <a:off x="1656119" y="1993440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147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6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16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08,9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397315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44 (z toho JIP 30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8" name="Zástupný symbol pro obsah 8">
            <a:extLst>
              <a:ext uri="{FF2B5EF4-FFF2-40B4-BE49-F238E27FC236}">
                <a16:creationId xmlns:a16="http://schemas.microsoft.com/office/drawing/2014/main" id="{583A128E-FB2F-4A60-87A4-3AF0F7900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0690529"/>
              </p:ext>
            </p:extLst>
          </p:nvPr>
        </p:nvGraphicFramePr>
        <p:xfrm>
          <a:off x="1656118" y="2914552"/>
          <a:ext cx="9564329" cy="970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9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.64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521,0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16 (z toho JIP 44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8">
            <a:extLst>
              <a:ext uri="{FF2B5EF4-FFF2-40B4-BE49-F238E27FC236}">
                <a16:creationId xmlns:a16="http://schemas.microsoft.com/office/drawing/2014/main" id="{E47AE5E2-D8A3-4DB5-B552-D9CA220797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6283331"/>
              </p:ext>
            </p:extLst>
          </p:nvPr>
        </p:nvGraphicFramePr>
        <p:xfrm>
          <a:off x="1656116" y="4784907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5. 1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395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70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48 (z toho JIP 5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8640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 zač. r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135908"/>
              </p:ext>
            </p:extLst>
          </p:nvPr>
        </p:nvGraphicFramePr>
        <p:xfrm>
          <a:off x="1582967" y="1936029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49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85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23 (z toho JIP 11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6658473"/>
              </p:ext>
            </p:extLst>
          </p:nvPr>
        </p:nvGraphicFramePr>
        <p:xfrm>
          <a:off x="1582966" y="3625868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0. 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.961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994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62 (z toho JIP 10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0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enní počty nově zjištěných C+ v KHK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9" name="Zástupný obsah 8">
            <a:extLst>
              <a:ext uri="{FF2B5EF4-FFF2-40B4-BE49-F238E27FC236}">
                <a16:creationId xmlns:a16="http://schemas.microsoft.com/office/drawing/2014/main" id="{ACFE8AB2-3444-46E1-B0A6-20B453750E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38200" y="1864659"/>
            <a:ext cx="10515600" cy="3944470"/>
          </a:xfrm>
        </p:spPr>
      </p:pic>
    </p:spTree>
    <p:extLst>
      <p:ext uri="{BB962C8B-B14F-4D97-AF65-F5344CB8AC3E}">
        <p14:creationId xmlns:p14="http://schemas.microsoft.com/office/powerpoint/2010/main" val="235167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celkový počet </a:t>
            </a:r>
            <a:r>
              <a:rPr lang="cs-CZ" u="sng" dirty="0">
                <a:latin typeface="+mn-lt"/>
              </a:rPr>
              <a:t>aktuálně hospitalizovaných</a:t>
            </a:r>
            <a:endParaRPr lang="cs-CZ" dirty="0">
              <a:latin typeface="+mn-lt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881953E-570E-4182-9AFA-D9A699C6849D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-1533651" y="3049018"/>
            <a:ext cx="35958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</a:p>
        </p:txBody>
      </p:sp>
      <p:sp>
        <p:nvSpPr>
          <p:cNvPr id="24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sp>
        <p:nvSpPr>
          <p:cNvPr id="32" name="Rectangle 4">
            <a:extLst>
              <a:ext uri="{FF2B5EF4-FFF2-40B4-BE49-F238E27FC236}">
                <a16:creationId xmlns:a16="http://schemas.microsoft.com/office/drawing/2014/main" id="{7367DB1B-8949-4FCA-86B5-961FC3BF2B3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004150" y="1371909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33" name="TextovéPole 25">
            <a:extLst>
              <a:ext uri="{FF2B5EF4-FFF2-40B4-BE49-F238E27FC236}">
                <a16:creationId xmlns:a16="http://schemas.microsoft.com/office/drawing/2014/main" id="{AC52E5E2-0004-4DEA-9A78-DB8B2CA7A4B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328585" y="5394356"/>
            <a:ext cx="389963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vstupu varianty Omikron. </a:t>
            </a:r>
          </a:p>
        </p:txBody>
      </p:sp>
      <p:sp>
        <p:nvSpPr>
          <p:cNvPr id="35" name="TextovéPole 30">
            <a:extLst>
              <a:ext uri="{FF2B5EF4-FFF2-40B4-BE49-F238E27FC236}">
                <a16:creationId xmlns:a16="http://schemas.microsoft.com/office/drawing/2014/main" id="{C74E3C8A-C65A-4AB6-A2D6-C4395DE0734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37" name="Přímá spojnice 33">
            <a:extLst>
              <a:ext uri="{FF2B5EF4-FFF2-40B4-BE49-F238E27FC236}">
                <a16:creationId xmlns:a16="http://schemas.microsoft.com/office/drawing/2014/main" id="{0D21EA8A-030E-497E-8E07-38F67704AD8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F7EBCD99-E581-4056-A13B-2F130ED7DA0D}"/>
              </a:ext>
            </a:extLst>
          </p:cNvPr>
          <p:cNvSpPr txBox="1"/>
          <p:nvPr/>
        </p:nvSpPr>
        <p:spPr>
          <a:xfrm>
            <a:off x="1280752" y="594333"/>
            <a:ext cx="10802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populační predikce počtu nakažených (scénář 2) není v modelech hospitalizací promítnut, protože tento kalkulu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nákazou primárně citlivých osob a dále s průlomovými nákazami u očkovaných osob a  v populaci s prodělaným onemocnění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 nakažení by však dle dostupných dat měli být významně chráněni před těžkým průběhem onemocnění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DD659507-8D51-4BA2-ACB5-A40FDDD55221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544736" y="2392646"/>
            <a:ext cx="37220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rní hranice spolehlivosti predikce</a:t>
            </a:r>
          </a:p>
        </p:txBody>
      </p:sp>
      <p:cxnSp>
        <p:nvCxnSpPr>
          <p:cNvPr id="17" name="Přímá spojnice 32">
            <a:extLst>
              <a:ext uri="{FF2B5EF4-FFF2-40B4-BE49-F238E27FC236}">
                <a16:creationId xmlns:a16="http://schemas.microsoft.com/office/drawing/2014/main" id="{6E002F0E-0C5B-4A30-A791-DEEC210791F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8083495" y="2552457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25">
            <a:extLst>
              <a:ext uri="{FF2B5EF4-FFF2-40B4-BE49-F238E27FC236}">
                <a16:creationId xmlns:a16="http://schemas.microsoft.com/office/drawing/2014/main" id="{47FEB526-05FE-4C99-8CFC-F255D2A78B9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349507" y="3496526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20" name="TextovéPole 29">
            <a:extLst>
              <a:ext uri="{FF2B5EF4-FFF2-40B4-BE49-F238E27FC236}">
                <a16:creationId xmlns:a16="http://schemas.microsoft.com/office/drawing/2014/main" id="{97312F9A-706C-4BF9-B494-9D2E143BC0D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8515495" y="2915598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21" name="Přímá spojnice 32">
            <a:extLst>
              <a:ext uri="{FF2B5EF4-FFF2-40B4-BE49-F238E27FC236}">
                <a16:creationId xmlns:a16="http://schemas.microsoft.com/office/drawing/2014/main" id="{943045D3-BB64-484B-BD0D-E4E23E6AE2D2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083495" y="3075409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21395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9337041" cy="576000"/>
          </a:xfrm>
        </p:spPr>
        <p:txBody>
          <a:bodyPr/>
          <a:lstStyle/>
          <a:p>
            <a:r>
              <a:rPr lang="cs-CZ" dirty="0">
                <a:latin typeface="+mn-lt"/>
              </a:rPr>
              <a:t>Predikovaný počet </a:t>
            </a:r>
            <a:r>
              <a:rPr lang="cs-CZ" u="sng" dirty="0">
                <a:latin typeface="+mn-lt"/>
              </a:rPr>
              <a:t>aktuálně hospitalizovaných</a:t>
            </a:r>
            <a:r>
              <a:rPr lang="en-US" u="sng" dirty="0">
                <a:latin typeface="+mn-lt"/>
              </a:rPr>
              <a:t> </a:t>
            </a:r>
            <a:r>
              <a:rPr lang="en-US" u="sng" dirty="0" err="1">
                <a:latin typeface="+mn-lt"/>
              </a:rPr>
              <a:t>na</a:t>
            </a:r>
            <a:r>
              <a:rPr lang="en-US" u="sng" dirty="0">
                <a:latin typeface="+mn-lt"/>
              </a:rPr>
              <a:t> JIP</a:t>
            </a:r>
            <a:endParaRPr lang="cs-CZ" dirty="0"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0D37DF-B158-4FF6-B3AF-9F71D8756D6C}"/>
              </a:ext>
            </a:extLst>
          </p:cNvPr>
          <p:cNvSpPr/>
          <p:nvPr/>
        </p:nvSpPr>
        <p:spPr>
          <a:xfrm rot="16200000">
            <a:off x="-1924783" y="3049018"/>
            <a:ext cx="4378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aktuálně hospitalizovanýc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J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24">
            <a:extLst>
              <a:ext uri="{FF2B5EF4-FFF2-40B4-BE49-F238E27FC236}">
                <a16:creationId xmlns:a16="http://schemas.microsoft.com/office/drawing/2014/main" id="{356AD256-F024-4D63-9373-F3FB5E040A66}"/>
              </a:ext>
            </a:extLst>
          </p:cNvPr>
          <p:cNvSpPr txBox="1"/>
          <p:nvPr/>
        </p:nvSpPr>
        <p:spPr>
          <a:xfrm>
            <a:off x="13190" y="6079447"/>
            <a:ext cx="81843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nímek prezentuje výsledky simulace prostřednictvím epidemiologického modelu, který slouží ke zkoumání dopadů změn různých parametrů epidemie. Vzhledem k objektivně daným neurčitostem ve struktuře modelu (například limitované znalosti o skutečné vnímavosti populace k viru a jeho novým variantám) je nezbytné výsledky brát jako orientační, umožňující pouze porovnání jednotlivých scénářů, nikoliv jako konkrétní předpověď pro určité období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A1A283C-4E32-4AB5-BAA8-37701DC8E705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8124" y="723656"/>
          <a:ext cx="758167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0" name="Rectangle 4">
            <a:extLst>
              <a:ext uri="{FF2B5EF4-FFF2-40B4-BE49-F238E27FC236}">
                <a16:creationId xmlns:a16="http://schemas.microsoft.com/office/drawing/2014/main" id="{E998D389-5661-41B5-B94E-ECA3225C7C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004150" y="1371909"/>
            <a:ext cx="4079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– scénáře modelu SEIRV*:</a:t>
            </a:r>
          </a:p>
        </p:txBody>
      </p:sp>
      <p:sp>
        <p:nvSpPr>
          <p:cNvPr id="21" name="TextovéPole 25">
            <a:extLst>
              <a:ext uri="{FF2B5EF4-FFF2-40B4-BE49-F238E27FC236}">
                <a16:creationId xmlns:a16="http://schemas.microsoft.com/office/drawing/2014/main" id="{3757E1F4-2F00-444F-A418-5451B3A958B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328585" y="5394356"/>
            <a:ext cx="389963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pouze částečným navýšením základní reprodukce viru, spojeným s nárůstem rizikových kontaktů během Vánoc. Umělá simulace možného „dozvuku“ vlny spojené s variantou Delta, bez významného vstupu varianty Omikron. </a:t>
            </a:r>
          </a:p>
        </p:txBody>
      </p:sp>
      <p:sp>
        <p:nvSpPr>
          <p:cNvPr id="24" name="TextovéPole 30">
            <a:extLst>
              <a:ext uri="{FF2B5EF4-FFF2-40B4-BE49-F238E27FC236}">
                <a16:creationId xmlns:a16="http://schemas.microsoft.com/office/drawing/2014/main" id="{CC25B39B-D9D7-463B-8FBE-43251A8721D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544737" y="4978838"/>
            <a:ext cx="338607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0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z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lní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-  bez eskalace rizika</a:t>
            </a:r>
          </a:p>
        </p:txBody>
      </p:sp>
      <p:cxnSp>
        <p:nvCxnSpPr>
          <p:cNvPr id="26" name="Přímá spojnice 33">
            <a:extLst>
              <a:ext uri="{FF2B5EF4-FFF2-40B4-BE49-F238E27FC236}">
                <a16:creationId xmlns:a16="http://schemas.microsoft.com/office/drawing/2014/main" id="{794DA652-71D4-4225-8727-DC6923A2111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8073767" y="5094273"/>
            <a:ext cx="432000" cy="0"/>
          </a:xfrm>
          <a:prstGeom prst="line">
            <a:avLst/>
          </a:prstGeom>
          <a:ln w="38100">
            <a:solidFill>
              <a:srgbClr val="FF99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F95A2071-1DE1-40AC-98EA-D5542DF5E051}"/>
              </a:ext>
            </a:extLst>
          </p:cNvPr>
          <p:cNvSpPr txBox="1"/>
          <p:nvPr/>
        </p:nvSpPr>
        <p:spPr>
          <a:xfrm>
            <a:off x="1280752" y="594333"/>
            <a:ext cx="10802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ce rizikový scénář pro populační predikce počtu nakažených (scénář 2) není v modelech hospitalizací promítnut, protože tento kalkulu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nákazou primárně citlivých osob a dále s průlomovými nákazami u očkovaných osob a  v populaci s prodělaným onemocnění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 nakažení by však dle dostupných dat měli být významně chráněni před těžkým průběhem onemocnění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29">
            <a:extLst>
              <a:ext uri="{FF2B5EF4-FFF2-40B4-BE49-F238E27FC236}">
                <a16:creationId xmlns:a16="http://schemas.microsoft.com/office/drawing/2014/main" id="{58121581-74AE-4A08-AC4F-F4AA290E212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44736" y="2120220"/>
            <a:ext cx="37220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rní hranice spolehlivosti predikce</a:t>
            </a:r>
          </a:p>
        </p:txBody>
      </p:sp>
      <p:cxnSp>
        <p:nvCxnSpPr>
          <p:cNvPr id="19" name="Přímá spojnice 32">
            <a:extLst>
              <a:ext uri="{FF2B5EF4-FFF2-40B4-BE49-F238E27FC236}">
                <a16:creationId xmlns:a16="http://schemas.microsoft.com/office/drawing/2014/main" id="{DC4E191D-1C9F-4BD9-8511-91117558E008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8083495" y="2280031"/>
            <a:ext cx="432000" cy="0"/>
          </a:xfrm>
          <a:prstGeom prst="line">
            <a:avLst/>
          </a:prstGeom>
          <a:ln w="3810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ovéPole 25">
            <a:extLst>
              <a:ext uri="{FF2B5EF4-FFF2-40B4-BE49-F238E27FC236}">
                <a16:creationId xmlns:a16="http://schemas.microsoft.com/office/drawing/2014/main" id="{DB9203B6-4D67-40E4-B601-330E1565A05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349507" y="3224100"/>
            <a:ext cx="389963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simulující situaci s navýšením základní reprodukce viru o 100% (realistický scénář), spojeno s předpokladem počtu rizikových kontaktů v populaci bez redukce. Předpoklady kalkulují pouze s nákazou pravděpodobně primárně citlivé populace, tedy osob bez jakékoli imunitní ochrany (nákaza, vakcinace) v uplynulých 6 měsících: cca 3 mil. osob, z toho 300 – 400tis. zdravotně zranitelných. Výstup dokládá potenciál </a:t>
            </a:r>
            <a:r>
              <a:rPr kumimoji="0" lang="cs-CZ" sz="11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icronu</a:t>
            </a:r>
            <a:r>
              <a:rPr kumimoji="0" lang="cs-CZ" sz="11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sáhnout minimálně stejné zátěže populace jako varianta Delta. </a:t>
            </a:r>
          </a:p>
        </p:txBody>
      </p:sp>
      <p:sp>
        <p:nvSpPr>
          <p:cNvPr id="32" name="TextovéPole 29">
            <a:extLst>
              <a:ext uri="{FF2B5EF4-FFF2-40B4-BE49-F238E27FC236}">
                <a16:creationId xmlns:a16="http://schemas.microsoft.com/office/drawing/2014/main" id="{0334C9F1-11B8-4851-B94E-B8A97B1466E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515495" y="2643172"/>
            <a:ext cx="3567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výstup simulačního modelu: scénář 1 (realistický)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spodní hranice spolehlivosti predikce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983F3411-E340-4054-B477-B662E2846BB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8083495" y="2802983"/>
            <a:ext cx="432000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770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13509B-D2F3-452A-BB89-5A10A8602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Nasazení armády ČR</a:t>
            </a:r>
            <a:endParaRPr lang="cs-CZ" sz="3600" dirty="0"/>
          </a:p>
        </p:txBody>
      </p:sp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5546F5DE-EBDD-4C12-A442-C04F017114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5357169"/>
              </p:ext>
            </p:extLst>
          </p:nvPr>
        </p:nvGraphicFramePr>
        <p:xfrm>
          <a:off x="2407225" y="1992646"/>
          <a:ext cx="7195175" cy="28727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7030">
                  <a:extLst>
                    <a:ext uri="{9D8B030D-6E8A-4147-A177-3AD203B41FA5}">
                      <a16:colId xmlns:a16="http://schemas.microsoft.com/office/drawing/2014/main" val="3711849303"/>
                    </a:ext>
                  </a:extLst>
                </a:gridCol>
                <a:gridCol w="1268145">
                  <a:extLst>
                    <a:ext uri="{9D8B030D-6E8A-4147-A177-3AD203B41FA5}">
                      <a16:colId xmlns:a16="http://schemas.microsoft.com/office/drawing/2014/main" val="1035950899"/>
                    </a:ext>
                  </a:extLst>
                </a:gridCol>
              </a:tblGrid>
              <a:tr h="54608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ázev zaří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 osob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2576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24726258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Náchod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91802669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Rychnov nad Kněžnou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740155024"/>
                  </a:ext>
                </a:extLst>
              </a:tr>
              <a:tr h="45603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810813046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D91E11E4-8024-42D4-A65A-4B0F6B6C65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51" y="5916987"/>
            <a:ext cx="1343926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85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/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9. 1. 202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578224" y="1866817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835 194</a:t>
            </a:r>
          </a:p>
        </p:txBody>
      </p:sp>
    </p:spTree>
    <p:extLst>
      <p:ext uri="{BB962C8B-B14F-4D97-AF65-F5344CB8AC3E}">
        <p14:creationId xmlns:p14="http://schemas.microsoft.com/office/powerpoint/2010/main" val="3224921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5</TotalTime>
  <Words>4063</Words>
  <Application>Microsoft Office PowerPoint</Application>
  <PresentationFormat>Širokoúhlá obrazovka</PresentationFormat>
  <Paragraphs>1523</Paragraphs>
  <Slides>23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23</vt:i4>
      </vt:variant>
    </vt:vector>
  </HeadingPairs>
  <TitlesOfParts>
    <vt:vector size="34" baseType="lpstr">
      <vt:lpstr>Arial</vt:lpstr>
      <vt:lpstr>Calibri</vt:lpstr>
      <vt:lpstr>Calibri Light</vt:lpstr>
      <vt:lpstr>Franklin Gothic Book</vt:lpstr>
      <vt:lpstr>Franklin Gothic Demi</vt:lpstr>
      <vt:lpstr>Franklin Gothic Medium</vt:lpstr>
      <vt:lpstr>System Font Regular</vt:lpstr>
      <vt:lpstr>Motiv Office</vt:lpstr>
      <vt:lpstr>1_Motiv Office</vt:lpstr>
      <vt:lpstr>3_Motiv Office</vt:lpstr>
      <vt:lpstr>4_Motiv Office</vt:lpstr>
      <vt:lpstr>Přehled epidemické situace a stavu očkování v Královéhradeckém kraji</vt:lpstr>
      <vt:lpstr>Aktuální situace v Královéhradeckém kraji k 9. 1. 2022</vt:lpstr>
      <vt:lpstr>Situace v Královéhradeckém kraji</vt:lpstr>
      <vt:lpstr>Situace v Královéhradeckém kraji zač. r. 2021</vt:lpstr>
      <vt:lpstr>Denní počty nově zjištěných C+ v KHK kraji</vt:lpstr>
      <vt:lpstr>Predikovaný celkový počet aktuálně hospitalizovaných</vt:lpstr>
      <vt:lpstr>Predikovaný počet aktuálně hospitalizovaných na JIP</vt:lpstr>
      <vt:lpstr>Nasazení armády ČR</vt:lpstr>
      <vt:lpstr>Počet očkování</vt:lpstr>
      <vt:lpstr>Počet ukončených očkování</vt:lpstr>
      <vt:lpstr>Počet očkování posilující dávkou</vt:lpstr>
      <vt:lpstr>Proočkovanost</vt:lpstr>
      <vt:lpstr>Očkovaní v krajích (podle místa podání)</vt:lpstr>
      <vt:lpstr>Očkovaní v krajích (podle místa bydliště)</vt:lpstr>
      <vt:lpstr>Stav očkování obyvatel v ČR k 8. 1. 2022</vt:lpstr>
      <vt:lpstr>Přehled míst podání vakcín u dětí 5–11 let</vt:lpstr>
      <vt:lpstr>Vakcinace posilující dávkou</vt:lpstr>
      <vt:lpstr>Počet podaných dávek k 9. 1. 2022</vt:lpstr>
      <vt:lpstr>Ukončené očkování k 9. 1. 2022</vt:lpstr>
      <vt:lpstr>Posilující očkování k 9. 1. 2022</vt:lpstr>
      <vt:lpstr>Praktičtí lékaři – dávky k 9. 1. 2022</vt:lpstr>
      <vt:lpstr>Informace COVID-19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čkovací strategie Královéhradeckého kraje</dc:title>
  <dc:creator>Pejšek Miroslav Ing.</dc:creator>
  <cp:lastModifiedBy>Eva</cp:lastModifiedBy>
  <cp:revision>540</cp:revision>
  <cp:lastPrinted>2021-12-06T08:37:32Z</cp:lastPrinted>
  <dcterms:created xsi:type="dcterms:W3CDTF">2021-01-14T19:24:21Z</dcterms:created>
  <dcterms:modified xsi:type="dcterms:W3CDTF">2022-01-12T07:31:01Z</dcterms:modified>
</cp:coreProperties>
</file>